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63" r:id="rId3"/>
    <p:sldId id="1490" r:id="rId4"/>
    <p:sldId id="1492" r:id="rId5"/>
    <p:sldId id="1493" r:id="rId6"/>
    <p:sldId id="1494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176CBA-6212-2309-E40F-0DCED25FA1F8}" v="425" dt="2022-05-18T12:56:38.1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19" autoAdjust="0"/>
    <p:restoredTop sz="94291" autoAdjust="0"/>
  </p:normalViewPr>
  <p:slideViewPr>
    <p:cSldViewPr snapToGrid="0">
      <p:cViewPr varScale="1">
        <p:scale>
          <a:sx n="68" d="100"/>
          <a:sy n="68" d="100"/>
        </p:scale>
        <p:origin x="75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CB55F2-BB01-4ED2-A910-4B34F1934D7A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E59ADB-36D6-402F-AF7B-1CE68A20FAA2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19610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481E2D-F026-5242-A342-41C313AC9D8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899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300" dirty="0"/>
              <a:t>1)Revenues:  149Cr-EDS/77Cr-ITS for FY-201617</a:t>
            </a:r>
          </a:p>
          <a:p>
            <a:r>
              <a:rPr lang="en-IN" sz="1300" dirty="0"/>
              <a:t>2)Head Count: 900-EDS/1650-ITS for FY-201617</a:t>
            </a:r>
          </a:p>
          <a:p>
            <a:r>
              <a:rPr lang="en-IN" dirty="0"/>
              <a:t>3 ) Excellence Centers -  JD , Cat , Seco , Thysenkrupp</a:t>
            </a:r>
            <a:r>
              <a:rPr lang="en-IN" baseline="0" dirty="0"/>
              <a:t> , Bentley , Magna , Parkson , ThermoFisher , Emerson , GE , whirlpool , Saint Gobain , Tata Motors , Mathworks  </a:t>
            </a:r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8BCB1-B904-41DD-B73D-9D6587A2E0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4883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sz="1300" dirty="0"/>
              <a:t>1)Revenues:  149Cr-EDS/77Cr-ITS for FY-201617</a:t>
            </a:r>
          </a:p>
          <a:p>
            <a:r>
              <a:rPr lang="en-IN" sz="1300" dirty="0"/>
              <a:t>2)Head Count: 900-EDS/1650-ITS for FY-201617</a:t>
            </a:r>
          </a:p>
          <a:p>
            <a:r>
              <a:rPr lang="en-IN" dirty="0"/>
              <a:t>3 ) Excellence Centers -  JD , Cat , Seco , Thysenkrupp</a:t>
            </a:r>
            <a:r>
              <a:rPr lang="en-IN" baseline="0" dirty="0"/>
              <a:t> , Bentley , Magna , Parkson , ThermoFisher , Emerson , GE , whirlpool , Saint Gobain , Tata Motors , Mathworks  </a:t>
            </a:r>
            <a:endParaRPr lang="en-IN" dirty="0"/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A8BCB1-B904-41DD-B73D-9D6587A2E0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87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wardgroup.com" TargetMode="External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hyperlink" Target="https://www.linkedin.com/company/onward-technologies" TargetMode="Externa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wardgroup.com" TargetMode="External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hyperlink" Target="https://www.linkedin.com/company/onward-technologies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wardgroup.com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hyperlink" Target="https://www.linkedin.com/company/onward-technologies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wardgroup.com" TargetMode="External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hyperlink" Target="https://www.linkedin.com/company/onward-technologies" TargetMode="Externa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wardgroup.com" TargetMode="External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hyperlink" Target="https://www.linkedin.com/company/onward-technologies" TargetMode="Externa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46151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3159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021774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Last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" y="0"/>
            <a:ext cx="12181973" cy="685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 userDrawn="1"/>
        </p:nvSpPr>
        <p:spPr bwMode="auto">
          <a:xfrm>
            <a:off x="11163301" y="4930776"/>
            <a:ext cx="1028700" cy="1927225"/>
          </a:xfrm>
          <a:custGeom>
            <a:avLst/>
            <a:gdLst/>
            <a:ahLst/>
            <a:cxnLst>
              <a:cxn ang="0">
                <a:pos x="608" y="0"/>
              </a:cxn>
              <a:cxn ang="0">
                <a:pos x="0" y="1214"/>
              </a:cxn>
              <a:cxn ang="0">
                <a:pos x="608" y="1214"/>
              </a:cxn>
              <a:cxn ang="0">
                <a:pos x="608" y="0"/>
              </a:cxn>
            </a:cxnLst>
            <a:rect l="0" t="0" r="r" b="b"/>
            <a:pathLst>
              <a:path w="608" h="1214">
                <a:moveTo>
                  <a:pt x="608" y="0"/>
                </a:moveTo>
                <a:lnTo>
                  <a:pt x="0" y="1214"/>
                </a:lnTo>
                <a:lnTo>
                  <a:pt x="608" y="1214"/>
                </a:lnTo>
                <a:lnTo>
                  <a:pt x="608" y="0"/>
                </a:lnTo>
                <a:close/>
              </a:path>
            </a:pathLst>
          </a:custGeom>
          <a:solidFill>
            <a:srgbClr val="D92728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9" name="Title 1">
            <a:hlinkClick r:id="rId3"/>
          </p:cNvPr>
          <p:cNvSpPr txBox="1">
            <a:spLocks/>
          </p:cNvSpPr>
          <p:nvPr userDrawn="1"/>
        </p:nvSpPr>
        <p:spPr>
          <a:xfrm>
            <a:off x="7890838" y="6139518"/>
            <a:ext cx="2428585" cy="3992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www.onwardgroup.com</a:t>
            </a:r>
            <a:endParaRPr kumimoji="0" lang="en-US" sz="1600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pic>
        <p:nvPicPr>
          <p:cNvPr id="20" name="Picture 7" descr="G:\Gauri\Other-Project\Onword-PPT\Final\linkedin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390317" y="6076363"/>
            <a:ext cx="368300" cy="3683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0" t="21343" r="10550" b="21881"/>
          <a:stretch/>
        </p:blipFill>
        <p:spPr>
          <a:xfrm>
            <a:off x="7516166" y="225521"/>
            <a:ext cx="3979148" cy="109123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39695" y="1947140"/>
            <a:ext cx="6555619" cy="1325033"/>
          </a:xfrm>
          <a:prstGeom prst="rect">
            <a:avLst/>
          </a:prstGeom>
        </p:spPr>
        <p:txBody>
          <a:bodyPr anchor="ctr"/>
          <a:lstStyle>
            <a:lvl1pPr algn="r">
              <a:defRPr sz="3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692178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2" y="287511"/>
            <a:ext cx="9596118" cy="662517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76578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arge 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1267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41353" y="719137"/>
            <a:ext cx="1096644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lang="en-US" sz="2400" b="1" kern="1200" dirty="0">
                <a:solidFill>
                  <a:schemeClr val="tx2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121914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3" name="Segnaposto immagine 10"/>
          <p:cNvSpPr>
            <a:spLocks noGrp="1"/>
          </p:cNvSpPr>
          <p:nvPr>
            <p:ph type="pic" sz="quarter" idx="17"/>
          </p:nvPr>
        </p:nvSpPr>
        <p:spPr>
          <a:xfrm>
            <a:off x="0" y="1205804"/>
            <a:ext cx="12192000" cy="178190"/>
          </a:xfrm>
          <a:prstGeom prst="rect">
            <a:avLst/>
          </a:prstGeom>
          <a:solidFill>
            <a:srgbClr val="EBEEED"/>
          </a:solidFill>
        </p:spPr>
        <p:txBody>
          <a:bodyPr lIns="34281" tIns="17145" rIns="34281" bIns="17145"/>
          <a:lstStyle>
            <a:lvl1pPr>
              <a:defRPr sz="933"/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614740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S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41353" y="719138"/>
            <a:ext cx="1096644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dirty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4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41351" y="1088471"/>
            <a:ext cx="10966451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1800" b="1" dirty="0" smtClean="0">
                <a:solidFill>
                  <a:schemeClr val="bg2"/>
                </a:solidFill>
                <a:latin typeface="Century Gothic" panose="020B0502020202020204" pitchFamily="34" charset="0"/>
                <a:ea typeface="+mj-ea"/>
              </a:defRPr>
            </a:lvl1pPr>
          </a:lstStyle>
          <a:p>
            <a:pPr marL="387332" lvl="0" indent="-387332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370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48588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378475" y="491560"/>
            <a:ext cx="10630024" cy="369332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spAutoFit/>
          </a:bodyPr>
          <a:lstStyle>
            <a:lvl1pPr algn="l">
              <a:defRPr lang="en-US" sz="2400" b="1" kern="1200" dirty="0">
                <a:solidFill>
                  <a:schemeClr val="tx2"/>
                </a:solidFill>
                <a:latin typeface="Century Gothic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 algn="l" defTabSz="1218292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379877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4"/>
          <p:cNvSpPr>
            <a:spLocks noGrp="1"/>
          </p:cNvSpPr>
          <p:nvPr>
            <p:ph type="body" sz="quarter" idx="10"/>
          </p:nvPr>
        </p:nvSpPr>
        <p:spPr>
          <a:xfrm>
            <a:off x="335769" y="300833"/>
            <a:ext cx="11475879" cy="403957"/>
          </a:xfrm>
          <a:prstGeom prst="rect">
            <a:avLst/>
          </a:prstGeom>
        </p:spPr>
        <p:txBody>
          <a:bodyPr lIns="34281" tIns="17145" rIns="34281" bIns="17145"/>
          <a:lstStyle>
            <a:lvl1pPr algn="l">
              <a:defRPr sz="2400" cap="all" baseline="0">
                <a:latin typeface="Terminal Dosis" pitchFamily="2" charset="0"/>
              </a:defRPr>
            </a:lvl1pPr>
            <a:lvl2pPr algn="l">
              <a:defRPr sz="933" cap="all" baseline="0">
                <a:latin typeface="Century Gothic" pitchFamily="34" charset="0"/>
              </a:defRPr>
            </a:lvl2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5" name="Segnaposto immagine 10"/>
          <p:cNvSpPr>
            <a:spLocks noGrp="1"/>
          </p:cNvSpPr>
          <p:nvPr>
            <p:ph type="pic" sz="quarter" idx="17"/>
          </p:nvPr>
        </p:nvSpPr>
        <p:spPr>
          <a:xfrm>
            <a:off x="1" y="1021556"/>
            <a:ext cx="12183268" cy="178190"/>
          </a:xfrm>
          <a:prstGeom prst="rect">
            <a:avLst/>
          </a:prstGeom>
          <a:solidFill>
            <a:srgbClr val="EBEEED"/>
          </a:solidFill>
        </p:spPr>
        <p:txBody>
          <a:bodyPr lIns="34281" tIns="17145" rIns="34281" bIns="17145"/>
          <a:lstStyle>
            <a:lvl1pPr>
              <a:defRPr sz="933"/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833044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349482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 bwMode="auto">
          <a:xfrm>
            <a:off x="11767553" y="6590929"/>
            <a:ext cx="20518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defRPr/>
            </a:pPr>
            <a:fld id="{6856ECDB-1CEE-4F69-ADCA-557460F2116E}" type="slidenum">
              <a:rPr lang="en-US" sz="1300" smtClean="0">
                <a:solidFill>
                  <a:srgbClr val="6D6E71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1300" dirty="0">
              <a:solidFill>
                <a:srgbClr val="6D6E7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8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 bwMode="gray">
          <a:xfrm>
            <a:off x="11183558" y="67430"/>
            <a:ext cx="188085" cy="1846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lang="en-US" sz="1200" kern="1200" baseline="0" smtClean="0">
                <a:solidFill>
                  <a:schemeClr val="bg1"/>
                </a:solidFill>
                <a:latin typeface="+mn-lt"/>
                <a:ea typeface="+mn-ea"/>
                <a:cs typeface="Calibri"/>
              </a:defRPr>
            </a:lvl1pPr>
          </a:lstStyle>
          <a:p>
            <a:fld id="{42C328C1-A84F-4A39-A664-DBA00541A8C6}" type="slidenum">
              <a:rPr lang="en-IN">
                <a:solidFill>
                  <a:prstClr val="white"/>
                </a:solidFill>
              </a:rPr>
              <a:pPr/>
              <a:t>‹#›</a:t>
            </a:fld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24422" y="1181101"/>
            <a:ext cx="10949516" cy="1969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571486" marR="0" lvl="2" indent="-279393" algn="l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itchFamily="34" charset="0"/>
              <a:buChar char="–"/>
              <a:tabLst/>
              <a:defRPr/>
            </a:pPr>
            <a:r>
              <a:rPr lang="en-US" dirty="0"/>
              <a:t>First level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5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1433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rge 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 bwMode="gray">
          <a:xfrm>
            <a:off x="641354" y="727081"/>
            <a:ext cx="10968567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lang="en-US" sz="2400" b="1" kern="120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685783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41352" y="1971678"/>
            <a:ext cx="10966451" cy="1384995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18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076298" indent="-214308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lang="en-US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285843" indent="-20478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Arial" pitchFamily="34" charset="0"/>
              <a:buChar char="–"/>
              <a:defRPr sz="1351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7pPr>
            <a:lvl8pPr marL="1200121" indent="-171446">
              <a:spcBef>
                <a:spcPts val="0"/>
              </a:spcBef>
              <a:spcAft>
                <a:spcPts val="0"/>
              </a:spcAft>
              <a:buSzPct val="70000"/>
              <a:defRPr sz="1351" baseline="0">
                <a:latin typeface="Arial" pitchFamily="34" charset="0"/>
                <a:cs typeface="Arial" pitchFamily="34" charset="0"/>
              </a:defRPr>
            </a:lvl8pPr>
            <a:lvl9pPr marL="1367995" indent="-167874">
              <a:spcBef>
                <a:spcPts val="0"/>
              </a:spcBef>
              <a:spcAft>
                <a:spcPts val="0"/>
              </a:spcAft>
              <a:buSzPct val="70000"/>
              <a:buFont typeface="Arial" pitchFamily="34" charset="0"/>
              <a:buChar char="–"/>
              <a:defRPr sz="1351">
                <a:latin typeface="Arial" pitchFamily="34" charset="0"/>
                <a:cs typeface="Arial" pitchFamily="34" charset="0"/>
              </a:defRPr>
            </a:lvl9pPr>
          </a:lstStyle>
          <a:p>
            <a:pPr marL="217880" lvl="0" indent="-217880" algn="l" defTabSz="685783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428615" lvl="2" indent="-209545" algn="l" defTabSz="685783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itchFamily="34" charset="0"/>
              <a:buChar char="–"/>
            </a:pPr>
            <a:r>
              <a:rPr lang="en-US" dirty="0"/>
              <a:t>Second level</a:t>
            </a:r>
          </a:p>
          <a:p>
            <a:pPr marL="638159" lvl="3" indent="-209545" algn="l" defTabSz="685783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  <a:p>
            <a:pPr marL="852467" lvl="4" indent="-214308" algn="l" defTabSz="700070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70000"/>
              <a:buFont typeface="Arial" pitchFamily="34" charset="0"/>
              <a:buChar char="–"/>
            </a:pPr>
            <a:r>
              <a:rPr lang="en-US" dirty="0"/>
              <a:t>Fourth level</a:t>
            </a:r>
          </a:p>
          <a:p>
            <a:pPr marL="1076298" lvl="5" indent="-214308" algn="l" defTabSz="685783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60000"/>
              <a:buFont typeface="Wingdings" pitchFamily="2" charset="2"/>
              <a:buChar char="§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23220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Large 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0" y="889234"/>
            <a:ext cx="12192000" cy="1"/>
          </a:xfrm>
          <a:prstGeom prst="line">
            <a:avLst/>
          </a:prstGeom>
          <a:ln w="34925" cmpd="thickThin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022370"/>
      </p:ext>
    </p:extLst>
  </p:cSld>
  <p:clrMapOvr>
    <a:masterClrMapping/>
  </p:clrMapOvr>
  <p:transition spd="med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41352" y="719139"/>
            <a:ext cx="10966449" cy="656591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lang="en-US" sz="4267" b="1" kern="120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641349" y="1971677"/>
            <a:ext cx="10966451" cy="1846660"/>
          </a:xfrm>
        </p:spPr>
        <p:txBody>
          <a:bodyPr/>
          <a:lstStyle>
            <a:lvl1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20000"/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13419" indent="-380990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lang="en-US" sz="2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285943" indent="-364058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Arial" pitchFamily="34" charset="0"/>
              <a:buChar char="–"/>
              <a:defRPr sz="2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7pPr>
            <a:lvl8pPr marL="2133547" indent="-304792">
              <a:spcBef>
                <a:spcPts val="0"/>
              </a:spcBef>
              <a:spcAft>
                <a:spcPts val="0"/>
              </a:spcAft>
              <a:buSzPct val="70000"/>
              <a:defRPr sz="2400" baseline="0">
                <a:latin typeface="Arial" pitchFamily="34" charset="0"/>
                <a:cs typeface="Arial" pitchFamily="34" charset="0"/>
              </a:defRPr>
            </a:lvl8pPr>
            <a:lvl9pPr marL="2431990" indent="-298443">
              <a:spcBef>
                <a:spcPts val="0"/>
              </a:spcBef>
              <a:spcAft>
                <a:spcPts val="0"/>
              </a:spcAft>
              <a:buSzPct val="70000"/>
              <a:buFont typeface="Arial" pitchFamily="34" charset="0"/>
              <a:buChar char="–"/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4943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41363" y="1971698"/>
            <a:ext cx="10966451" cy="1846659"/>
          </a:xfrm>
        </p:spPr>
        <p:txBody>
          <a:bodyPr wrap="square">
            <a:spAutoFit/>
          </a:bodyPr>
          <a:lstStyle>
            <a:lvl1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20000"/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 lang="en-US" sz="24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10844" indent="-380477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lang="en-US" sz="2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282863" indent="-363558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Arial" pitchFamily="34" charset="0"/>
              <a:buChar char="–"/>
              <a:defRPr sz="24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7pPr>
            <a:lvl8pPr marL="2130677" indent="-304374">
              <a:spcBef>
                <a:spcPts val="0"/>
              </a:spcBef>
              <a:spcAft>
                <a:spcPts val="0"/>
              </a:spcAft>
              <a:buSzPct val="70000"/>
              <a:defRPr sz="2400" baseline="0">
                <a:latin typeface="Arial" pitchFamily="34" charset="0"/>
                <a:cs typeface="Arial" pitchFamily="34" charset="0"/>
              </a:defRPr>
            </a:lvl8pPr>
            <a:lvl9pPr marL="2428707" indent="-298043">
              <a:spcBef>
                <a:spcPts val="0"/>
              </a:spcBef>
              <a:spcAft>
                <a:spcPts val="0"/>
              </a:spcAft>
              <a:buSzPct val="70000"/>
              <a:buFont typeface="Arial" pitchFamily="34" charset="0"/>
              <a:buChar char="–"/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386826" lvl="0" indent="-386826" algn="l" defTabSz="1217528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/>
              <a:t>Click to edit master text styles</a:t>
            </a:r>
          </a:p>
          <a:p>
            <a:pPr marL="760954" lvl="2" indent="-372024" algn="l" defTabSz="1217528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itchFamily="34" charset="0"/>
              <a:buChar char="–"/>
            </a:pPr>
            <a:r>
              <a:rPr lang="en-US" dirty="0"/>
              <a:t>Second level</a:t>
            </a:r>
          </a:p>
          <a:p>
            <a:pPr marL="1132978" lvl="3" indent="-372024" algn="l" defTabSz="1217528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  <a:p>
            <a:pPr marL="1513454" lvl="4" indent="-380477" algn="l" defTabSz="1242893" rtl="0" eaLnBrk="1" fontAlgn="base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70000"/>
              <a:buFont typeface="Arial" pitchFamily="34" charset="0"/>
              <a:buChar char="–"/>
            </a:pPr>
            <a:r>
              <a:rPr lang="en-US" dirty="0"/>
              <a:t>Fourth level</a:t>
            </a:r>
          </a:p>
          <a:p>
            <a:pPr marL="1910844" lvl="5" indent="-380477" algn="l" defTabSz="1217528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60000"/>
              <a:buFont typeface="Wingdings" pitchFamily="2" charset="2"/>
              <a:buChar char="§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4858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Large 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416121" y="0"/>
            <a:ext cx="5775881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 bwMode="auto">
          <a:xfrm>
            <a:off x="11762742" y="6588405"/>
            <a:ext cx="209993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defRPr/>
            </a:pPr>
            <a:fld id="{6856ECDB-1CEE-4F69-ADCA-557460F2116E}" type="slidenum">
              <a:rPr lang="en-US" sz="1333" smtClean="0">
                <a:solidFill>
                  <a:prstClr val="white">
                    <a:lumMod val="85000"/>
                  </a:prstClr>
                </a:solidFill>
                <a:latin typeface="Century Gothic" panose="020B0502020202020204" pitchFamily="34" charset="0"/>
                <a:cs typeface="Arial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white">
                  <a:lumMod val="85000"/>
                </a:prst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4" name="Right Triangle 3"/>
          <p:cNvSpPr/>
          <p:nvPr userDrawn="1"/>
        </p:nvSpPr>
        <p:spPr>
          <a:xfrm rot="5400000">
            <a:off x="6210767" y="192759"/>
            <a:ext cx="1584924" cy="1199408"/>
          </a:xfrm>
          <a:prstGeom prst="rtTriangle">
            <a:avLst/>
          </a:prstGeom>
          <a:solidFill>
            <a:srgbClr val="00B0F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54">
              <a:defRPr/>
            </a:pPr>
            <a:endParaRPr lang="en-US" sz="180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Right Triangle 4"/>
          <p:cNvSpPr/>
          <p:nvPr userDrawn="1"/>
        </p:nvSpPr>
        <p:spPr>
          <a:xfrm rot="16200000">
            <a:off x="5747567" y="6193735"/>
            <a:ext cx="495301" cy="854728"/>
          </a:xfrm>
          <a:prstGeom prst="rtTriangle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54">
              <a:defRPr/>
            </a:pPr>
            <a:endParaRPr lang="en-US" sz="1800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ight Triangle 5"/>
          <p:cNvSpPr/>
          <p:nvPr userDrawn="1"/>
        </p:nvSpPr>
        <p:spPr>
          <a:xfrm rot="5400000">
            <a:off x="-127710" y="2223513"/>
            <a:ext cx="1157827" cy="902407"/>
          </a:xfrm>
          <a:prstGeom prst="rtTriangle">
            <a:avLst/>
          </a:prstGeom>
          <a:solidFill>
            <a:srgbClr val="00B0F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54">
              <a:defRPr/>
            </a:pPr>
            <a:endParaRPr lang="en-US" sz="1800" kern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14499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:\Pictures\PPTS\2016\Picture4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" y="0"/>
            <a:ext cx="1219153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Ridge.pd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73" y="2"/>
            <a:ext cx="2686537" cy="952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 bwMode="auto">
          <a:xfrm>
            <a:off x="11807626" y="6608851"/>
            <a:ext cx="165109" cy="16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defRPr/>
            </a:pPr>
            <a:fld id="{6856ECDB-1CEE-4F69-ADCA-557460F2116E}" type="slidenum">
              <a:rPr lang="en-US" sz="1067" smtClean="0">
                <a:solidFill>
                  <a:srgbClr val="6D6E71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1067" dirty="0">
              <a:solidFill>
                <a:srgbClr val="6D6E71"/>
              </a:solidFill>
              <a:cs typeface="Arial" pitchFamily="34" charset="0"/>
            </a:endParaRPr>
          </a:p>
        </p:txBody>
      </p:sp>
      <p:sp>
        <p:nvSpPr>
          <p:cNvPr id="6" name="TextBox 20"/>
          <p:cNvSpPr txBox="1">
            <a:spLocks noChangeArrowheads="1"/>
          </p:cNvSpPr>
          <p:nvPr userDrawn="1"/>
        </p:nvSpPr>
        <p:spPr bwMode="gray">
          <a:xfrm>
            <a:off x="641354" y="6629402"/>
            <a:ext cx="2845331" cy="143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33" dirty="0">
                <a:solidFill>
                  <a:srgbClr val="6D6E71"/>
                </a:solidFill>
                <a:cs typeface="Arial" pitchFamily="34" charset="0"/>
              </a:rPr>
              <a:t>Copyright © 2017 Tech Mahindra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002785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 bwMode="gray">
          <a:xfrm>
            <a:off x="641351" y="1971677"/>
            <a:ext cx="5437716" cy="4162425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/>
          </p:nvPr>
        </p:nvSpPr>
        <p:spPr bwMode="gray">
          <a:xfrm>
            <a:off x="6451601" y="1971676"/>
            <a:ext cx="5128683" cy="1384995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spcBef>
                <a:spcPts val="0"/>
              </a:spcBef>
              <a:spcAft>
                <a:spcPts val="0"/>
              </a:spcAft>
              <a:defRPr lang="en-US" sz="1800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142971" indent="-233357">
              <a:spcBef>
                <a:spcPts val="0"/>
              </a:spcBef>
              <a:spcAft>
                <a:spcPts val="0"/>
              </a:spcAft>
              <a:buSzPct val="70000"/>
              <a:defRPr lang="en-US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371566" indent="-228594">
              <a:spcBef>
                <a:spcPts val="0"/>
              </a:spcBef>
              <a:spcAft>
                <a:spcPts val="0"/>
              </a:spcAft>
              <a:buSzPct val="70000"/>
              <a:buFont typeface="Arial" pitchFamily="34" charset="0"/>
              <a:buChar char="–"/>
              <a:defRPr sz="1800" baseline="0">
                <a:latin typeface="+mj-lt"/>
              </a:defRPr>
            </a:lvl7pPr>
            <a:lvl8pPr marL="1600160" indent="-228594">
              <a:spcBef>
                <a:spcPts val="0"/>
              </a:spcBef>
              <a:spcAft>
                <a:spcPts val="0"/>
              </a:spcAft>
              <a:buSzPct val="70000"/>
              <a:defRPr sz="1800" baseline="0">
                <a:latin typeface="+mj-lt"/>
              </a:defRPr>
            </a:lvl8pPr>
            <a:lvl9pPr marL="1823993" indent="-223833">
              <a:spcBef>
                <a:spcPts val="0"/>
              </a:spcBef>
              <a:spcAft>
                <a:spcPts val="0"/>
              </a:spcAft>
              <a:buSzPct val="70000"/>
              <a:buFont typeface="Arial" pitchFamily="34" charset="0"/>
              <a:buChar char="–"/>
              <a:defRPr sz="1800">
                <a:latin typeface="+mj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641351" y="727076"/>
            <a:ext cx="10968567" cy="49244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lang="en-US" sz="3200" b="1" kern="120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41"/>
          <p:cNvSpPr>
            <a:spLocks noGrp="1"/>
          </p:cNvSpPr>
          <p:nvPr>
            <p:ph type="body" sz="quarter" idx="13"/>
          </p:nvPr>
        </p:nvSpPr>
        <p:spPr bwMode="gray">
          <a:xfrm>
            <a:off x="641349" y="1270454"/>
            <a:ext cx="10966451" cy="369332"/>
          </a:xfrm>
        </p:spPr>
        <p:txBody>
          <a:bodyPr/>
          <a:lstStyle>
            <a:lvl1pPr marL="0" indent="0">
              <a:buNone/>
              <a:defRPr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47894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Last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12" y="-140973"/>
            <a:ext cx="12190587" cy="6998972"/>
          </a:xfrm>
          <a:prstGeom prst="rect">
            <a:avLst/>
          </a:prstGeom>
          <a:noFill/>
        </p:spPr>
      </p:pic>
      <p:sp>
        <p:nvSpPr>
          <p:cNvPr id="16" name="Freeform 9"/>
          <p:cNvSpPr>
            <a:spLocks/>
          </p:cNvSpPr>
          <p:nvPr userDrawn="1"/>
        </p:nvSpPr>
        <p:spPr bwMode="auto">
          <a:xfrm>
            <a:off x="11163301" y="4930776"/>
            <a:ext cx="1028700" cy="1927225"/>
          </a:xfrm>
          <a:custGeom>
            <a:avLst/>
            <a:gdLst/>
            <a:ahLst/>
            <a:cxnLst>
              <a:cxn ang="0">
                <a:pos x="608" y="0"/>
              </a:cxn>
              <a:cxn ang="0">
                <a:pos x="0" y="1214"/>
              </a:cxn>
              <a:cxn ang="0">
                <a:pos x="608" y="1214"/>
              </a:cxn>
              <a:cxn ang="0">
                <a:pos x="608" y="0"/>
              </a:cxn>
            </a:cxnLst>
            <a:rect l="0" t="0" r="r" b="b"/>
            <a:pathLst>
              <a:path w="608" h="1214">
                <a:moveTo>
                  <a:pt x="608" y="0"/>
                </a:moveTo>
                <a:lnTo>
                  <a:pt x="0" y="1214"/>
                </a:lnTo>
                <a:lnTo>
                  <a:pt x="608" y="1214"/>
                </a:lnTo>
                <a:lnTo>
                  <a:pt x="608" y="0"/>
                </a:lnTo>
                <a:close/>
              </a:path>
            </a:pathLst>
          </a:custGeom>
          <a:solidFill>
            <a:srgbClr val="D92728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9" name="Title 1">
            <a:hlinkClick r:id="rId3"/>
          </p:cNvPr>
          <p:cNvSpPr txBox="1">
            <a:spLocks/>
          </p:cNvSpPr>
          <p:nvPr userDrawn="1"/>
        </p:nvSpPr>
        <p:spPr>
          <a:xfrm>
            <a:off x="7890838" y="6139518"/>
            <a:ext cx="2428585" cy="3992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defTabSz="914377">
              <a:lnSpc>
                <a:spcPct val="120000"/>
              </a:lnSpc>
              <a:spcBef>
                <a:spcPct val="0"/>
              </a:spcBef>
              <a:defRPr/>
            </a:pPr>
            <a:r>
              <a:rPr lang="en-US" sz="1400" b="0" u="sng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onwardgroup.com</a:t>
            </a:r>
            <a:endParaRPr lang="en-US" sz="1600" b="0" u="sng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" name="Picture 7" descr="G:\Gauri\Other-Project\Onword-PPT\Final\linkedin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390317" y="6076363"/>
            <a:ext cx="368300" cy="3683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410" y="520273"/>
            <a:ext cx="3979148" cy="109123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5409" y="2241892"/>
            <a:ext cx="6555619" cy="1325033"/>
          </a:xfrm>
          <a:prstGeom prst="rect">
            <a:avLst/>
          </a:prstGeom>
        </p:spPr>
        <p:txBody>
          <a:bodyPr anchor="ctr"/>
          <a:lstStyle>
            <a:lvl1pPr>
              <a:defRPr sz="3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36058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688153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Last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 userDrawn="1"/>
        </p:nvSpPr>
        <p:spPr bwMode="auto">
          <a:xfrm>
            <a:off x="11163301" y="4930776"/>
            <a:ext cx="1028700" cy="1927225"/>
          </a:xfrm>
          <a:custGeom>
            <a:avLst/>
            <a:gdLst/>
            <a:ahLst/>
            <a:cxnLst>
              <a:cxn ang="0">
                <a:pos x="608" y="0"/>
              </a:cxn>
              <a:cxn ang="0">
                <a:pos x="0" y="1214"/>
              </a:cxn>
              <a:cxn ang="0">
                <a:pos x="608" y="1214"/>
              </a:cxn>
              <a:cxn ang="0">
                <a:pos x="608" y="0"/>
              </a:cxn>
            </a:cxnLst>
            <a:rect l="0" t="0" r="r" b="b"/>
            <a:pathLst>
              <a:path w="608" h="1214">
                <a:moveTo>
                  <a:pt x="608" y="0"/>
                </a:moveTo>
                <a:lnTo>
                  <a:pt x="0" y="1214"/>
                </a:lnTo>
                <a:lnTo>
                  <a:pt x="608" y="1214"/>
                </a:lnTo>
                <a:lnTo>
                  <a:pt x="608" y="0"/>
                </a:lnTo>
                <a:close/>
              </a:path>
            </a:pathLst>
          </a:custGeom>
          <a:solidFill>
            <a:srgbClr val="D92728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9" name="Title 1">
            <a:hlinkClick r:id="rId3"/>
          </p:cNvPr>
          <p:cNvSpPr txBox="1">
            <a:spLocks/>
          </p:cNvSpPr>
          <p:nvPr userDrawn="1"/>
        </p:nvSpPr>
        <p:spPr>
          <a:xfrm>
            <a:off x="7890838" y="6139518"/>
            <a:ext cx="2428585" cy="3992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defTabSz="914377">
              <a:lnSpc>
                <a:spcPct val="120000"/>
              </a:lnSpc>
              <a:spcBef>
                <a:spcPct val="0"/>
              </a:spcBef>
              <a:defRPr/>
            </a:pPr>
            <a:r>
              <a:rPr lang="en-US" sz="1400" b="0" u="sng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onwardgroup.com</a:t>
            </a:r>
            <a:endParaRPr lang="en-US" sz="1600" b="0" u="sng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" name="Picture 7" descr="G:\Gauri\Other-Project\Onword-PPT\Final\linkedin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390317" y="6076363"/>
            <a:ext cx="368300" cy="3683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16166" y="225521"/>
            <a:ext cx="3979148" cy="109123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39695" y="1947140"/>
            <a:ext cx="6555619" cy="1325033"/>
          </a:xfrm>
          <a:prstGeom prst="rect">
            <a:avLst/>
          </a:prstGeom>
        </p:spPr>
        <p:txBody>
          <a:bodyPr anchor="ctr"/>
          <a:lstStyle>
            <a:lvl1pPr algn="r">
              <a:defRPr sz="3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221577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Last slid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6" name="Freeform 9"/>
          <p:cNvSpPr>
            <a:spLocks/>
          </p:cNvSpPr>
          <p:nvPr userDrawn="1"/>
        </p:nvSpPr>
        <p:spPr bwMode="auto">
          <a:xfrm>
            <a:off x="11163301" y="4930776"/>
            <a:ext cx="1028700" cy="1927225"/>
          </a:xfrm>
          <a:custGeom>
            <a:avLst/>
            <a:gdLst/>
            <a:ahLst/>
            <a:cxnLst>
              <a:cxn ang="0">
                <a:pos x="608" y="0"/>
              </a:cxn>
              <a:cxn ang="0">
                <a:pos x="0" y="1214"/>
              </a:cxn>
              <a:cxn ang="0">
                <a:pos x="608" y="1214"/>
              </a:cxn>
              <a:cxn ang="0">
                <a:pos x="608" y="0"/>
              </a:cxn>
            </a:cxnLst>
            <a:rect l="0" t="0" r="r" b="b"/>
            <a:pathLst>
              <a:path w="608" h="1214">
                <a:moveTo>
                  <a:pt x="608" y="0"/>
                </a:moveTo>
                <a:lnTo>
                  <a:pt x="0" y="1214"/>
                </a:lnTo>
                <a:lnTo>
                  <a:pt x="608" y="1214"/>
                </a:lnTo>
                <a:lnTo>
                  <a:pt x="608" y="0"/>
                </a:lnTo>
                <a:close/>
              </a:path>
            </a:pathLst>
          </a:custGeom>
          <a:solidFill>
            <a:srgbClr val="D92728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9" name="Title 1">
            <a:hlinkClick r:id="rId3"/>
          </p:cNvPr>
          <p:cNvSpPr txBox="1">
            <a:spLocks/>
          </p:cNvSpPr>
          <p:nvPr userDrawn="1"/>
        </p:nvSpPr>
        <p:spPr>
          <a:xfrm>
            <a:off x="7890838" y="6139518"/>
            <a:ext cx="2428585" cy="3992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defTabSz="914377">
              <a:lnSpc>
                <a:spcPct val="120000"/>
              </a:lnSpc>
              <a:spcBef>
                <a:spcPct val="0"/>
              </a:spcBef>
              <a:defRPr/>
            </a:pPr>
            <a:r>
              <a:rPr lang="en-US" sz="1400" b="0" u="sng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onwardgroup.com</a:t>
            </a:r>
            <a:endParaRPr lang="en-US" sz="1600" b="0" u="sng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" name="Picture 7" descr="G:\Gauri\Other-Project\Onword-PPT\Final\linkedin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390317" y="6076363"/>
            <a:ext cx="368300" cy="3683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16166" y="225521"/>
            <a:ext cx="3979148" cy="109123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5023" y="3605742"/>
            <a:ext cx="6555619" cy="1325033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77857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65199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48651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133" b="1">
                <a:solidFill>
                  <a:srgbClr val="2E67B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71316"/>
            <a:ext cx="5386917" cy="4042849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048651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133" b="1">
                <a:solidFill>
                  <a:srgbClr val="2E67B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771316"/>
            <a:ext cx="5389033" cy="4042849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84200" y="950028"/>
            <a:ext cx="11607800" cy="1"/>
          </a:xfrm>
          <a:prstGeom prst="line">
            <a:avLst/>
          </a:prstGeom>
          <a:ln>
            <a:solidFill>
              <a:srgbClr val="A6A7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70367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054858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47683" y="1065806"/>
            <a:ext cx="6034717" cy="5060359"/>
          </a:xfrm>
        </p:spPr>
        <p:txBody>
          <a:bodyPr>
            <a:normAutofit/>
          </a:bodyPr>
          <a:lstStyle>
            <a:lvl1pPr>
              <a:defRPr sz="24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24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2133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2133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2133">
                <a:latin typeface="Segoe UI" panose="020B0502040204020203" pitchFamily="34" charset="0"/>
                <a:cs typeface="Segoe UI" panose="020B0502040204020203" pitchFamily="34" charset="0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065805"/>
            <a:ext cx="4760684" cy="5060360"/>
          </a:xfrm>
        </p:spPr>
        <p:txBody>
          <a:bodyPr/>
          <a:lstStyle>
            <a:lvl1pPr marL="0" indent="0">
              <a:buNone/>
              <a:defRPr sz="2133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84200" y="950027"/>
            <a:ext cx="4786085" cy="0"/>
          </a:xfrm>
          <a:prstGeom prst="line">
            <a:avLst/>
          </a:prstGeom>
          <a:ln>
            <a:solidFill>
              <a:srgbClr val="A6A7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70367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755282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 share &amp; Reven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E36BF11-B406-485D-ACE0-3264EE879386}"/>
              </a:ext>
            </a:extLst>
          </p:cNvPr>
          <p:cNvGrpSpPr/>
          <p:nvPr userDrawn="1"/>
        </p:nvGrpSpPr>
        <p:grpSpPr>
          <a:xfrm>
            <a:off x="5374719" y="2187571"/>
            <a:ext cx="6319603" cy="3552364"/>
            <a:chOff x="2543176" y="2406891"/>
            <a:chExt cx="7102471" cy="4126138"/>
          </a:xfrm>
          <a:solidFill>
            <a:schemeClr val="bg1">
              <a:lumMod val="95000"/>
            </a:schemeClr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187B9CF6-1A38-4308-8077-FFB3FE075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328" y="5291909"/>
              <a:ext cx="0" cy="10538"/>
            </a:xfrm>
            <a:custGeom>
              <a:avLst/>
              <a:gdLst>
                <a:gd name="T0" fmla="*/ 9 h 9"/>
                <a:gd name="T1" fmla="*/ 9 h 9"/>
                <a:gd name="T2" fmla="*/ 0 h 9"/>
                <a:gd name="T3" fmla="*/ 0 h 9"/>
                <a:gd name="T4" fmla="*/ 9 h 9"/>
                <a:gd name="T5" fmla="*/ 9 h 9"/>
                <a:gd name="T6" fmla="*/ 9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9">
                  <a:moveTo>
                    <a:pt x="0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E31C0F4B-AECC-4EFF-BA20-4EB9AF6D6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2690" y="5262637"/>
              <a:ext cx="29272" cy="29272"/>
            </a:xfrm>
            <a:custGeom>
              <a:avLst/>
              <a:gdLst>
                <a:gd name="T0" fmla="*/ 0 w 25"/>
                <a:gd name="T1" fmla="*/ 17 h 25"/>
                <a:gd name="T2" fmla="*/ 8 w 25"/>
                <a:gd name="T3" fmla="*/ 9 h 25"/>
                <a:gd name="T4" fmla="*/ 0 w 25"/>
                <a:gd name="T5" fmla="*/ 9 h 25"/>
                <a:gd name="T6" fmla="*/ 8 w 25"/>
                <a:gd name="T7" fmla="*/ 9 h 25"/>
                <a:gd name="T8" fmla="*/ 0 w 25"/>
                <a:gd name="T9" fmla="*/ 0 h 25"/>
                <a:gd name="T10" fmla="*/ 0 w 25"/>
                <a:gd name="T11" fmla="*/ 0 h 25"/>
                <a:gd name="T12" fmla="*/ 0 w 25"/>
                <a:gd name="T13" fmla="*/ 9 h 25"/>
                <a:gd name="T14" fmla="*/ 0 w 25"/>
                <a:gd name="T15" fmla="*/ 9 h 25"/>
                <a:gd name="T16" fmla="*/ 0 w 25"/>
                <a:gd name="T17" fmla="*/ 17 h 25"/>
                <a:gd name="T18" fmla="*/ 0 w 25"/>
                <a:gd name="T19" fmla="*/ 17 h 25"/>
                <a:gd name="T20" fmla="*/ 0 w 25"/>
                <a:gd name="T21" fmla="*/ 17 h 25"/>
                <a:gd name="T22" fmla="*/ 0 w 25"/>
                <a:gd name="T23" fmla="*/ 17 h 25"/>
                <a:gd name="T24" fmla="*/ 8 w 25"/>
                <a:gd name="T25" fmla="*/ 25 h 25"/>
                <a:gd name="T26" fmla="*/ 8 w 25"/>
                <a:gd name="T27" fmla="*/ 25 h 25"/>
                <a:gd name="T28" fmla="*/ 8 w 25"/>
                <a:gd name="T29" fmla="*/ 25 h 25"/>
                <a:gd name="T30" fmla="*/ 8 w 25"/>
                <a:gd name="T31" fmla="*/ 25 h 25"/>
                <a:gd name="T32" fmla="*/ 0 w 25"/>
                <a:gd name="T33" fmla="*/ 25 h 25"/>
                <a:gd name="T34" fmla="*/ 8 w 25"/>
                <a:gd name="T35" fmla="*/ 25 h 25"/>
                <a:gd name="T36" fmla="*/ 8 w 25"/>
                <a:gd name="T37" fmla="*/ 25 h 25"/>
                <a:gd name="T38" fmla="*/ 25 w 25"/>
                <a:gd name="T39" fmla="*/ 25 h 25"/>
                <a:gd name="T40" fmla="*/ 25 w 25"/>
                <a:gd name="T41" fmla="*/ 25 h 25"/>
                <a:gd name="T42" fmla="*/ 25 w 25"/>
                <a:gd name="T43" fmla="*/ 17 h 25"/>
                <a:gd name="T44" fmla="*/ 25 w 25"/>
                <a:gd name="T45" fmla="*/ 17 h 25"/>
                <a:gd name="T46" fmla="*/ 17 w 25"/>
                <a:gd name="T47" fmla="*/ 17 h 25"/>
                <a:gd name="T48" fmla="*/ 25 w 25"/>
                <a:gd name="T49" fmla="*/ 25 h 25"/>
                <a:gd name="T50" fmla="*/ 25 w 25"/>
                <a:gd name="T5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5">
                  <a:moveTo>
                    <a:pt x="0" y="17"/>
                  </a:moveTo>
                  <a:lnTo>
                    <a:pt x="8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8" y="25"/>
                  </a:move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close/>
                  <a:moveTo>
                    <a:pt x="25" y="25"/>
                  </a:move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25" y="25"/>
                  </a:lnTo>
                  <a:lnTo>
                    <a:pt x="2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4EB20305-EBC0-4CFF-80FE-082188C8C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91771" y="5124475"/>
              <a:ext cx="196705" cy="108891"/>
            </a:xfrm>
            <a:custGeom>
              <a:avLst/>
              <a:gdLst>
                <a:gd name="T0" fmla="*/ 159 w 168"/>
                <a:gd name="T1" fmla="*/ 9 h 93"/>
                <a:gd name="T2" fmla="*/ 168 w 168"/>
                <a:gd name="T3" fmla="*/ 9 h 93"/>
                <a:gd name="T4" fmla="*/ 159 w 168"/>
                <a:gd name="T5" fmla="*/ 9 h 93"/>
                <a:gd name="T6" fmla="*/ 159 w 168"/>
                <a:gd name="T7" fmla="*/ 0 h 93"/>
                <a:gd name="T8" fmla="*/ 159 w 168"/>
                <a:gd name="T9" fmla="*/ 9 h 93"/>
                <a:gd name="T10" fmla="*/ 159 w 168"/>
                <a:gd name="T11" fmla="*/ 9 h 93"/>
                <a:gd name="T12" fmla="*/ 159 w 168"/>
                <a:gd name="T13" fmla="*/ 9 h 93"/>
                <a:gd name="T14" fmla="*/ 0 w 168"/>
                <a:gd name="T15" fmla="*/ 93 h 93"/>
                <a:gd name="T16" fmla="*/ 0 w 168"/>
                <a:gd name="T17" fmla="*/ 93 h 93"/>
                <a:gd name="T18" fmla="*/ 0 w 168"/>
                <a:gd name="T19" fmla="*/ 93 h 93"/>
                <a:gd name="T20" fmla="*/ 0 w 168"/>
                <a:gd name="T21" fmla="*/ 93 h 93"/>
                <a:gd name="T22" fmla="*/ 0 w 168"/>
                <a:gd name="T23" fmla="*/ 93 h 93"/>
                <a:gd name="T24" fmla="*/ 0 w 168"/>
                <a:gd name="T25" fmla="*/ 85 h 93"/>
                <a:gd name="T26" fmla="*/ 0 w 168"/>
                <a:gd name="T27" fmla="*/ 85 h 93"/>
                <a:gd name="T28" fmla="*/ 0 w 168"/>
                <a:gd name="T29" fmla="*/ 85 h 93"/>
                <a:gd name="T30" fmla="*/ 0 w 168"/>
                <a:gd name="T31" fmla="*/ 85 h 93"/>
                <a:gd name="T32" fmla="*/ 0 w 168"/>
                <a:gd name="T33" fmla="*/ 85 h 93"/>
                <a:gd name="T34" fmla="*/ 0 w 168"/>
                <a:gd name="T35" fmla="*/ 85 h 93"/>
                <a:gd name="T36" fmla="*/ 0 w 168"/>
                <a:gd name="T37" fmla="*/ 8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8" h="93">
                  <a:moveTo>
                    <a:pt x="159" y="9"/>
                  </a:moveTo>
                  <a:lnTo>
                    <a:pt x="168" y="9"/>
                  </a:lnTo>
                  <a:lnTo>
                    <a:pt x="159" y="9"/>
                  </a:lnTo>
                  <a:lnTo>
                    <a:pt x="159" y="0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9" y="9"/>
                  </a:lnTo>
                  <a:close/>
                  <a:moveTo>
                    <a:pt x="0" y="93"/>
                  </a:move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4FC144CF-A897-4B49-A8EC-05B4C8BD13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35489" y="4740430"/>
              <a:ext cx="49176" cy="148700"/>
            </a:xfrm>
            <a:custGeom>
              <a:avLst/>
              <a:gdLst>
                <a:gd name="T0" fmla="*/ 2 w 5"/>
                <a:gd name="T1" fmla="*/ 3 h 15"/>
                <a:gd name="T2" fmla="*/ 2 w 5"/>
                <a:gd name="T3" fmla="*/ 2 h 15"/>
                <a:gd name="T4" fmla="*/ 2 w 5"/>
                <a:gd name="T5" fmla="*/ 1 h 15"/>
                <a:gd name="T6" fmla="*/ 2 w 5"/>
                <a:gd name="T7" fmla="*/ 0 h 15"/>
                <a:gd name="T8" fmla="*/ 1 w 5"/>
                <a:gd name="T9" fmla="*/ 1 h 15"/>
                <a:gd name="T10" fmla="*/ 1 w 5"/>
                <a:gd name="T11" fmla="*/ 2 h 15"/>
                <a:gd name="T12" fmla="*/ 1 w 5"/>
                <a:gd name="T13" fmla="*/ 3 h 15"/>
                <a:gd name="T14" fmla="*/ 1 w 5"/>
                <a:gd name="T15" fmla="*/ 5 h 15"/>
                <a:gd name="T16" fmla="*/ 1 w 5"/>
                <a:gd name="T17" fmla="*/ 4 h 15"/>
                <a:gd name="T18" fmla="*/ 1 w 5"/>
                <a:gd name="T19" fmla="*/ 4 h 15"/>
                <a:gd name="T20" fmla="*/ 2 w 5"/>
                <a:gd name="T21" fmla="*/ 3 h 15"/>
                <a:gd name="T22" fmla="*/ 1 w 5"/>
                <a:gd name="T23" fmla="*/ 4 h 15"/>
                <a:gd name="T24" fmla="*/ 1 w 5"/>
                <a:gd name="T25" fmla="*/ 5 h 15"/>
                <a:gd name="T26" fmla="*/ 1 w 5"/>
                <a:gd name="T27" fmla="*/ 5 h 15"/>
                <a:gd name="T28" fmla="*/ 1 w 5"/>
                <a:gd name="T29" fmla="*/ 5 h 15"/>
                <a:gd name="T30" fmla="*/ 0 w 5"/>
                <a:gd name="T31" fmla="*/ 5 h 15"/>
                <a:gd name="T32" fmla="*/ 1 w 5"/>
                <a:gd name="T33" fmla="*/ 7 h 15"/>
                <a:gd name="T34" fmla="*/ 1 w 5"/>
                <a:gd name="T35" fmla="*/ 6 h 15"/>
                <a:gd name="T36" fmla="*/ 1 w 5"/>
                <a:gd name="T37" fmla="*/ 7 h 15"/>
                <a:gd name="T38" fmla="*/ 2 w 5"/>
                <a:gd name="T39" fmla="*/ 10 h 15"/>
                <a:gd name="T40" fmla="*/ 2 w 5"/>
                <a:gd name="T41" fmla="*/ 10 h 15"/>
                <a:gd name="T42" fmla="*/ 3 w 5"/>
                <a:gd name="T43" fmla="*/ 11 h 15"/>
                <a:gd name="T44" fmla="*/ 3 w 5"/>
                <a:gd name="T45" fmla="*/ 12 h 15"/>
                <a:gd name="T46" fmla="*/ 3 w 5"/>
                <a:gd name="T47" fmla="*/ 11 h 15"/>
                <a:gd name="T48" fmla="*/ 3 w 5"/>
                <a:gd name="T49" fmla="*/ 12 h 15"/>
                <a:gd name="T50" fmla="*/ 4 w 5"/>
                <a:gd name="T51" fmla="*/ 12 h 15"/>
                <a:gd name="T52" fmla="*/ 4 w 5"/>
                <a:gd name="T53" fmla="*/ 12 h 15"/>
                <a:gd name="T54" fmla="*/ 3 w 5"/>
                <a:gd name="T55" fmla="*/ 13 h 15"/>
                <a:gd name="T56" fmla="*/ 3 w 5"/>
                <a:gd name="T57" fmla="*/ 12 h 15"/>
                <a:gd name="T58" fmla="*/ 3 w 5"/>
                <a:gd name="T59" fmla="*/ 13 h 15"/>
                <a:gd name="T60" fmla="*/ 4 w 5"/>
                <a:gd name="T61" fmla="*/ 14 h 15"/>
                <a:gd name="T62" fmla="*/ 4 w 5"/>
                <a:gd name="T63" fmla="*/ 14 h 15"/>
                <a:gd name="T64" fmla="*/ 4 w 5"/>
                <a:gd name="T65" fmla="*/ 14 h 15"/>
                <a:gd name="T66" fmla="*/ 4 w 5"/>
                <a:gd name="T67" fmla="*/ 15 h 15"/>
                <a:gd name="T68" fmla="*/ 4 w 5"/>
                <a:gd name="T69" fmla="*/ 15 h 15"/>
                <a:gd name="T70" fmla="*/ 4 w 5"/>
                <a:gd name="T7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15">
                  <a:moveTo>
                    <a:pt x="1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2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lose/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1"/>
                    <a:pt x="3" y="11"/>
                  </a:cubicBezTo>
                  <a:close/>
                  <a:moveTo>
                    <a:pt x="4" y="12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3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  <a:moveTo>
                    <a:pt x="4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lose/>
                  <a:moveTo>
                    <a:pt x="4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7C48EFE8-BB5C-444D-A370-83E2D1929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17369" y="4701792"/>
              <a:ext cx="19905" cy="49176"/>
            </a:xfrm>
            <a:custGeom>
              <a:avLst/>
              <a:gdLst>
                <a:gd name="T0" fmla="*/ 17 w 17"/>
                <a:gd name="T1" fmla="*/ 0 h 42"/>
                <a:gd name="T2" fmla="*/ 17 w 17"/>
                <a:gd name="T3" fmla="*/ 0 h 42"/>
                <a:gd name="T4" fmla="*/ 17 w 17"/>
                <a:gd name="T5" fmla="*/ 8 h 42"/>
                <a:gd name="T6" fmla="*/ 17 w 17"/>
                <a:gd name="T7" fmla="*/ 0 h 42"/>
                <a:gd name="T8" fmla="*/ 17 w 17"/>
                <a:gd name="T9" fmla="*/ 0 h 42"/>
                <a:gd name="T10" fmla="*/ 17 w 17"/>
                <a:gd name="T11" fmla="*/ 0 h 42"/>
                <a:gd name="T12" fmla="*/ 17 w 17"/>
                <a:gd name="T13" fmla="*/ 0 h 42"/>
                <a:gd name="T14" fmla="*/ 9 w 17"/>
                <a:gd name="T15" fmla="*/ 25 h 42"/>
                <a:gd name="T16" fmla="*/ 9 w 17"/>
                <a:gd name="T17" fmla="*/ 17 h 42"/>
                <a:gd name="T18" fmla="*/ 17 w 17"/>
                <a:gd name="T19" fmla="*/ 25 h 42"/>
                <a:gd name="T20" fmla="*/ 9 w 17"/>
                <a:gd name="T21" fmla="*/ 25 h 42"/>
                <a:gd name="T22" fmla="*/ 9 w 17"/>
                <a:gd name="T23" fmla="*/ 25 h 42"/>
                <a:gd name="T24" fmla="*/ 9 w 17"/>
                <a:gd name="T25" fmla="*/ 25 h 42"/>
                <a:gd name="T26" fmla="*/ 0 w 17"/>
                <a:gd name="T27" fmla="*/ 33 h 42"/>
                <a:gd name="T28" fmla="*/ 0 w 17"/>
                <a:gd name="T29" fmla="*/ 33 h 42"/>
                <a:gd name="T30" fmla="*/ 0 w 17"/>
                <a:gd name="T31" fmla="*/ 33 h 42"/>
                <a:gd name="T32" fmla="*/ 9 w 17"/>
                <a:gd name="T33" fmla="*/ 33 h 42"/>
                <a:gd name="T34" fmla="*/ 0 w 17"/>
                <a:gd name="T35" fmla="*/ 42 h 42"/>
                <a:gd name="T36" fmla="*/ 0 w 17"/>
                <a:gd name="T37" fmla="*/ 42 h 42"/>
                <a:gd name="T38" fmla="*/ 0 w 17"/>
                <a:gd name="T39" fmla="*/ 33 h 42"/>
                <a:gd name="T40" fmla="*/ 0 w 17"/>
                <a:gd name="T41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2">
                  <a:moveTo>
                    <a:pt x="17" y="0"/>
                  </a:moveTo>
                  <a:lnTo>
                    <a:pt x="17" y="0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9" y="25"/>
                  </a:moveTo>
                  <a:lnTo>
                    <a:pt x="9" y="17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close/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9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C571047D-56CB-4C7E-8F01-514BE816B6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9470" y="2485339"/>
              <a:ext cx="2715237" cy="1634531"/>
            </a:xfrm>
            <a:custGeom>
              <a:avLst/>
              <a:gdLst>
                <a:gd name="T0" fmla="*/ 211 w 276"/>
                <a:gd name="T1" fmla="*/ 136 h 166"/>
                <a:gd name="T2" fmla="*/ 193 w 276"/>
                <a:gd name="T3" fmla="*/ 118 h 166"/>
                <a:gd name="T4" fmla="*/ 172 w 276"/>
                <a:gd name="T5" fmla="*/ 133 h 166"/>
                <a:gd name="T6" fmla="*/ 134 w 276"/>
                <a:gd name="T7" fmla="*/ 134 h 166"/>
                <a:gd name="T8" fmla="*/ 94 w 276"/>
                <a:gd name="T9" fmla="*/ 127 h 166"/>
                <a:gd name="T10" fmla="*/ 69 w 276"/>
                <a:gd name="T11" fmla="*/ 131 h 166"/>
                <a:gd name="T12" fmla="*/ 47 w 276"/>
                <a:gd name="T13" fmla="*/ 141 h 166"/>
                <a:gd name="T14" fmla="*/ 40 w 276"/>
                <a:gd name="T15" fmla="*/ 165 h 166"/>
                <a:gd name="T16" fmla="*/ 23 w 276"/>
                <a:gd name="T17" fmla="*/ 141 h 166"/>
                <a:gd name="T18" fmla="*/ 4 w 276"/>
                <a:gd name="T19" fmla="*/ 111 h 166"/>
                <a:gd name="T20" fmla="*/ 7 w 276"/>
                <a:gd name="T21" fmla="*/ 79 h 166"/>
                <a:gd name="T22" fmla="*/ 10 w 276"/>
                <a:gd name="T23" fmla="*/ 90 h 166"/>
                <a:gd name="T24" fmla="*/ 28 w 276"/>
                <a:gd name="T25" fmla="*/ 87 h 166"/>
                <a:gd name="T26" fmla="*/ 43 w 276"/>
                <a:gd name="T27" fmla="*/ 79 h 166"/>
                <a:gd name="T28" fmla="*/ 68 w 276"/>
                <a:gd name="T29" fmla="*/ 74 h 166"/>
                <a:gd name="T30" fmla="*/ 75 w 276"/>
                <a:gd name="T31" fmla="*/ 75 h 166"/>
                <a:gd name="T32" fmla="*/ 82 w 276"/>
                <a:gd name="T33" fmla="*/ 73 h 166"/>
                <a:gd name="T34" fmla="*/ 80 w 276"/>
                <a:gd name="T35" fmla="*/ 57 h 166"/>
                <a:gd name="T36" fmla="*/ 83 w 276"/>
                <a:gd name="T37" fmla="*/ 48 h 166"/>
                <a:gd name="T38" fmla="*/ 91 w 276"/>
                <a:gd name="T39" fmla="*/ 32 h 166"/>
                <a:gd name="T40" fmla="*/ 104 w 276"/>
                <a:gd name="T41" fmla="*/ 21 h 166"/>
                <a:gd name="T42" fmla="*/ 121 w 276"/>
                <a:gd name="T43" fmla="*/ 31 h 166"/>
                <a:gd name="T44" fmla="*/ 129 w 276"/>
                <a:gd name="T45" fmla="*/ 38 h 166"/>
                <a:gd name="T46" fmla="*/ 155 w 276"/>
                <a:gd name="T47" fmla="*/ 36 h 166"/>
                <a:gd name="T48" fmla="*/ 175 w 276"/>
                <a:gd name="T49" fmla="*/ 34 h 166"/>
                <a:gd name="T50" fmla="*/ 194 w 276"/>
                <a:gd name="T51" fmla="*/ 30 h 166"/>
                <a:gd name="T52" fmla="*/ 235 w 276"/>
                <a:gd name="T53" fmla="*/ 31 h 166"/>
                <a:gd name="T54" fmla="*/ 261 w 276"/>
                <a:gd name="T55" fmla="*/ 25 h 166"/>
                <a:gd name="T56" fmla="*/ 273 w 276"/>
                <a:gd name="T57" fmla="*/ 32 h 166"/>
                <a:gd name="T58" fmla="*/ 265 w 276"/>
                <a:gd name="T59" fmla="*/ 43 h 166"/>
                <a:gd name="T60" fmla="*/ 267 w 276"/>
                <a:gd name="T61" fmla="*/ 62 h 166"/>
                <a:gd name="T62" fmla="*/ 253 w 276"/>
                <a:gd name="T63" fmla="*/ 82 h 166"/>
                <a:gd name="T64" fmla="*/ 257 w 276"/>
                <a:gd name="T65" fmla="*/ 113 h 166"/>
                <a:gd name="T66" fmla="*/ 247 w 276"/>
                <a:gd name="T67" fmla="*/ 68 h 166"/>
                <a:gd name="T68" fmla="*/ 235 w 276"/>
                <a:gd name="T69" fmla="*/ 76 h 166"/>
                <a:gd name="T70" fmla="*/ 220 w 276"/>
                <a:gd name="T71" fmla="*/ 88 h 166"/>
                <a:gd name="T72" fmla="*/ 217 w 276"/>
                <a:gd name="T73" fmla="*/ 111 h 166"/>
                <a:gd name="T74" fmla="*/ 219 w 276"/>
                <a:gd name="T75" fmla="*/ 151 h 166"/>
                <a:gd name="T76" fmla="*/ 19 w 276"/>
                <a:gd name="T77" fmla="*/ 17 h 166"/>
                <a:gd name="T78" fmla="*/ 26 w 276"/>
                <a:gd name="T79" fmla="*/ 10 h 166"/>
                <a:gd name="T80" fmla="*/ 23 w 276"/>
                <a:gd name="T81" fmla="*/ 17 h 166"/>
                <a:gd name="T82" fmla="*/ 25 w 276"/>
                <a:gd name="T83" fmla="*/ 17 h 166"/>
                <a:gd name="T84" fmla="*/ 31 w 276"/>
                <a:gd name="T85" fmla="*/ 14 h 166"/>
                <a:gd name="T86" fmla="*/ 40 w 276"/>
                <a:gd name="T87" fmla="*/ 57 h 166"/>
                <a:gd name="T88" fmla="*/ 48 w 276"/>
                <a:gd name="T89" fmla="*/ 37 h 166"/>
                <a:gd name="T90" fmla="*/ 38 w 276"/>
                <a:gd name="T91" fmla="*/ 53 h 166"/>
                <a:gd name="T92" fmla="*/ 36 w 276"/>
                <a:gd name="T93" fmla="*/ 60 h 166"/>
                <a:gd name="T94" fmla="*/ 46 w 276"/>
                <a:gd name="T95" fmla="*/ 70 h 166"/>
                <a:gd name="T96" fmla="*/ 88 w 276"/>
                <a:gd name="T97" fmla="*/ 63 h 166"/>
                <a:gd name="T98" fmla="*/ 69 w 276"/>
                <a:gd name="T99" fmla="*/ 55 h 166"/>
                <a:gd name="T100" fmla="*/ 74 w 276"/>
                <a:gd name="T101" fmla="*/ 36 h 166"/>
                <a:gd name="T102" fmla="*/ 90 w 276"/>
                <a:gd name="T103" fmla="*/ 26 h 166"/>
                <a:gd name="T104" fmla="*/ 68 w 276"/>
                <a:gd name="T105" fmla="*/ 2 h 166"/>
                <a:gd name="T106" fmla="*/ 79 w 276"/>
                <a:gd name="T107" fmla="*/ 12 h 166"/>
                <a:gd name="T108" fmla="*/ 170 w 276"/>
                <a:gd name="T109" fmla="*/ 8 h 166"/>
                <a:gd name="T110" fmla="*/ 154 w 276"/>
                <a:gd name="T111" fmla="*/ 12 h 166"/>
                <a:gd name="T112" fmla="*/ 92 w 276"/>
                <a:gd name="T113" fmla="*/ 9 h 166"/>
                <a:gd name="T114" fmla="*/ 125 w 276"/>
                <a:gd name="T115" fmla="*/ 34 h 166"/>
                <a:gd name="T116" fmla="*/ 218 w 276"/>
                <a:gd name="T117" fmla="*/ 32 h 166"/>
                <a:gd name="T118" fmla="*/ 233 w 276"/>
                <a:gd name="T119" fmla="*/ 126 h 166"/>
                <a:gd name="T120" fmla="*/ 231 w 276"/>
                <a:gd name="T121" fmla="*/ 134 h 166"/>
                <a:gd name="T122" fmla="*/ 255 w 276"/>
                <a:gd name="T123" fmla="*/ 84 h 166"/>
                <a:gd name="T124" fmla="*/ 254 w 276"/>
                <a:gd name="T125" fmla="*/ 12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6" h="166">
                  <a:moveTo>
                    <a:pt x="214" y="152"/>
                  </a:moveTo>
                  <a:cubicBezTo>
                    <a:pt x="214" y="152"/>
                    <a:pt x="214" y="152"/>
                    <a:pt x="214" y="152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8"/>
                    <a:pt x="214" y="148"/>
                    <a:pt x="214" y="148"/>
                  </a:cubicBezTo>
                  <a:cubicBezTo>
                    <a:pt x="214" y="148"/>
                    <a:pt x="214" y="148"/>
                    <a:pt x="214" y="148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3" y="146"/>
                    <a:pt x="213" y="146"/>
                    <a:pt x="213" y="146"/>
                  </a:cubicBezTo>
                  <a:cubicBezTo>
                    <a:pt x="213" y="145"/>
                    <a:pt x="213" y="145"/>
                    <a:pt x="213" y="145"/>
                  </a:cubicBezTo>
                  <a:cubicBezTo>
                    <a:pt x="213" y="145"/>
                    <a:pt x="213" y="145"/>
                    <a:pt x="213" y="145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4" y="144"/>
                    <a:pt x="214" y="144"/>
                    <a:pt x="214" y="144"/>
                  </a:cubicBezTo>
                  <a:cubicBezTo>
                    <a:pt x="214" y="144"/>
                    <a:pt x="214" y="144"/>
                    <a:pt x="214" y="144"/>
                  </a:cubicBezTo>
                  <a:cubicBezTo>
                    <a:pt x="214" y="143"/>
                    <a:pt x="214" y="143"/>
                    <a:pt x="214" y="143"/>
                  </a:cubicBezTo>
                  <a:cubicBezTo>
                    <a:pt x="214" y="143"/>
                    <a:pt x="214" y="143"/>
                    <a:pt x="214" y="143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6" y="144"/>
                    <a:pt x="216" y="144"/>
                    <a:pt x="216" y="144"/>
                  </a:cubicBezTo>
                  <a:cubicBezTo>
                    <a:pt x="216" y="144"/>
                    <a:pt x="216" y="144"/>
                    <a:pt x="216" y="144"/>
                  </a:cubicBezTo>
                  <a:cubicBezTo>
                    <a:pt x="217" y="144"/>
                    <a:pt x="217" y="144"/>
                    <a:pt x="217" y="144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4"/>
                    <a:pt x="217" y="134"/>
                    <a:pt x="217" y="134"/>
                  </a:cubicBezTo>
                  <a:cubicBezTo>
                    <a:pt x="217" y="134"/>
                    <a:pt x="217" y="134"/>
                    <a:pt x="217" y="134"/>
                  </a:cubicBezTo>
                  <a:cubicBezTo>
                    <a:pt x="216" y="134"/>
                    <a:pt x="216" y="134"/>
                    <a:pt x="216" y="134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2"/>
                    <a:pt x="216" y="132"/>
                    <a:pt x="216" y="132"/>
                  </a:cubicBezTo>
                  <a:cubicBezTo>
                    <a:pt x="215" y="132"/>
                    <a:pt x="215" y="132"/>
                    <a:pt x="215" y="132"/>
                  </a:cubicBezTo>
                  <a:cubicBezTo>
                    <a:pt x="215" y="132"/>
                    <a:pt x="215" y="132"/>
                    <a:pt x="215" y="132"/>
                  </a:cubicBezTo>
                  <a:cubicBezTo>
                    <a:pt x="215" y="133"/>
                    <a:pt x="215" y="133"/>
                    <a:pt x="215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4"/>
                    <a:pt x="214" y="134"/>
                    <a:pt x="214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5"/>
                    <a:pt x="213" y="135"/>
                    <a:pt x="213" y="135"/>
                  </a:cubicBezTo>
                  <a:cubicBezTo>
                    <a:pt x="213" y="135"/>
                    <a:pt x="213" y="135"/>
                    <a:pt x="213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8" y="134"/>
                    <a:pt x="208" y="134"/>
                    <a:pt x="208" y="134"/>
                  </a:cubicBezTo>
                  <a:cubicBezTo>
                    <a:pt x="208" y="134"/>
                    <a:pt x="208" y="134"/>
                    <a:pt x="208" y="134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29"/>
                    <a:pt x="203" y="129"/>
                    <a:pt x="203" y="129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29"/>
                    <a:pt x="201" y="129"/>
                    <a:pt x="201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199" y="128"/>
                    <a:pt x="199" y="128"/>
                    <a:pt x="199" y="128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6"/>
                    <a:pt x="199" y="126"/>
                    <a:pt x="199" y="126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3"/>
                    <a:pt x="197" y="123"/>
                    <a:pt x="197" y="123"/>
                  </a:cubicBezTo>
                  <a:cubicBezTo>
                    <a:pt x="197" y="123"/>
                    <a:pt x="197" y="123"/>
                    <a:pt x="197" y="123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1"/>
                    <a:pt x="196" y="121"/>
                    <a:pt x="196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8"/>
                    <a:pt x="193" y="118"/>
                    <a:pt x="193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9"/>
                    <a:pt x="191" y="119"/>
                    <a:pt x="191" y="119"/>
                  </a:cubicBezTo>
                  <a:cubicBezTo>
                    <a:pt x="191" y="119"/>
                    <a:pt x="191" y="119"/>
                    <a:pt x="191" y="119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3" y="119"/>
                    <a:pt x="183" y="119"/>
                    <a:pt x="183" y="119"/>
                  </a:cubicBezTo>
                  <a:cubicBezTo>
                    <a:pt x="183" y="119"/>
                    <a:pt x="183" y="119"/>
                    <a:pt x="183" y="119"/>
                  </a:cubicBezTo>
                  <a:cubicBezTo>
                    <a:pt x="183" y="120"/>
                    <a:pt x="183" y="120"/>
                    <a:pt x="183" y="120"/>
                  </a:cubicBezTo>
                  <a:cubicBezTo>
                    <a:pt x="183" y="120"/>
                    <a:pt x="183" y="120"/>
                    <a:pt x="183" y="120"/>
                  </a:cubicBezTo>
                  <a:cubicBezTo>
                    <a:pt x="182" y="120"/>
                    <a:pt x="182" y="120"/>
                    <a:pt x="182" y="120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2"/>
                    <a:pt x="182" y="122"/>
                    <a:pt x="182" y="122"/>
                  </a:cubicBezTo>
                  <a:cubicBezTo>
                    <a:pt x="182" y="122"/>
                    <a:pt x="182" y="122"/>
                    <a:pt x="182" y="122"/>
                  </a:cubicBezTo>
                  <a:cubicBezTo>
                    <a:pt x="183" y="122"/>
                    <a:pt x="183" y="122"/>
                    <a:pt x="183" y="122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3"/>
                    <a:pt x="184" y="123"/>
                    <a:pt x="184" y="123"/>
                  </a:cubicBezTo>
                  <a:cubicBezTo>
                    <a:pt x="184" y="123"/>
                    <a:pt x="184" y="123"/>
                    <a:pt x="184" y="123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7"/>
                    <a:pt x="183" y="127"/>
                    <a:pt x="183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3" y="127"/>
                    <a:pt x="183" y="127"/>
                    <a:pt x="183" y="127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3" y="131"/>
                    <a:pt x="183" y="131"/>
                    <a:pt x="183" y="131"/>
                  </a:cubicBezTo>
                  <a:cubicBezTo>
                    <a:pt x="183" y="131"/>
                    <a:pt x="183" y="131"/>
                    <a:pt x="183" y="131"/>
                  </a:cubicBezTo>
                  <a:cubicBezTo>
                    <a:pt x="182" y="132"/>
                    <a:pt x="182" y="132"/>
                    <a:pt x="182" y="132"/>
                  </a:cubicBezTo>
                  <a:cubicBezTo>
                    <a:pt x="181" y="132"/>
                    <a:pt x="181" y="132"/>
                    <a:pt x="181" y="132"/>
                  </a:cubicBezTo>
                  <a:cubicBezTo>
                    <a:pt x="181" y="132"/>
                    <a:pt x="181" y="132"/>
                    <a:pt x="181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3" y="132"/>
                    <a:pt x="173" y="132"/>
                    <a:pt x="173" y="132"/>
                  </a:cubicBezTo>
                  <a:cubicBezTo>
                    <a:pt x="173" y="132"/>
                    <a:pt x="173" y="132"/>
                    <a:pt x="173" y="132"/>
                  </a:cubicBezTo>
                  <a:cubicBezTo>
                    <a:pt x="172" y="132"/>
                    <a:pt x="172" y="132"/>
                    <a:pt x="172" y="132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1" y="134"/>
                    <a:pt x="171" y="134"/>
                    <a:pt x="171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5" y="135"/>
                    <a:pt x="165" y="135"/>
                    <a:pt x="165" y="135"/>
                  </a:cubicBezTo>
                  <a:cubicBezTo>
                    <a:pt x="164" y="135"/>
                    <a:pt x="164" y="135"/>
                    <a:pt x="164" y="135"/>
                  </a:cubicBezTo>
                  <a:cubicBezTo>
                    <a:pt x="164" y="135"/>
                    <a:pt x="164" y="135"/>
                    <a:pt x="164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0" y="133"/>
                    <a:pt x="160" y="133"/>
                    <a:pt x="160" y="133"/>
                  </a:cubicBezTo>
                  <a:cubicBezTo>
                    <a:pt x="160" y="133"/>
                    <a:pt x="160" y="133"/>
                    <a:pt x="160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6" y="132"/>
                    <a:pt x="156" y="132"/>
                    <a:pt x="156" y="132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4"/>
                    <a:pt x="153" y="134"/>
                    <a:pt x="153" y="134"/>
                  </a:cubicBezTo>
                  <a:cubicBezTo>
                    <a:pt x="152" y="133"/>
                    <a:pt x="152" y="133"/>
                    <a:pt x="152" y="133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0"/>
                    <a:pt x="149" y="130"/>
                    <a:pt x="149" y="130"/>
                  </a:cubicBezTo>
                  <a:cubicBezTo>
                    <a:pt x="149" y="130"/>
                    <a:pt x="149" y="130"/>
                    <a:pt x="149" y="130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47" y="130"/>
                    <a:pt x="147" y="130"/>
                    <a:pt x="147" y="130"/>
                  </a:cubicBezTo>
                  <a:cubicBezTo>
                    <a:pt x="147" y="130"/>
                    <a:pt x="147" y="130"/>
                    <a:pt x="147" y="130"/>
                  </a:cubicBezTo>
                  <a:cubicBezTo>
                    <a:pt x="146" y="130"/>
                    <a:pt x="146" y="130"/>
                    <a:pt x="146" y="130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1"/>
                    <a:pt x="141" y="131"/>
                    <a:pt x="141" y="131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4"/>
                    <a:pt x="142" y="134"/>
                    <a:pt x="142" y="134"/>
                  </a:cubicBezTo>
                  <a:cubicBezTo>
                    <a:pt x="142" y="134"/>
                    <a:pt x="142" y="134"/>
                    <a:pt x="142" y="134"/>
                  </a:cubicBezTo>
                  <a:cubicBezTo>
                    <a:pt x="142" y="135"/>
                    <a:pt x="142" y="135"/>
                    <a:pt x="142" y="135"/>
                  </a:cubicBezTo>
                  <a:cubicBezTo>
                    <a:pt x="143" y="135"/>
                    <a:pt x="143" y="135"/>
                    <a:pt x="143" y="135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0" y="136"/>
                    <a:pt x="140" y="136"/>
                    <a:pt x="140" y="136"/>
                  </a:cubicBezTo>
                  <a:cubicBezTo>
                    <a:pt x="139" y="136"/>
                    <a:pt x="139" y="136"/>
                    <a:pt x="139" y="136"/>
                  </a:cubicBezTo>
                  <a:cubicBezTo>
                    <a:pt x="139" y="136"/>
                    <a:pt x="139" y="136"/>
                    <a:pt x="139" y="136"/>
                  </a:cubicBezTo>
                  <a:cubicBezTo>
                    <a:pt x="139" y="135"/>
                    <a:pt x="139" y="135"/>
                    <a:pt x="139" y="135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138" y="136"/>
                    <a:pt x="138" y="136"/>
                    <a:pt x="138" y="136"/>
                  </a:cubicBezTo>
                  <a:cubicBezTo>
                    <a:pt x="137" y="136"/>
                    <a:pt x="137" y="136"/>
                    <a:pt x="137" y="136"/>
                  </a:cubicBezTo>
                  <a:cubicBezTo>
                    <a:pt x="137" y="136"/>
                    <a:pt x="137" y="136"/>
                    <a:pt x="137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3"/>
                    <a:pt x="132" y="133"/>
                    <a:pt x="132" y="133"/>
                  </a:cubicBezTo>
                  <a:cubicBezTo>
                    <a:pt x="132" y="133"/>
                    <a:pt x="132" y="133"/>
                    <a:pt x="132" y="133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8"/>
                    <a:pt x="124" y="138"/>
                    <a:pt x="124" y="138"/>
                  </a:cubicBezTo>
                  <a:cubicBezTo>
                    <a:pt x="124" y="138"/>
                    <a:pt x="124" y="138"/>
                    <a:pt x="124" y="138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20" y="137"/>
                    <a:pt x="120" y="137"/>
                    <a:pt x="120" y="137"/>
                  </a:cubicBezTo>
                  <a:cubicBezTo>
                    <a:pt x="120" y="138"/>
                    <a:pt x="120" y="138"/>
                    <a:pt x="120" y="138"/>
                  </a:cubicBezTo>
                  <a:cubicBezTo>
                    <a:pt x="120" y="138"/>
                    <a:pt x="120" y="138"/>
                    <a:pt x="120" y="138"/>
                  </a:cubicBezTo>
                  <a:cubicBezTo>
                    <a:pt x="119" y="138"/>
                    <a:pt x="119" y="138"/>
                    <a:pt x="119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5" y="136"/>
                    <a:pt x="115" y="136"/>
                    <a:pt x="115" y="136"/>
                  </a:cubicBezTo>
                  <a:cubicBezTo>
                    <a:pt x="115" y="136"/>
                    <a:pt x="115" y="136"/>
                    <a:pt x="115" y="136"/>
                  </a:cubicBezTo>
                  <a:cubicBezTo>
                    <a:pt x="115" y="135"/>
                    <a:pt x="115" y="135"/>
                    <a:pt x="115" y="135"/>
                  </a:cubicBezTo>
                  <a:cubicBezTo>
                    <a:pt x="114" y="135"/>
                    <a:pt x="114" y="135"/>
                    <a:pt x="114" y="135"/>
                  </a:cubicBezTo>
                  <a:cubicBezTo>
                    <a:pt x="114" y="134"/>
                    <a:pt x="114" y="134"/>
                    <a:pt x="114" y="134"/>
                  </a:cubicBezTo>
                  <a:cubicBezTo>
                    <a:pt x="113" y="134"/>
                    <a:pt x="113" y="134"/>
                    <a:pt x="113" y="134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7" y="135"/>
                    <a:pt x="107" y="135"/>
                    <a:pt x="107" y="135"/>
                  </a:cubicBezTo>
                  <a:cubicBezTo>
                    <a:pt x="107" y="135"/>
                    <a:pt x="107" y="135"/>
                    <a:pt x="107" y="135"/>
                  </a:cubicBezTo>
                  <a:cubicBezTo>
                    <a:pt x="102" y="129"/>
                    <a:pt x="102" y="129"/>
                    <a:pt x="102" y="129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97" y="126"/>
                    <a:pt x="97" y="126"/>
                    <a:pt x="97" y="126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5" y="127"/>
                    <a:pt x="95" y="127"/>
                    <a:pt x="95" y="127"/>
                  </a:cubicBezTo>
                  <a:cubicBezTo>
                    <a:pt x="95" y="127"/>
                    <a:pt x="95" y="127"/>
                    <a:pt x="95" y="127"/>
                  </a:cubicBezTo>
                  <a:cubicBezTo>
                    <a:pt x="94" y="127"/>
                    <a:pt x="94" y="127"/>
                    <a:pt x="94" y="127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1" y="127"/>
                    <a:pt x="91" y="127"/>
                    <a:pt x="91" y="127"/>
                  </a:cubicBezTo>
                  <a:cubicBezTo>
                    <a:pt x="91" y="126"/>
                    <a:pt x="91" y="126"/>
                    <a:pt x="91" y="126"/>
                  </a:cubicBezTo>
                  <a:cubicBezTo>
                    <a:pt x="90" y="126"/>
                    <a:pt x="90" y="126"/>
                    <a:pt x="90" y="126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6"/>
                    <a:pt x="90" y="126"/>
                    <a:pt x="90" y="126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5" y="123"/>
                    <a:pt x="85" y="123"/>
                    <a:pt x="85" y="123"/>
                  </a:cubicBezTo>
                  <a:cubicBezTo>
                    <a:pt x="85" y="123"/>
                    <a:pt x="85" y="123"/>
                    <a:pt x="85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7"/>
                    <a:pt x="76" y="127"/>
                    <a:pt x="76" y="127"/>
                  </a:cubicBezTo>
                  <a:cubicBezTo>
                    <a:pt x="76" y="127"/>
                    <a:pt x="76" y="127"/>
                    <a:pt x="76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8"/>
                    <a:pt x="74" y="128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72" y="128"/>
                    <a:pt x="72" y="128"/>
                    <a:pt x="72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9" y="130"/>
                    <a:pt x="69" y="130"/>
                    <a:pt x="69" y="130"/>
                  </a:cubicBezTo>
                  <a:cubicBezTo>
                    <a:pt x="69" y="130"/>
                    <a:pt x="69" y="130"/>
                    <a:pt x="69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9" y="134"/>
                    <a:pt x="69" y="134"/>
                    <a:pt x="69" y="134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0" y="138"/>
                    <a:pt x="70" y="138"/>
                    <a:pt x="70" y="138"/>
                  </a:cubicBezTo>
                  <a:cubicBezTo>
                    <a:pt x="70" y="139"/>
                    <a:pt x="70" y="139"/>
                    <a:pt x="70" y="139"/>
                  </a:cubicBezTo>
                  <a:cubicBezTo>
                    <a:pt x="69" y="139"/>
                    <a:pt x="69" y="139"/>
                    <a:pt x="69" y="139"/>
                  </a:cubicBezTo>
                  <a:cubicBezTo>
                    <a:pt x="68" y="138"/>
                    <a:pt x="68" y="138"/>
                    <a:pt x="68" y="138"/>
                  </a:cubicBezTo>
                  <a:cubicBezTo>
                    <a:pt x="68" y="138"/>
                    <a:pt x="68" y="138"/>
                    <a:pt x="68" y="138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7"/>
                    <a:pt x="65" y="137"/>
                    <a:pt x="65" y="137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59" y="139"/>
                    <a:pt x="59" y="139"/>
                    <a:pt x="59" y="139"/>
                  </a:cubicBezTo>
                  <a:cubicBezTo>
                    <a:pt x="59" y="139"/>
                    <a:pt x="59" y="139"/>
                    <a:pt x="59" y="139"/>
                  </a:cubicBezTo>
                  <a:cubicBezTo>
                    <a:pt x="58" y="138"/>
                    <a:pt x="58" y="138"/>
                    <a:pt x="58" y="138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3" y="137"/>
                    <a:pt x="53" y="137"/>
                    <a:pt x="53" y="137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0" y="136"/>
                    <a:pt x="50" y="136"/>
                    <a:pt x="50" y="136"/>
                  </a:cubicBezTo>
                  <a:cubicBezTo>
                    <a:pt x="50" y="136"/>
                    <a:pt x="50" y="136"/>
                    <a:pt x="50" y="136"/>
                  </a:cubicBezTo>
                  <a:cubicBezTo>
                    <a:pt x="49" y="136"/>
                    <a:pt x="49" y="136"/>
                    <a:pt x="49" y="136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47" y="141"/>
                    <a:pt x="47" y="141"/>
                    <a:pt x="47" y="141"/>
                  </a:cubicBezTo>
                  <a:cubicBezTo>
                    <a:pt x="47" y="141"/>
                    <a:pt x="47" y="141"/>
                    <a:pt x="47" y="14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3" y="143"/>
                    <a:pt x="43" y="143"/>
                    <a:pt x="43" y="143"/>
                  </a:cubicBezTo>
                  <a:cubicBezTo>
                    <a:pt x="43" y="144"/>
                    <a:pt x="43" y="144"/>
                    <a:pt x="43" y="144"/>
                  </a:cubicBezTo>
                  <a:cubicBezTo>
                    <a:pt x="43" y="145"/>
                    <a:pt x="43" y="145"/>
                    <a:pt x="43" y="145"/>
                  </a:cubicBezTo>
                  <a:cubicBezTo>
                    <a:pt x="43" y="146"/>
                    <a:pt x="43" y="146"/>
                    <a:pt x="43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4" y="147"/>
                    <a:pt x="44" y="147"/>
                    <a:pt x="44" y="147"/>
                  </a:cubicBezTo>
                  <a:cubicBezTo>
                    <a:pt x="44" y="147"/>
                    <a:pt x="44" y="147"/>
                    <a:pt x="44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3"/>
                    <a:pt x="48" y="153"/>
                  </a:cubicBezTo>
                  <a:cubicBezTo>
                    <a:pt x="48" y="153"/>
                    <a:pt x="47" y="152"/>
                    <a:pt x="47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8" y="161"/>
                    <a:pt x="48" y="161"/>
                    <a:pt x="48" y="161"/>
                  </a:cubicBezTo>
                  <a:cubicBezTo>
                    <a:pt x="48" y="161"/>
                    <a:pt x="48" y="161"/>
                    <a:pt x="48" y="161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49" y="164"/>
                    <a:pt x="49" y="164"/>
                    <a:pt x="49" y="164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7" y="165"/>
                    <a:pt x="47" y="165"/>
                    <a:pt x="47" y="165"/>
                  </a:cubicBezTo>
                  <a:cubicBezTo>
                    <a:pt x="47" y="164"/>
                    <a:pt x="47" y="164"/>
                    <a:pt x="47" y="164"/>
                  </a:cubicBezTo>
                  <a:cubicBezTo>
                    <a:pt x="46" y="164"/>
                    <a:pt x="46" y="164"/>
                    <a:pt x="46" y="164"/>
                  </a:cubicBezTo>
                  <a:cubicBezTo>
                    <a:pt x="45" y="164"/>
                    <a:pt x="45" y="164"/>
                    <a:pt x="45" y="164"/>
                  </a:cubicBezTo>
                  <a:cubicBezTo>
                    <a:pt x="45" y="164"/>
                    <a:pt x="45" y="164"/>
                    <a:pt x="45" y="164"/>
                  </a:cubicBezTo>
                  <a:cubicBezTo>
                    <a:pt x="46" y="165"/>
                    <a:pt x="46" y="165"/>
                    <a:pt x="46" y="165"/>
                  </a:cubicBezTo>
                  <a:cubicBezTo>
                    <a:pt x="46" y="165"/>
                    <a:pt x="46" y="165"/>
                    <a:pt x="46" y="165"/>
                  </a:cubicBezTo>
                  <a:cubicBezTo>
                    <a:pt x="46" y="166"/>
                    <a:pt x="46" y="166"/>
                    <a:pt x="46" y="166"/>
                  </a:cubicBezTo>
                  <a:cubicBezTo>
                    <a:pt x="45" y="165"/>
                    <a:pt x="45" y="165"/>
                    <a:pt x="45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0" y="165"/>
                    <a:pt x="40" y="165"/>
                    <a:pt x="40" y="165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5" y="162"/>
                    <a:pt x="35" y="162"/>
                    <a:pt x="35" y="162"/>
                  </a:cubicBezTo>
                  <a:cubicBezTo>
                    <a:pt x="35" y="162"/>
                    <a:pt x="35" y="162"/>
                    <a:pt x="35" y="162"/>
                  </a:cubicBezTo>
                  <a:cubicBezTo>
                    <a:pt x="35" y="161"/>
                    <a:pt x="35" y="161"/>
                    <a:pt x="35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3" y="161"/>
                    <a:pt x="33" y="161"/>
                    <a:pt x="33" y="161"/>
                  </a:cubicBezTo>
                  <a:cubicBezTo>
                    <a:pt x="33" y="161"/>
                    <a:pt x="33" y="161"/>
                    <a:pt x="33" y="161"/>
                  </a:cubicBezTo>
                  <a:cubicBezTo>
                    <a:pt x="33" y="160"/>
                    <a:pt x="33" y="160"/>
                    <a:pt x="3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7" y="157"/>
                    <a:pt x="27" y="157"/>
                    <a:pt x="27" y="157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7" y="155"/>
                    <a:pt x="27" y="155"/>
                    <a:pt x="27" y="155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1"/>
                    <a:pt x="27" y="151"/>
                    <a:pt x="27" y="151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8"/>
                    <a:pt x="28" y="148"/>
                    <a:pt x="28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47"/>
                    <a:pt x="30" y="147"/>
                    <a:pt x="30" y="147"/>
                  </a:cubicBezTo>
                  <a:cubicBezTo>
                    <a:pt x="30" y="146"/>
                    <a:pt x="30" y="146"/>
                    <a:pt x="30" y="146"/>
                  </a:cubicBezTo>
                  <a:cubicBezTo>
                    <a:pt x="30" y="146"/>
                    <a:pt x="30" y="146"/>
                    <a:pt x="30" y="146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8" y="143"/>
                    <a:pt x="28" y="143"/>
                    <a:pt x="28" y="143"/>
                  </a:cubicBezTo>
                  <a:cubicBezTo>
                    <a:pt x="28" y="143"/>
                    <a:pt x="28" y="143"/>
                    <a:pt x="28" y="143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25" y="141"/>
                    <a:pt x="25" y="141"/>
                    <a:pt x="25" y="141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0" y="140"/>
                    <a:pt x="20" y="140"/>
                    <a:pt x="20" y="140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29"/>
                    <a:pt x="11" y="129"/>
                    <a:pt x="11" y="129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3" y="122"/>
                    <a:pt x="3" y="122"/>
                    <a:pt x="3" y="122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0" y="96"/>
                    <a:pt x="20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3" y="95"/>
                    <a:pt x="23" y="95"/>
                    <a:pt x="23" y="95"/>
                  </a:cubicBezTo>
                  <a:cubicBezTo>
                    <a:pt x="22" y="94"/>
                    <a:pt x="22" y="94"/>
                    <a:pt x="22" y="94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9"/>
                    <a:pt x="76" y="79"/>
                    <a:pt x="76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4" y="83"/>
                    <a:pt x="74" y="83"/>
                    <a:pt x="74" y="83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8" y="76"/>
                    <a:pt x="78" y="76"/>
                    <a:pt x="78" y="76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8" y="22"/>
                    <a:pt x="108" y="22"/>
                    <a:pt x="108" y="22"/>
                  </a:cubicBezTo>
                  <a:cubicBezTo>
                    <a:pt x="108" y="22"/>
                    <a:pt x="108" y="22"/>
                    <a:pt x="108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3"/>
                    <a:pt x="155" y="33"/>
                    <a:pt x="155" y="33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7" y="36"/>
                    <a:pt x="157" y="36"/>
                    <a:pt x="157" y="36"/>
                  </a:cubicBezTo>
                  <a:cubicBezTo>
                    <a:pt x="157" y="36"/>
                    <a:pt x="157" y="36"/>
                    <a:pt x="157" y="36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6" y="39"/>
                    <a:pt x="156" y="39"/>
                    <a:pt x="156" y="39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60" y="41"/>
                    <a:pt x="160" y="41"/>
                    <a:pt x="160" y="41"/>
                  </a:cubicBezTo>
                  <a:cubicBezTo>
                    <a:pt x="161" y="41"/>
                    <a:pt x="161" y="41"/>
                    <a:pt x="161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6"/>
                    <a:pt x="168" y="36"/>
                    <a:pt x="168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73" y="38"/>
                    <a:pt x="173" y="38"/>
                    <a:pt x="173" y="38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5" y="37"/>
                    <a:pt x="175" y="37"/>
                    <a:pt x="175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5" y="36"/>
                    <a:pt x="175" y="36"/>
                    <a:pt x="175" y="36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4"/>
                    <a:pt x="174" y="34"/>
                    <a:pt x="174" y="34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4"/>
                    <a:pt x="176" y="34"/>
                    <a:pt x="176" y="34"/>
                  </a:cubicBezTo>
                  <a:cubicBezTo>
                    <a:pt x="176" y="34"/>
                    <a:pt x="176" y="34"/>
                    <a:pt x="176" y="34"/>
                  </a:cubicBezTo>
                  <a:cubicBezTo>
                    <a:pt x="175" y="34"/>
                    <a:pt x="175" y="34"/>
                    <a:pt x="175" y="34"/>
                  </a:cubicBezTo>
                  <a:cubicBezTo>
                    <a:pt x="175" y="33"/>
                    <a:pt x="175" y="33"/>
                    <a:pt x="175" y="33"/>
                  </a:cubicBezTo>
                  <a:cubicBezTo>
                    <a:pt x="175" y="33"/>
                    <a:pt x="175" y="33"/>
                    <a:pt x="175" y="33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3" y="31"/>
                    <a:pt x="173" y="31"/>
                    <a:pt x="173" y="31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4" y="28"/>
                    <a:pt x="174" y="28"/>
                    <a:pt x="174" y="28"/>
                  </a:cubicBezTo>
                  <a:cubicBezTo>
                    <a:pt x="174" y="28"/>
                    <a:pt x="174" y="28"/>
                    <a:pt x="174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5" y="27"/>
                    <a:pt x="175" y="27"/>
                    <a:pt x="175" y="27"/>
                  </a:cubicBezTo>
                  <a:cubicBezTo>
                    <a:pt x="176" y="27"/>
                    <a:pt x="176" y="27"/>
                    <a:pt x="176" y="27"/>
                  </a:cubicBezTo>
                  <a:cubicBezTo>
                    <a:pt x="179" y="27"/>
                    <a:pt x="179" y="27"/>
                    <a:pt x="179" y="27"/>
                  </a:cubicBezTo>
                  <a:cubicBezTo>
                    <a:pt x="179" y="27"/>
                    <a:pt x="179" y="27"/>
                    <a:pt x="179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81" y="28"/>
                    <a:pt x="181" y="28"/>
                    <a:pt x="181" y="28"/>
                  </a:cubicBezTo>
                  <a:cubicBezTo>
                    <a:pt x="180" y="29"/>
                    <a:pt x="180" y="29"/>
                    <a:pt x="180" y="29"/>
                  </a:cubicBezTo>
                  <a:cubicBezTo>
                    <a:pt x="180" y="29"/>
                    <a:pt x="180" y="29"/>
                    <a:pt x="180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1" y="28"/>
                    <a:pt x="181" y="28"/>
                    <a:pt x="181" y="28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2" y="28"/>
                    <a:pt x="182" y="28"/>
                    <a:pt x="182" y="28"/>
                  </a:cubicBezTo>
                  <a:cubicBezTo>
                    <a:pt x="183" y="29"/>
                    <a:pt x="183" y="29"/>
                    <a:pt x="183" y="29"/>
                  </a:cubicBezTo>
                  <a:cubicBezTo>
                    <a:pt x="183" y="29"/>
                    <a:pt x="183" y="29"/>
                    <a:pt x="183" y="29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2" y="30"/>
                    <a:pt x="182" y="30"/>
                    <a:pt x="182" y="30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6"/>
                    <a:pt x="184" y="26"/>
                    <a:pt x="184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186" y="26"/>
                    <a:pt x="186" y="26"/>
                    <a:pt x="186" y="26"/>
                  </a:cubicBezTo>
                  <a:cubicBezTo>
                    <a:pt x="187" y="25"/>
                    <a:pt x="187" y="25"/>
                    <a:pt x="187" y="25"/>
                  </a:cubicBezTo>
                  <a:cubicBezTo>
                    <a:pt x="188" y="25"/>
                    <a:pt x="188" y="25"/>
                    <a:pt x="188" y="25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30"/>
                    <a:pt x="191" y="30"/>
                    <a:pt x="191" y="30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1"/>
                    <a:pt x="193" y="31"/>
                    <a:pt x="193" y="31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5" y="29"/>
                    <a:pt x="195" y="29"/>
                    <a:pt x="195" y="29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6" y="31"/>
                    <a:pt x="196" y="31"/>
                    <a:pt x="196" y="31"/>
                  </a:cubicBezTo>
                  <a:cubicBezTo>
                    <a:pt x="196" y="32"/>
                    <a:pt x="196" y="32"/>
                    <a:pt x="196" y="32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8" y="31"/>
                    <a:pt x="198" y="31"/>
                    <a:pt x="198" y="31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200" y="30"/>
                    <a:pt x="200" y="30"/>
                    <a:pt x="200" y="30"/>
                  </a:cubicBezTo>
                  <a:cubicBezTo>
                    <a:pt x="201" y="30"/>
                    <a:pt x="201" y="30"/>
                    <a:pt x="201" y="30"/>
                  </a:cubicBezTo>
                  <a:cubicBezTo>
                    <a:pt x="201" y="30"/>
                    <a:pt x="201" y="30"/>
                    <a:pt x="201" y="30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4" y="28"/>
                    <a:pt x="204" y="28"/>
                    <a:pt x="204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6" y="27"/>
                    <a:pt x="206" y="27"/>
                    <a:pt x="206" y="27"/>
                  </a:cubicBezTo>
                  <a:cubicBezTo>
                    <a:pt x="207" y="27"/>
                    <a:pt x="207" y="27"/>
                    <a:pt x="207" y="27"/>
                  </a:cubicBezTo>
                  <a:cubicBezTo>
                    <a:pt x="208" y="27"/>
                    <a:pt x="208" y="27"/>
                    <a:pt x="208" y="27"/>
                  </a:cubicBezTo>
                  <a:cubicBezTo>
                    <a:pt x="210" y="28"/>
                    <a:pt x="210" y="28"/>
                    <a:pt x="210" y="28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211" y="29"/>
                    <a:pt x="211" y="29"/>
                    <a:pt x="211" y="29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2"/>
                    <a:pt x="213" y="32"/>
                    <a:pt x="213" y="32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5"/>
                    <a:pt x="218" y="35"/>
                    <a:pt x="218" y="35"/>
                  </a:cubicBezTo>
                  <a:cubicBezTo>
                    <a:pt x="218" y="35"/>
                    <a:pt x="218" y="35"/>
                    <a:pt x="218" y="35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5"/>
                    <a:pt x="219" y="35"/>
                    <a:pt x="219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3"/>
                    <a:pt x="219" y="33"/>
                    <a:pt x="219" y="33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3" y="30"/>
                    <a:pt x="223" y="30"/>
                    <a:pt x="223" y="30"/>
                  </a:cubicBezTo>
                  <a:cubicBezTo>
                    <a:pt x="223" y="30"/>
                    <a:pt x="223" y="30"/>
                    <a:pt x="223" y="30"/>
                  </a:cubicBezTo>
                  <a:cubicBezTo>
                    <a:pt x="224" y="30"/>
                    <a:pt x="224" y="30"/>
                    <a:pt x="224" y="30"/>
                  </a:cubicBezTo>
                  <a:cubicBezTo>
                    <a:pt x="224" y="30"/>
                    <a:pt x="224" y="30"/>
                    <a:pt x="224" y="30"/>
                  </a:cubicBezTo>
                  <a:cubicBezTo>
                    <a:pt x="225" y="30"/>
                    <a:pt x="225" y="30"/>
                    <a:pt x="225" y="30"/>
                  </a:cubicBezTo>
                  <a:cubicBezTo>
                    <a:pt x="226" y="29"/>
                    <a:pt x="226" y="29"/>
                    <a:pt x="226" y="29"/>
                  </a:cubicBezTo>
                  <a:cubicBezTo>
                    <a:pt x="226" y="29"/>
                    <a:pt x="226" y="29"/>
                    <a:pt x="226" y="29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8"/>
                    <a:pt x="227" y="28"/>
                    <a:pt x="227" y="28"/>
                  </a:cubicBezTo>
                  <a:cubicBezTo>
                    <a:pt x="227" y="28"/>
                    <a:pt x="227" y="28"/>
                    <a:pt x="227" y="28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8" y="27"/>
                    <a:pt x="228" y="27"/>
                    <a:pt x="228" y="27"/>
                  </a:cubicBezTo>
                  <a:cubicBezTo>
                    <a:pt x="228" y="28"/>
                    <a:pt x="228" y="28"/>
                    <a:pt x="228" y="28"/>
                  </a:cubicBezTo>
                  <a:cubicBezTo>
                    <a:pt x="228" y="28"/>
                    <a:pt x="228" y="28"/>
                    <a:pt x="228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1" y="30"/>
                    <a:pt x="231" y="30"/>
                    <a:pt x="231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3" y="31"/>
                    <a:pt x="233" y="31"/>
                    <a:pt x="233" y="31"/>
                  </a:cubicBezTo>
                  <a:cubicBezTo>
                    <a:pt x="233" y="31"/>
                    <a:pt x="233" y="31"/>
                    <a:pt x="233" y="31"/>
                  </a:cubicBezTo>
                  <a:cubicBezTo>
                    <a:pt x="233" y="32"/>
                    <a:pt x="233" y="32"/>
                    <a:pt x="233" y="3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2" y="26"/>
                    <a:pt x="232" y="26"/>
                    <a:pt x="232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5"/>
                    <a:pt x="231" y="25"/>
                    <a:pt x="231" y="25"/>
                  </a:cubicBezTo>
                  <a:cubicBezTo>
                    <a:pt x="231" y="25"/>
                    <a:pt x="231" y="25"/>
                    <a:pt x="231" y="25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0" y="24"/>
                    <a:pt x="230" y="24"/>
                    <a:pt x="230" y="24"/>
                  </a:cubicBezTo>
                  <a:cubicBezTo>
                    <a:pt x="230" y="24"/>
                    <a:pt x="230" y="24"/>
                    <a:pt x="230" y="24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2" y="24"/>
                    <a:pt x="232" y="24"/>
                    <a:pt x="232" y="24"/>
                  </a:cubicBezTo>
                  <a:cubicBezTo>
                    <a:pt x="233" y="24"/>
                    <a:pt x="233" y="24"/>
                    <a:pt x="233" y="24"/>
                  </a:cubicBezTo>
                  <a:cubicBezTo>
                    <a:pt x="233" y="23"/>
                    <a:pt x="233" y="23"/>
                    <a:pt x="233" y="23"/>
                  </a:cubicBezTo>
                  <a:cubicBezTo>
                    <a:pt x="234" y="23"/>
                    <a:pt x="234" y="23"/>
                    <a:pt x="234" y="23"/>
                  </a:cubicBezTo>
                  <a:cubicBezTo>
                    <a:pt x="234" y="24"/>
                    <a:pt x="234" y="24"/>
                    <a:pt x="234" y="24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7" y="23"/>
                    <a:pt x="237" y="23"/>
                    <a:pt x="237" y="23"/>
                  </a:cubicBezTo>
                  <a:cubicBezTo>
                    <a:pt x="237" y="23"/>
                    <a:pt x="237" y="23"/>
                    <a:pt x="237" y="23"/>
                  </a:cubicBezTo>
                  <a:cubicBezTo>
                    <a:pt x="238" y="22"/>
                    <a:pt x="238" y="22"/>
                    <a:pt x="238" y="22"/>
                  </a:cubicBezTo>
                  <a:cubicBezTo>
                    <a:pt x="239" y="23"/>
                    <a:pt x="239" y="23"/>
                    <a:pt x="239" y="23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8" y="23"/>
                    <a:pt x="248" y="23"/>
                    <a:pt x="248" y="23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48" y="23"/>
                    <a:pt x="248" y="23"/>
                    <a:pt x="248" y="23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51" y="24"/>
                    <a:pt x="251" y="24"/>
                    <a:pt x="251" y="2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4"/>
                    <a:pt x="251" y="24"/>
                    <a:pt x="251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3"/>
                    <a:pt x="252" y="23"/>
                    <a:pt x="252" y="23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4" y="24"/>
                    <a:pt x="254" y="24"/>
                    <a:pt x="254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5" y="24"/>
                    <a:pt x="255" y="24"/>
                    <a:pt x="255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8" y="25"/>
                    <a:pt x="258" y="25"/>
                    <a:pt x="258" y="25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60" y="24"/>
                    <a:pt x="260" y="24"/>
                    <a:pt x="260" y="24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6"/>
                    <a:pt x="262" y="26"/>
                    <a:pt x="262" y="26"/>
                  </a:cubicBezTo>
                  <a:cubicBezTo>
                    <a:pt x="263" y="27"/>
                    <a:pt x="263" y="27"/>
                    <a:pt x="263" y="27"/>
                  </a:cubicBezTo>
                  <a:cubicBezTo>
                    <a:pt x="264" y="27"/>
                    <a:pt x="264" y="27"/>
                    <a:pt x="264" y="27"/>
                  </a:cubicBezTo>
                  <a:cubicBezTo>
                    <a:pt x="264" y="28"/>
                    <a:pt x="264" y="28"/>
                    <a:pt x="264" y="28"/>
                  </a:cubicBezTo>
                  <a:cubicBezTo>
                    <a:pt x="264" y="28"/>
                    <a:pt x="264" y="28"/>
                    <a:pt x="264" y="28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7" y="30"/>
                    <a:pt x="267" y="30"/>
                    <a:pt x="267" y="30"/>
                  </a:cubicBezTo>
                  <a:cubicBezTo>
                    <a:pt x="267" y="30"/>
                    <a:pt x="267" y="30"/>
                    <a:pt x="267" y="30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7" y="28"/>
                    <a:pt x="267" y="28"/>
                    <a:pt x="267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5" y="28"/>
                    <a:pt x="265" y="28"/>
                    <a:pt x="265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5" y="27"/>
                    <a:pt x="265" y="27"/>
                    <a:pt x="265" y="27"/>
                  </a:cubicBezTo>
                  <a:cubicBezTo>
                    <a:pt x="265" y="27"/>
                    <a:pt x="265" y="27"/>
                    <a:pt x="265" y="27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3" y="26"/>
                    <a:pt x="263" y="26"/>
                    <a:pt x="263" y="26"/>
                  </a:cubicBezTo>
                  <a:cubicBezTo>
                    <a:pt x="263" y="26"/>
                    <a:pt x="263" y="26"/>
                    <a:pt x="263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5"/>
                    <a:pt x="264" y="25"/>
                    <a:pt x="264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66" y="25"/>
                    <a:pt x="266" y="25"/>
                    <a:pt x="266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4"/>
                    <a:pt x="268" y="24"/>
                    <a:pt x="268" y="24"/>
                  </a:cubicBezTo>
                  <a:cubicBezTo>
                    <a:pt x="268" y="24"/>
                    <a:pt x="268" y="24"/>
                    <a:pt x="268" y="24"/>
                  </a:cubicBezTo>
                  <a:cubicBezTo>
                    <a:pt x="269" y="24"/>
                    <a:pt x="269" y="24"/>
                    <a:pt x="269" y="24"/>
                  </a:cubicBezTo>
                  <a:cubicBezTo>
                    <a:pt x="269" y="24"/>
                    <a:pt x="269" y="24"/>
                    <a:pt x="269" y="24"/>
                  </a:cubicBezTo>
                  <a:cubicBezTo>
                    <a:pt x="270" y="24"/>
                    <a:pt x="270" y="24"/>
                    <a:pt x="270" y="24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6"/>
                    <a:pt x="272" y="26"/>
                    <a:pt x="272" y="26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2" y="28"/>
                    <a:pt x="272" y="28"/>
                    <a:pt x="272" y="28"/>
                  </a:cubicBezTo>
                  <a:cubicBezTo>
                    <a:pt x="272" y="29"/>
                    <a:pt x="272" y="29"/>
                    <a:pt x="272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70" y="31"/>
                    <a:pt x="270" y="31"/>
                    <a:pt x="270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2" y="33"/>
                    <a:pt x="272" y="33"/>
                    <a:pt x="272" y="33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3" y="33"/>
                    <a:pt x="273" y="33"/>
                    <a:pt x="273" y="33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3" y="34"/>
                    <a:pt x="273" y="34"/>
                    <a:pt x="273" y="34"/>
                  </a:cubicBezTo>
                  <a:cubicBezTo>
                    <a:pt x="274" y="34"/>
                    <a:pt x="274" y="34"/>
                    <a:pt x="274" y="34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4" y="36"/>
                    <a:pt x="274" y="36"/>
                    <a:pt x="274" y="36"/>
                  </a:cubicBezTo>
                  <a:cubicBezTo>
                    <a:pt x="274" y="36"/>
                    <a:pt x="274" y="36"/>
                    <a:pt x="274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6" y="36"/>
                    <a:pt x="276" y="36"/>
                    <a:pt x="276" y="36"/>
                  </a:cubicBezTo>
                  <a:cubicBezTo>
                    <a:pt x="276" y="36"/>
                    <a:pt x="276" y="36"/>
                    <a:pt x="276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6" y="37"/>
                    <a:pt x="276" y="37"/>
                    <a:pt x="276" y="37"/>
                  </a:cubicBezTo>
                  <a:cubicBezTo>
                    <a:pt x="276" y="37"/>
                    <a:pt x="276" y="37"/>
                    <a:pt x="276" y="37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3" y="38"/>
                    <a:pt x="273" y="38"/>
                    <a:pt x="273" y="38"/>
                  </a:cubicBezTo>
                  <a:cubicBezTo>
                    <a:pt x="273" y="38"/>
                    <a:pt x="273" y="38"/>
                    <a:pt x="273" y="38"/>
                  </a:cubicBezTo>
                  <a:cubicBezTo>
                    <a:pt x="272" y="38"/>
                    <a:pt x="272" y="38"/>
                    <a:pt x="272" y="38"/>
                  </a:cubicBezTo>
                  <a:cubicBezTo>
                    <a:pt x="272" y="38"/>
                    <a:pt x="272" y="38"/>
                    <a:pt x="272" y="38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1" y="37"/>
                    <a:pt x="271" y="37"/>
                    <a:pt x="271" y="37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9"/>
                    <a:pt x="271" y="39"/>
                    <a:pt x="271" y="39"/>
                  </a:cubicBezTo>
                  <a:cubicBezTo>
                    <a:pt x="271" y="39"/>
                    <a:pt x="271" y="39"/>
                    <a:pt x="271" y="39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68" y="37"/>
                    <a:pt x="268" y="37"/>
                    <a:pt x="268" y="37"/>
                  </a:cubicBezTo>
                  <a:cubicBezTo>
                    <a:pt x="268" y="37"/>
                    <a:pt x="268" y="37"/>
                    <a:pt x="268" y="37"/>
                  </a:cubicBezTo>
                  <a:cubicBezTo>
                    <a:pt x="268" y="36"/>
                    <a:pt x="268" y="36"/>
                    <a:pt x="268" y="36"/>
                  </a:cubicBezTo>
                  <a:cubicBezTo>
                    <a:pt x="268" y="36"/>
                    <a:pt x="268" y="36"/>
                    <a:pt x="268" y="36"/>
                  </a:cubicBezTo>
                  <a:cubicBezTo>
                    <a:pt x="267" y="37"/>
                    <a:pt x="267" y="37"/>
                    <a:pt x="267" y="37"/>
                  </a:cubicBezTo>
                  <a:cubicBezTo>
                    <a:pt x="267" y="37"/>
                    <a:pt x="267" y="37"/>
                    <a:pt x="267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6"/>
                    <a:pt x="266" y="36"/>
                    <a:pt x="266" y="36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8"/>
                    <a:pt x="266" y="38"/>
                    <a:pt x="266" y="38"/>
                  </a:cubicBezTo>
                  <a:cubicBezTo>
                    <a:pt x="266" y="38"/>
                    <a:pt x="266" y="38"/>
                    <a:pt x="266" y="38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5" y="39"/>
                    <a:pt x="265" y="39"/>
                    <a:pt x="265" y="39"/>
                  </a:cubicBezTo>
                  <a:cubicBezTo>
                    <a:pt x="265" y="39"/>
                    <a:pt x="265" y="39"/>
                    <a:pt x="265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3" y="38"/>
                    <a:pt x="263" y="38"/>
                    <a:pt x="263" y="38"/>
                  </a:cubicBezTo>
                  <a:cubicBezTo>
                    <a:pt x="263" y="38"/>
                    <a:pt x="263" y="38"/>
                    <a:pt x="263" y="38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61" y="38"/>
                    <a:pt x="261" y="38"/>
                    <a:pt x="261" y="38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262" y="40"/>
                    <a:pt x="262" y="40"/>
                    <a:pt x="262" y="40"/>
                  </a:cubicBezTo>
                  <a:cubicBezTo>
                    <a:pt x="263" y="40"/>
                    <a:pt x="263" y="40"/>
                    <a:pt x="263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5" y="43"/>
                    <a:pt x="265" y="43"/>
                    <a:pt x="265" y="43"/>
                  </a:cubicBezTo>
                  <a:cubicBezTo>
                    <a:pt x="265" y="43"/>
                    <a:pt x="265" y="43"/>
                    <a:pt x="265" y="43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7"/>
                    <a:pt x="265" y="47"/>
                    <a:pt x="265" y="47"/>
                  </a:cubicBezTo>
                  <a:cubicBezTo>
                    <a:pt x="265" y="48"/>
                    <a:pt x="265" y="48"/>
                    <a:pt x="265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4" y="47"/>
                    <a:pt x="264" y="47"/>
                    <a:pt x="264" y="47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0" y="46"/>
                    <a:pt x="260" y="46"/>
                    <a:pt x="260" y="46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1" y="48"/>
                    <a:pt x="261" y="48"/>
                    <a:pt x="261" y="48"/>
                  </a:cubicBezTo>
                  <a:cubicBezTo>
                    <a:pt x="261" y="48"/>
                    <a:pt x="261" y="48"/>
                    <a:pt x="261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3" y="49"/>
                    <a:pt x="263" y="49"/>
                    <a:pt x="263" y="49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64" y="50"/>
                    <a:pt x="264" y="50"/>
                    <a:pt x="264" y="50"/>
                  </a:cubicBezTo>
                  <a:cubicBezTo>
                    <a:pt x="264" y="50"/>
                    <a:pt x="264" y="50"/>
                    <a:pt x="264" y="5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5" y="49"/>
                    <a:pt x="265" y="49"/>
                    <a:pt x="265" y="49"/>
                  </a:cubicBezTo>
                  <a:cubicBezTo>
                    <a:pt x="266" y="50"/>
                    <a:pt x="266" y="50"/>
                    <a:pt x="266" y="50"/>
                  </a:cubicBezTo>
                  <a:cubicBezTo>
                    <a:pt x="266" y="51"/>
                    <a:pt x="266" y="51"/>
                    <a:pt x="266" y="51"/>
                  </a:cubicBezTo>
                  <a:cubicBezTo>
                    <a:pt x="265" y="51"/>
                    <a:pt x="265" y="51"/>
                    <a:pt x="265" y="51"/>
                  </a:cubicBezTo>
                  <a:cubicBezTo>
                    <a:pt x="265" y="51"/>
                    <a:pt x="265" y="51"/>
                    <a:pt x="265" y="51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1"/>
                    <a:pt x="266" y="51"/>
                    <a:pt x="266" y="51"/>
                  </a:cubicBezTo>
                  <a:cubicBezTo>
                    <a:pt x="267" y="51"/>
                    <a:pt x="267" y="51"/>
                    <a:pt x="267" y="51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7" y="52"/>
                    <a:pt x="267" y="52"/>
                    <a:pt x="267" y="52"/>
                  </a:cubicBezTo>
                  <a:cubicBezTo>
                    <a:pt x="267" y="53"/>
                    <a:pt x="267" y="53"/>
                    <a:pt x="267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7" y="53"/>
                    <a:pt x="267" y="53"/>
                    <a:pt x="267" y="53"/>
                  </a:cubicBezTo>
                  <a:cubicBezTo>
                    <a:pt x="267" y="54"/>
                    <a:pt x="267" y="54"/>
                    <a:pt x="267" y="54"/>
                  </a:cubicBezTo>
                  <a:cubicBezTo>
                    <a:pt x="267" y="54"/>
                    <a:pt x="267" y="54"/>
                    <a:pt x="267" y="54"/>
                  </a:cubicBezTo>
                  <a:cubicBezTo>
                    <a:pt x="268" y="54"/>
                    <a:pt x="268" y="54"/>
                    <a:pt x="268" y="54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70" y="54"/>
                    <a:pt x="270" y="54"/>
                    <a:pt x="270" y="54"/>
                  </a:cubicBezTo>
                  <a:cubicBezTo>
                    <a:pt x="271" y="54"/>
                    <a:pt x="271" y="54"/>
                    <a:pt x="271" y="54"/>
                  </a:cubicBezTo>
                  <a:cubicBezTo>
                    <a:pt x="271" y="55"/>
                    <a:pt x="271" y="55"/>
                    <a:pt x="271" y="55"/>
                  </a:cubicBezTo>
                  <a:cubicBezTo>
                    <a:pt x="271" y="55"/>
                    <a:pt x="271" y="55"/>
                    <a:pt x="271" y="55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2" y="56"/>
                    <a:pt x="272" y="56"/>
                    <a:pt x="272" y="56"/>
                  </a:cubicBezTo>
                  <a:cubicBezTo>
                    <a:pt x="272" y="57"/>
                    <a:pt x="272" y="57"/>
                    <a:pt x="272" y="57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9"/>
                    <a:pt x="272" y="59"/>
                    <a:pt x="272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2" y="59"/>
                    <a:pt x="272" y="59"/>
                    <a:pt x="272" y="59"/>
                  </a:cubicBezTo>
                  <a:cubicBezTo>
                    <a:pt x="271" y="59"/>
                    <a:pt x="271" y="59"/>
                    <a:pt x="271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8" y="59"/>
                    <a:pt x="268" y="59"/>
                    <a:pt x="268" y="59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7" y="60"/>
                    <a:pt x="267" y="60"/>
                    <a:pt x="267" y="60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4" y="65"/>
                    <a:pt x="264" y="65"/>
                    <a:pt x="264" y="65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1"/>
                    <a:pt x="264" y="71"/>
                    <a:pt x="264" y="71"/>
                  </a:cubicBezTo>
                  <a:cubicBezTo>
                    <a:pt x="263" y="72"/>
                    <a:pt x="263" y="72"/>
                    <a:pt x="263" y="72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4" y="73"/>
                    <a:pt x="264" y="73"/>
                    <a:pt x="264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4" y="74"/>
                    <a:pt x="264" y="74"/>
                    <a:pt x="264" y="74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3" y="75"/>
                    <a:pt x="263" y="75"/>
                    <a:pt x="263" y="75"/>
                  </a:cubicBezTo>
                  <a:cubicBezTo>
                    <a:pt x="263" y="74"/>
                    <a:pt x="263" y="74"/>
                    <a:pt x="263" y="74"/>
                  </a:cubicBezTo>
                  <a:cubicBezTo>
                    <a:pt x="263" y="74"/>
                    <a:pt x="263" y="74"/>
                    <a:pt x="263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1" y="74"/>
                    <a:pt x="261" y="74"/>
                    <a:pt x="261" y="74"/>
                  </a:cubicBezTo>
                  <a:cubicBezTo>
                    <a:pt x="261" y="73"/>
                    <a:pt x="261" y="73"/>
                    <a:pt x="261" y="73"/>
                  </a:cubicBezTo>
                  <a:cubicBezTo>
                    <a:pt x="260" y="73"/>
                    <a:pt x="260" y="73"/>
                    <a:pt x="260" y="73"/>
                  </a:cubicBezTo>
                  <a:cubicBezTo>
                    <a:pt x="260" y="72"/>
                    <a:pt x="260" y="72"/>
                    <a:pt x="260" y="72"/>
                  </a:cubicBezTo>
                  <a:cubicBezTo>
                    <a:pt x="259" y="73"/>
                    <a:pt x="259" y="73"/>
                    <a:pt x="259" y="73"/>
                  </a:cubicBezTo>
                  <a:cubicBezTo>
                    <a:pt x="259" y="73"/>
                    <a:pt x="259" y="73"/>
                    <a:pt x="259" y="73"/>
                  </a:cubicBezTo>
                  <a:cubicBezTo>
                    <a:pt x="258" y="73"/>
                    <a:pt x="258" y="73"/>
                    <a:pt x="258" y="73"/>
                  </a:cubicBezTo>
                  <a:cubicBezTo>
                    <a:pt x="258" y="73"/>
                    <a:pt x="258" y="73"/>
                    <a:pt x="258" y="73"/>
                  </a:cubicBezTo>
                  <a:cubicBezTo>
                    <a:pt x="257" y="73"/>
                    <a:pt x="257" y="73"/>
                    <a:pt x="257" y="73"/>
                  </a:cubicBezTo>
                  <a:cubicBezTo>
                    <a:pt x="257" y="74"/>
                    <a:pt x="257" y="74"/>
                    <a:pt x="257" y="74"/>
                  </a:cubicBezTo>
                  <a:cubicBezTo>
                    <a:pt x="257" y="74"/>
                    <a:pt x="257" y="74"/>
                    <a:pt x="25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7" y="75"/>
                    <a:pt x="257" y="75"/>
                    <a:pt x="257" y="75"/>
                  </a:cubicBezTo>
                  <a:cubicBezTo>
                    <a:pt x="256" y="75"/>
                    <a:pt x="256" y="75"/>
                    <a:pt x="256" y="75"/>
                  </a:cubicBezTo>
                  <a:cubicBezTo>
                    <a:pt x="257" y="76"/>
                    <a:pt x="257" y="76"/>
                    <a:pt x="257" y="76"/>
                  </a:cubicBezTo>
                  <a:cubicBezTo>
                    <a:pt x="256" y="76"/>
                    <a:pt x="256" y="76"/>
                    <a:pt x="256" y="76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5" y="76"/>
                    <a:pt x="255" y="76"/>
                    <a:pt x="255" y="76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4" y="76"/>
                    <a:pt x="254" y="76"/>
                    <a:pt x="254" y="76"/>
                  </a:cubicBezTo>
                  <a:cubicBezTo>
                    <a:pt x="254" y="76"/>
                    <a:pt x="254" y="76"/>
                    <a:pt x="254" y="76"/>
                  </a:cubicBezTo>
                  <a:cubicBezTo>
                    <a:pt x="254" y="77"/>
                    <a:pt x="254" y="77"/>
                    <a:pt x="254" y="77"/>
                  </a:cubicBezTo>
                  <a:cubicBezTo>
                    <a:pt x="254" y="77"/>
                    <a:pt x="254" y="77"/>
                    <a:pt x="254" y="77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2" y="77"/>
                    <a:pt x="252" y="77"/>
                    <a:pt x="252" y="77"/>
                  </a:cubicBezTo>
                  <a:cubicBezTo>
                    <a:pt x="252" y="78"/>
                    <a:pt x="252" y="78"/>
                    <a:pt x="252" y="78"/>
                  </a:cubicBezTo>
                  <a:cubicBezTo>
                    <a:pt x="252" y="77"/>
                    <a:pt x="252" y="77"/>
                    <a:pt x="252" y="77"/>
                  </a:cubicBezTo>
                  <a:cubicBezTo>
                    <a:pt x="251" y="77"/>
                    <a:pt x="251" y="77"/>
                    <a:pt x="251" y="77"/>
                  </a:cubicBezTo>
                  <a:cubicBezTo>
                    <a:pt x="251" y="78"/>
                    <a:pt x="251" y="78"/>
                    <a:pt x="251" y="78"/>
                  </a:cubicBezTo>
                  <a:cubicBezTo>
                    <a:pt x="252" y="78"/>
                    <a:pt x="252" y="78"/>
                    <a:pt x="252" y="78"/>
                  </a:cubicBezTo>
                  <a:cubicBezTo>
                    <a:pt x="251" y="78"/>
                    <a:pt x="251" y="78"/>
                    <a:pt x="251" y="78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2" y="79"/>
                    <a:pt x="252" y="79"/>
                    <a:pt x="252" y="7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3" y="81"/>
                    <a:pt x="253" y="81"/>
                    <a:pt x="253" y="81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3" y="83"/>
                    <a:pt x="253" y="83"/>
                    <a:pt x="253" y="83"/>
                  </a:cubicBezTo>
                  <a:cubicBezTo>
                    <a:pt x="253" y="83"/>
                    <a:pt x="253" y="83"/>
                    <a:pt x="253" y="83"/>
                  </a:cubicBezTo>
                  <a:cubicBezTo>
                    <a:pt x="253" y="84"/>
                    <a:pt x="253" y="84"/>
                    <a:pt x="253" y="84"/>
                  </a:cubicBezTo>
                  <a:cubicBezTo>
                    <a:pt x="252" y="84"/>
                    <a:pt x="252" y="84"/>
                    <a:pt x="252" y="84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2" y="85"/>
                    <a:pt x="252" y="85"/>
                    <a:pt x="252" y="85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3" y="86"/>
                    <a:pt x="253" y="86"/>
                    <a:pt x="253" y="86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4" y="88"/>
                    <a:pt x="254" y="88"/>
                    <a:pt x="254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5" y="87"/>
                    <a:pt x="255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8"/>
                    <a:pt x="256" y="88"/>
                    <a:pt x="256" y="88"/>
                  </a:cubicBezTo>
                  <a:cubicBezTo>
                    <a:pt x="256" y="88"/>
                    <a:pt x="256" y="88"/>
                    <a:pt x="256" y="88"/>
                  </a:cubicBezTo>
                  <a:cubicBezTo>
                    <a:pt x="257" y="88"/>
                    <a:pt x="257" y="88"/>
                    <a:pt x="257" y="88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90"/>
                    <a:pt x="256" y="90"/>
                    <a:pt x="256" y="90"/>
                  </a:cubicBezTo>
                  <a:cubicBezTo>
                    <a:pt x="256" y="90"/>
                    <a:pt x="256" y="90"/>
                    <a:pt x="256" y="90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2"/>
                    <a:pt x="258" y="92"/>
                    <a:pt x="258" y="92"/>
                  </a:cubicBezTo>
                  <a:cubicBezTo>
                    <a:pt x="259" y="93"/>
                    <a:pt x="259" y="93"/>
                    <a:pt x="259" y="93"/>
                  </a:cubicBezTo>
                  <a:cubicBezTo>
                    <a:pt x="260" y="94"/>
                    <a:pt x="260" y="94"/>
                    <a:pt x="260" y="94"/>
                  </a:cubicBezTo>
                  <a:cubicBezTo>
                    <a:pt x="259" y="94"/>
                    <a:pt x="259" y="94"/>
                    <a:pt x="259" y="94"/>
                  </a:cubicBezTo>
                  <a:cubicBezTo>
                    <a:pt x="259" y="95"/>
                    <a:pt x="259" y="95"/>
                    <a:pt x="259" y="95"/>
                  </a:cubicBezTo>
                  <a:cubicBezTo>
                    <a:pt x="259" y="95"/>
                    <a:pt x="259" y="95"/>
                    <a:pt x="259" y="95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2"/>
                    <a:pt x="258" y="92"/>
                    <a:pt x="258" y="92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7" y="94"/>
                    <a:pt x="257" y="94"/>
                    <a:pt x="257" y="94"/>
                  </a:cubicBezTo>
                  <a:cubicBezTo>
                    <a:pt x="257" y="94"/>
                    <a:pt x="257" y="94"/>
                    <a:pt x="257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7" y="95"/>
                    <a:pt x="257" y="95"/>
                    <a:pt x="257" y="95"/>
                  </a:cubicBezTo>
                  <a:cubicBezTo>
                    <a:pt x="257" y="95"/>
                    <a:pt x="257" y="95"/>
                    <a:pt x="257" y="95"/>
                  </a:cubicBezTo>
                  <a:cubicBezTo>
                    <a:pt x="257" y="96"/>
                    <a:pt x="257" y="96"/>
                    <a:pt x="257" y="96"/>
                  </a:cubicBezTo>
                  <a:cubicBezTo>
                    <a:pt x="257" y="97"/>
                    <a:pt x="257" y="97"/>
                    <a:pt x="257" y="97"/>
                  </a:cubicBezTo>
                  <a:cubicBezTo>
                    <a:pt x="258" y="97"/>
                    <a:pt x="258" y="97"/>
                    <a:pt x="258" y="97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59" y="99"/>
                    <a:pt x="259" y="99"/>
                    <a:pt x="259" y="99"/>
                  </a:cubicBezTo>
                  <a:cubicBezTo>
                    <a:pt x="259" y="99"/>
                    <a:pt x="259" y="99"/>
                    <a:pt x="259" y="99"/>
                  </a:cubicBezTo>
                  <a:cubicBezTo>
                    <a:pt x="260" y="100"/>
                    <a:pt x="260" y="100"/>
                    <a:pt x="260" y="100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59" y="102"/>
                    <a:pt x="259" y="102"/>
                    <a:pt x="259" y="102"/>
                  </a:cubicBezTo>
                  <a:cubicBezTo>
                    <a:pt x="259" y="102"/>
                    <a:pt x="259" y="102"/>
                    <a:pt x="259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7" y="103"/>
                    <a:pt x="257" y="103"/>
                    <a:pt x="257" y="103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5"/>
                    <a:pt x="257" y="105"/>
                    <a:pt x="257" y="105"/>
                  </a:cubicBezTo>
                  <a:cubicBezTo>
                    <a:pt x="258" y="106"/>
                    <a:pt x="258" y="106"/>
                    <a:pt x="258" y="106"/>
                  </a:cubicBezTo>
                  <a:cubicBezTo>
                    <a:pt x="258" y="107"/>
                    <a:pt x="258" y="107"/>
                    <a:pt x="258" y="107"/>
                  </a:cubicBezTo>
                  <a:cubicBezTo>
                    <a:pt x="258" y="107"/>
                    <a:pt x="258" y="107"/>
                    <a:pt x="258" y="107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7" y="108"/>
                    <a:pt x="257" y="108"/>
                    <a:pt x="257" y="108"/>
                  </a:cubicBezTo>
                  <a:cubicBezTo>
                    <a:pt x="257" y="109"/>
                    <a:pt x="257" y="109"/>
                    <a:pt x="257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7" y="109"/>
                    <a:pt x="257" y="109"/>
                    <a:pt x="257" y="109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7" y="112"/>
                    <a:pt x="257" y="112"/>
                    <a:pt x="257" y="112"/>
                  </a:cubicBezTo>
                  <a:cubicBezTo>
                    <a:pt x="257" y="113"/>
                    <a:pt x="257" y="113"/>
                    <a:pt x="257" y="113"/>
                  </a:cubicBezTo>
                  <a:cubicBezTo>
                    <a:pt x="258" y="113"/>
                    <a:pt x="258" y="113"/>
                    <a:pt x="258" y="113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257" y="116"/>
                    <a:pt x="257" y="116"/>
                    <a:pt x="257" y="116"/>
                  </a:cubicBezTo>
                  <a:cubicBezTo>
                    <a:pt x="257" y="116"/>
                    <a:pt x="257" y="116"/>
                    <a:pt x="257" y="116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6"/>
                    <a:pt x="256" y="116"/>
                    <a:pt x="256" y="116"/>
                  </a:cubicBezTo>
                  <a:cubicBezTo>
                    <a:pt x="256" y="116"/>
                    <a:pt x="256" y="116"/>
                    <a:pt x="256" y="116"/>
                  </a:cubicBezTo>
                  <a:cubicBezTo>
                    <a:pt x="255" y="116"/>
                    <a:pt x="255" y="116"/>
                    <a:pt x="255" y="116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4" y="112"/>
                    <a:pt x="254" y="112"/>
                    <a:pt x="254" y="112"/>
                  </a:cubicBezTo>
                  <a:cubicBezTo>
                    <a:pt x="254" y="112"/>
                    <a:pt x="254" y="112"/>
                    <a:pt x="254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1" y="108"/>
                    <a:pt x="251" y="108"/>
                    <a:pt x="251" y="108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49" y="106"/>
                    <a:pt x="249" y="106"/>
                    <a:pt x="249" y="106"/>
                  </a:cubicBezTo>
                  <a:cubicBezTo>
                    <a:pt x="249" y="105"/>
                    <a:pt x="249" y="105"/>
                    <a:pt x="249" y="105"/>
                  </a:cubicBezTo>
                  <a:cubicBezTo>
                    <a:pt x="247" y="104"/>
                    <a:pt x="247" y="104"/>
                    <a:pt x="247" y="104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5" y="99"/>
                    <a:pt x="245" y="99"/>
                    <a:pt x="245" y="99"/>
                  </a:cubicBezTo>
                  <a:cubicBezTo>
                    <a:pt x="245" y="99"/>
                    <a:pt x="245" y="99"/>
                    <a:pt x="245" y="99"/>
                  </a:cubicBezTo>
                  <a:cubicBezTo>
                    <a:pt x="245" y="98"/>
                    <a:pt x="245" y="98"/>
                    <a:pt x="245" y="98"/>
                  </a:cubicBezTo>
                  <a:cubicBezTo>
                    <a:pt x="245" y="96"/>
                    <a:pt x="245" y="96"/>
                    <a:pt x="245" y="96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5" y="94"/>
                    <a:pt x="245" y="94"/>
                    <a:pt x="245" y="94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2"/>
                    <a:pt x="245" y="92"/>
                    <a:pt x="245" y="92"/>
                  </a:cubicBezTo>
                  <a:cubicBezTo>
                    <a:pt x="244" y="91"/>
                    <a:pt x="244" y="91"/>
                    <a:pt x="244" y="91"/>
                  </a:cubicBezTo>
                  <a:cubicBezTo>
                    <a:pt x="244" y="91"/>
                    <a:pt x="244" y="91"/>
                    <a:pt x="244" y="91"/>
                  </a:cubicBezTo>
                  <a:cubicBezTo>
                    <a:pt x="244" y="90"/>
                    <a:pt x="244" y="90"/>
                    <a:pt x="244" y="90"/>
                  </a:cubicBezTo>
                  <a:cubicBezTo>
                    <a:pt x="244" y="90"/>
                    <a:pt x="244" y="90"/>
                    <a:pt x="244" y="90"/>
                  </a:cubicBezTo>
                  <a:cubicBezTo>
                    <a:pt x="245" y="90"/>
                    <a:pt x="245" y="90"/>
                    <a:pt x="245" y="90"/>
                  </a:cubicBezTo>
                  <a:cubicBezTo>
                    <a:pt x="246" y="90"/>
                    <a:pt x="246" y="90"/>
                    <a:pt x="246" y="90"/>
                  </a:cubicBezTo>
                  <a:cubicBezTo>
                    <a:pt x="245" y="89"/>
                    <a:pt x="245" y="89"/>
                    <a:pt x="245" y="89"/>
                  </a:cubicBezTo>
                  <a:cubicBezTo>
                    <a:pt x="245" y="89"/>
                    <a:pt x="245" y="89"/>
                    <a:pt x="245" y="89"/>
                  </a:cubicBezTo>
                  <a:cubicBezTo>
                    <a:pt x="246" y="89"/>
                    <a:pt x="246" y="89"/>
                    <a:pt x="246" y="89"/>
                  </a:cubicBezTo>
                  <a:cubicBezTo>
                    <a:pt x="247" y="89"/>
                    <a:pt x="247" y="89"/>
                    <a:pt x="247" y="89"/>
                  </a:cubicBezTo>
                  <a:cubicBezTo>
                    <a:pt x="246" y="88"/>
                    <a:pt x="246" y="88"/>
                    <a:pt x="246" y="88"/>
                  </a:cubicBezTo>
                  <a:cubicBezTo>
                    <a:pt x="247" y="87"/>
                    <a:pt x="247" y="87"/>
                    <a:pt x="247" y="87"/>
                  </a:cubicBezTo>
                  <a:cubicBezTo>
                    <a:pt x="247" y="86"/>
                    <a:pt x="247" y="86"/>
                    <a:pt x="247" y="86"/>
                  </a:cubicBezTo>
                  <a:cubicBezTo>
                    <a:pt x="247" y="85"/>
                    <a:pt x="247" y="85"/>
                    <a:pt x="247" y="85"/>
                  </a:cubicBezTo>
                  <a:cubicBezTo>
                    <a:pt x="246" y="85"/>
                    <a:pt x="246" y="85"/>
                    <a:pt x="246" y="85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79"/>
                    <a:pt x="247" y="79"/>
                    <a:pt x="247" y="79"/>
                  </a:cubicBezTo>
                  <a:cubicBezTo>
                    <a:pt x="247" y="79"/>
                    <a:pt x="247" y="79"/>
                    <a:pt x="247" y="79"/>
                  </a:cubicBezTo>
                  <a:cubicBezTo>
                    <a:pt x="247" y="78"/>
                    <a:pt x="247" y="78"/>
                    <a:pt x="247" y="78"/>
                  </a:cubicBezTo>
                  <a:cubicBezTo>
                    <a:pt x="247" y="78"/>
                    <a:pt x="247" y="78"/>
                    <a:pt x="247" y="78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8" y="75"/>
                    <a:pt x="248" y="75"/>
                    <a:pt x="248" y="75"/>
                  </a:cubicBezTo>
                  <a:cubicBezTo>
                    <a:pt x="248" y="75"/>
                    <a:pt x="248" y="75"/>
                    <a:pt x="248" y="75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50" y="74"/>
                    <a:pt x="250" y="74"/>
                    <a:pt x="250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8" y="74"/>
                    <a:pt x="248" y="74"/>
                    <a:pt x="248" y="74"/>
                  </a:cubicBezTo>
                  <a:cubicBezTo>
                    <a:pt x="248" y="73"/>
                    <a:pt x="248" y="73"/>
                    <a:pt x="248" y="73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2"/>
                    <a:pt x="248" y="72"/>
                    <a:pt x="248" y="72"/>
                  </a:cubicBezTo>
                  <a:cubicBezTo>
                    <a:pt x="248" y="72"/>
                    <a:pt x="248" y="72"/>
                    <a:pt x="248" y="72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45" y="65"/>
                    <a:pt x="245" y="65"/>
                    <a:pt x="245" y="65"/>
                  </a:cubicBezTo>
                  <a:cubicBezTo>
                    <a:pt x="245" y="66"/>
                    <a:pt x="245" y="66"/>
                    <a:pt x="245" y="66"/>
                  </a:cubicBezTo>
                  <a:cubicBezTo>
                    <a:pt x="245" y="66"/>
                    <a:pt x="245" y="66"/>
                    <a:pt x="245" y="66"/>
                  </a:cubicBezTo>
                  <a:cubicBezTo>
                    <a:pt x="244" y="66"/>
                    <a:pt x="244" y="66"/>
                    <a:pt x="244" y="66"/>
                  </a:cubicBezTo>
                  <a:cubicBezTo>
                    <a:pt x="244" y="66"/>
                    <a:pt x="244" y="66"/>
                    <a:pt x="244" y="66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8"/>
                    <a:pt x="245" y="68"/>
                    <a:pt x="245" y="68"/>
                  </a:cubicBezTo>
                  <a:cubicBezTo>
                    <a:pt x="245" y="68"/>
                    <a:pt x="245" y="68"/>
                    <a:pt x="245" y="68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245" y="74"/>
                    <a:pt x="245" y="74"/>
                    <a:pt x="245" y="74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3" y="76"/>
                    <a:pt x="243" y="76"/>
                    <a:pt x="243" y="76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1" y="75"/>
                    <a:pt x="241" y="75"/>
                    <a:pt x="241" y="75"/>
                  </a:cubicBezTo>
                  <a:cubicBezTo>
                    <a:pt x="241" y="74"/>
                    <a:pt x="241" y="74"/>
                    <a:pt x="241" y="74"/>
                  </a:cubicBezTo>
                  <a:cubicBezTo>
                    <a:pt x="241" y="74"/>
                    <a:pt x="241" y="74"/>
                    <a:pt x="241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3"/>
                    <a:pt x="242" y="73"/>
                    <a:pt x="242" y="73"/>
                  </a:cubicBezTo>
                  <a:cubicBezTo>
                    <a:pt x="241" y="73"/>
                    <a:pt x="241" y="73"/>
                    <a:pt x="241" y="73"/>
                  </a:cubicBezTo>
                  <a:cubicBezTo>
                    <a:pt x="242" y="73"/>
                    <a:pt x="242" y="73"/>
                    <a:pt x="242" y="73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0" y="71"/>
                    <a:pt x="240" y="71"/>
                    <a:pt x="240" y="71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7" y="72"/>
                    <a:pt x="237" y="72"/>
                    <a:pt x="237" y="72"/>
                  </a:cubicBezTo>
                  <a:cubicBezTo>
                    <a:pt x="237" y="73"/>
                    <a:pt x="237" y="73"/>
                    <a:pt x="237" y="73"/>
                  </a:cubicBezTo>
                  <a:cubicBezTo>
                    <a:pt x="237" y="73"/>
                    <a:pt x="237" y="73"/>
                    <a:pt x="237" y="73"/>
                  </a:cubicBezTo>
                  <a:cubicBezTo>
                    <a:pt x="236" y="73"/>
                    <a:pt x="236" y="73"/>
                    <a:pt x="236" y="73"/>
                  </a:cubicBezTo>
                  <a:cubicBezTo>
                    <a:pt x="236" y="73"/>
                    <a:pt x="236" y="73"/>
                    <a:pt x="236" y="73"/>
                  </a:cubicBezTo>
                  <a:cubicBezTo>
                    <a:pt x="235" y="73"/>
                    <a:pt x="235" y="73"/>
                    <a:pt x="235" y="73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6" y="76"/>
                    <a:pt x="236" y="76"/>
                    <a:pt x="236" y="76"/>
                  </a:cubicBezTo>
                  <a:cubicBezTo>
                    <a:pt x="235" y="76"/>
                    <a:pt x="235" y="76"/>
                    <a:pt x="235" y="76"/>
                  </a:cubicBezTo>
                  <a:cubicBezTo>
                    <a:pt x="235" y="78"/>
                    <a:pt x="235" y="78"/>
                    <a:pt x="235" y="78"/>
                  </a:cubicBezTo>
                  <a:cubicBezTo>
                    <a:pt x="236" y="78"/>
                    <a:pt x="236" y="78"/>
                    <a:pt x="236" y="78"/>
                  </a:cubicBezTo>
                  <a:cubicBezTo>
                    <a:pt x="235" y="78"/>
                    <a:pt x="235" y="78"/>
                    <a:pt x="235" y="78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80"/>
                    <a:pt x="235" y="80"/>
                    <a:pt x="235" y="80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4" y="81"/>
                    <a:pt x="234" y="81"/>
                    <a:pt x="234" y="81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5" y="82"/>
                    <a:pt x="235" y="82"/>
                    <a:pt x="235" y="82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5" y="83"/>
                    <a:pt x="235" y="83"/>
                    <a:pt x="235" y="83"/>
                  </a:cubicBezTo>
                  <a:cubicBezTo>
                    <a:pt x="235" y="83"/>
                    <a:pt x="235" y="83"/>
                    <a:pt x="235" y="83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6"/>
                    <a:pt x="236" y="86"/>
                    <a:pt x="236" y="86"/>
                  </a:cubicBezTo>
                  <a:cubicBezTo>
                    <a:pt x="235" y="86"/>
                    <a:pt x="235" y="86"/>
                    <a:pt x="235" y="86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7"/>
                    <a:pt x="234" y="87"/>
                    <a:pt x="234" y="87"/>
                  </a:cubicBezTo>
                  <a:cubicBezTo>
                    <a:pt x="234" y="87"/>
                    <a:pt x="234" y="87"/>
                    <a:pt x="234" y="87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1" y="88"/>
                    <a:pt x="231" y="88"/>
                    <a:pt x="231" y="88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6"/>
                    <a:pt x="231" y="86"/>
                    <a:pt x="231" y="86"/>
                  </a:cubicBezTo>
                  <a:cubicBezTo>
                    <a:pt x="231" y="86"/>
                    <a:pt x="231" y="86"/>
                    <a:pt x="231" y="86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85"/>
                    <a:pt x="232" y="85"/>
                    <a:pt x="232" y="85"/>
                  </a:cubicBezTo>
                  <a:cubicBezTo>
                    <a:pt x="232" y="85"/>
                    <a:pt x="232" y="85"/>
                    <a:pt x="232" y="85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0" y="85"/>
                    <a:pt x="230" y="85"/>
                    <a:pt x="230" y="85"/>
                  </a:cubicBezTo>
                  <a:cubicBezTo>
                    <a:pt x="230" y="85"/>
                    <a:pt x="230" y="85"/>
                    <a:pt x="230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8" y="85"/>
                    <a:pt x="228" y="85"/>
                    <a:pt x="228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25" y="85"/>
                    <a:pt x="225" y="85"/>
                    <a:pt x="225" y="85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6" y="86"/>
                    <a:pt x="226" y="86"/>
                    <a:pt x="226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6" y="86"/>
                    <a:pt x="226" y="86"/>
                    <a:pt x="226" y="86"/>
                  </a:cubicBezTo>
                  <a:cubicBezTo>
                    <a:pt x="226" y="87"/>
                    <a:pt x="226" y="87"/>
                    <a:pt x="226" y="87"/>
                  </a:cubicBezTo>
                  <a:cubicBezTo>
                    <a:pt x="226" y="87"/>
                    <a:pt x="226" y="87"/>
                    <a:pt x="226" y="87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223" y="87"/>
                    <a:pt x="223" y="87"/>
                    <a:pt x="223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1" y="87"/>
                    <a:pt x="221" y="87"/>
                    <a:pt x="221" y="87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0" y="89"/>
                    <a:pt x="220" y="89"/>
                    <a:pt x="220" y="89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89"/>
                    <a:pt x="217" y="89"/>
                    <a:pt x="217" y="89"/>
                  </a:cubicBezTo>
                  <a:cubicBezTo>
                    <a:pt x="217" y="89"/>
                    <a:pt x="217" y="89"/>
                    <a:pt x="217" y="89"/>
                  </a:cubicBezTo>
                  <a:cubicBezTo>
                    <a:pt x="216" y="89"/>
                    <a:pt x="216" y="89"/>
                    <a:pt x="216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214" y="91"/>
                    <a:pt x="214" y="91"/>
                    <a:pt x="214" y="91"/>
                  </a:cubicBezTo>
                  <a:cubicBezTo>
                    <a:pt x="214" y="91"/>
                    <a:pt x="214" y="91"/>
                    <a:pt x="214" y="91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4" y="92"/>
                    <a:pt x="214" y="92"/>
                    <a:pt x="214" y="92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213" y="94"/>
                    <a:pt x="213" y="94"/>
                    <a:pt x="213" y="94"/>
                  </a:cubicBezTo>
                  <a:cubicBezTo>
                    <a:pt x="213" y="94"/>
                    <a:pt x="213" y="94"/>
                    <a:pt x="213" y="94"/>
                  </a:cubicBezTo>
                  <a:cubicBezTo>
                    <a:pt x="213" y="95"/>
                    <a:pt x="213" y="95"/>
                    <a:pt x="213" y="9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8"/>
                    <a:pt x="213" y="98"/>
                    <a:pt x="213" y="98"/>
                  </a:cubicBezTo>
                  <a:cubicBezTo>
                    <a:pt x="212" y="98"/>
                    <a:pt x="212" y="98"/>
                    <a:pt x="212" y="98"/>
                  </a:cubicBezTo>
                  <a:cubicBezTo>
                    <a:pt x="212" y="99"/>
                    <a:pt x="212" y="99"/>
                    <a:pt x="212" y="99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1" y="101"/>
                    <a:pt x="211" y="101"/>
                    <a:pt x="211" y="101"/>
                  </a:cubicBezTo>
                  <a:cubicBezTo>
                    <a:pt x="211" y="101"/>
                    <a:pt x="211" y="101"/>
                    <a:pt x="211" y="101"/>
                  </a:cubicBezTo>
                  <a:cubicBezTo>
                    <a:pt x="211" y="102"/>
                    <a:pt x="211" y="102"/>
                    <a:pt x="211" y="102"/>
                  </a:cubicBezTo>
                  <a:cubicBezTo>
                    <a:pt x="211" y="103"/>
                    <a:pt x="211" y="103"/>
                    <a:pt x="211" y="103"/>
                  </a:cubicBezTo>
                  <a:cubicBezTo>
                    <a:pt x="211" y="103"/>
                    <a:pt x="211" y="103"/>
                    <a:pt x="211" y="103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6"/>
                    <a:pt x="210" y="106"/>
                    <a:pt x="210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09" y="107"/>
                    <a:pt x="209" y="107"/>
                    <a:pt x="209" y="107"/>
                  </a:cubicBezTo>
                  <a:cubicBezTo>
                    <a:pt x="209" y="108"/>
                    <a:pt x="209" y="108"/>
                    <a:pt x="209" y="108"/>
                  </a:cubicBezTo>
                  <a:cubicBezTo>
                    <a:pt x="209" y="108"/>
                    <a:pt x="209" y="108"/>
                    <a:pt x="209" y="108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10"/>
                    <a:pt x="208" y="110"/>
                    <a:pt x="208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10" y="110"/>
                    <a:pt x="210" y="110"/>
                    <a:pt x="210" y="110"/>
                  </a:cubicBezTo>
                  <a:cubicBezTo>
                    <a:pt x="210" y="110"/>
                    <a:pt x="210" y="110"/>
                    <a:pt x="210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2" y="112"/>
                    <a:pt x="212" y="112"/>
                    <a:pt x="212" y="112"/>
                  </a:cubicBezTo>
                  <a:cubicBezTo>
                    <a:pt x="212" y="112"/>
                    <a:pt x="212" y="112"/>
                    <a:pt x="212" y="112"/>
                  </a:cubicBezTo>
                  <a:cubicBezTo>
                    <a:pt x="213" y="113"/>
                    <a:pt x="213" y="113"/>
                    <a:pt x="213" y="113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113"/>
                    <a:pt x="213" y="113"/>
                    <a:pt x="213" y="113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5" y="112"/>
                    <a:pt x="215" y="112"/>
                    <a:pt x="215" y="112"/>
                  </a:cubicBezTo>
                  <a:cubicBezTo>
                    <a:pt x="215" y="112"/>
                    <a:pt x="215" y="112"/>
                    <a:pt x="215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6" y="110"/>
                    <a:pt x="216" y="110"/>
                    <a:pt x="216" y="110"/>
                  </a:cubicBezTo>
                  <a:cubicBezTo>
                    <a:pt x="216" y="110"/>
                    <a:pt x="216" y="110"/>
                    <a:pt x="216" y="110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110"/>
                    <a:pt x="218" y="110"/>
                    <a:pt x="218" y="110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9" y="111"/>
                    <a:pt x="219" y="111"/>
                    <a:pt x="219" y="111"/>
                  </a:cubicBezTo>
                  <a:cubicBezTo>
                    <a:pt x="219" y="111"/>
                    <a:pt x="219" y="111"/>
                    <a:pt x="219" y="111"/>
                  </a:cubicBezTo>
                  <a:cubicBezTo>
                    <a:pt x="219" y="112"/>
                    <a:pt x="219" y="112"/>
                    <a:pt x="219" y="112"/>
                  </a:cubicBezTo>
                  <a:cubicBezTo>
                    <a:pt x="220" y="112"/>
                    <a:pt x="220" y="112"/>
                    <a:pt x="220" y="112"/>
                  </a:cubicBezTo>
                  <a:cubicBezTo>
                    <a:pt x="220" y="112"/>
                    <a:pt x="220" y="112"/>
                    <a:pt x="220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2" y="115"/>
                    <a:pt x="222" y="115"/>
                    <a:pt x="222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23" y="117"/>
                    <a:pt x="223" y="117"/>
                    <a:pt x="223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5" y="121"/>
                    <a:pt x="225" y="121"/>
                    <a:pt x="225" y="121"/>
                  </a:cubicBezTo>
                  <a:cubicBezTo>
                    <a:pt x="224" y="121"/>
                    <a:pt x="224" y="121"/>
                    <a:pt x="224" y="121"/>
                  </a:cubicBezTo>
                  <a:cubicBezTo>
                    <a:pt x="225" y="122"/>
                    <a:pt x="225" y="122"/>
                    <a:pt x="225" y="122"/>
                  </a:cubicBezTo>
                  <a:cubicBezTo>
                    <a:pt x="224" y="122"/>
                    <a:pt x="224" y="122"/>
                    <a:pt x="224" y="122"/>
                  </a:cubicBezTo>
                  <a:cubicBezTo>
                    <a:pt x="225" y="123"/>
                    <a:pt x="225" y="123"/>
                    <a:pt x="225" y="123"/>
                  </a:cubicBezTo>
                  <a:cubicBezTo>
                    <a:pt x="225" y="123"/>
                    <a:pt x="225" y="123"/>
                    <a:pt x="225" y="123"/>
                  </a:cubicBezTo>
                  <a:cubicBezTo>
                    <a:pt x="225" y="124"/>
                    <a:pt x="225" y="124"/>
                    <a:pt x="225" y="124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6" y="125"/>
                    <a:pt x="226" y="125"/>
                    <a:pt x="226" y="125"/>
                  </a:cubicBezTo>
                  <a:cubicBezTo>
                    <a:pt x="226" y="125"/>
                    <a:pt x="226" y="125"/>
                    <a:pt x="226" y="125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5" y="126"/>
                    <a:pt x="225" y="126"/>
                    <a:pt x="225" y="126"/>
                  </a:cubicBezTo>
                  <a:cubicBezTo>
                    <a:pt x="225" y="126"/>
                    <a:pt x="225" y="126"/>
                    <a:pt x="225" y="126"/>
                  </a:cubicBezTo>
                  <a:cubicBezTo>
                    <a:pt x="226" y="126"/>
                    <a:pt x="226" y="126"/>
                    <a:pt x="226" y="126"/>
                  </a:cubicBezTo>
                  <a:cubicBezTo>
                    <a:pt x="226" y="127"/>
                    <a:pt x="226" y="127"/>
                    <a:pt x="226" y="127"/>
                  </a:cubicBezTo>
                  <a:cubicBezTo>
                    <a:pt x="226" y="127"/>
                    <a:pt x="226" y="127"/>
                    <a:pt x="226" y="127"/>
                  </a:cubicBezTo>
                  <a:cubicBezTo>
                    <a:pt x="226" y="128"/>
                    <a:pt x="226" y="128"/>
                    <a:pt x="226" y="128"/>
                  </a:cubicBezTo>
                  <a:cubicBezTo>
                    <a:pt x="226" y="128"/>
                    <a:pt x="226" y="128"/>
                    <a:pt x="226" y="128"/>
                  </a:cubicBezTo>
                  <a:cubicBezTo>
                    <a:pt x="226" y="129"/>
                    <a:pt x="226" y="129"/>
                    <a:pt x="226" y="129"/>
                  </a:cubicBezTo>
                  <a:cubicBezTo>
                    <a:pt x="227" y="129"/>
                    <a:pt x="227" y="129"/>
                    <a:pt x="227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1"/>
                    <a:pt x="227" y="131"/>
                    <a:pt x="227" y="131"/>
                  </a:cubicBezTo>
                  <a:cubicBezTo>
                    <a:pt x="227" y="131"/>
                    <a:pt x="227" y="131"/>
                    <a:pt x="227" y="131"/>
                  </a:cubicBezTo>
                  <a:cubicBezTo>
                    <a:pt x="226" y="132"/>
                    <a:pt x="226" y="132"/>
                    <a:pt x="226" y="132"/>
                  </a:cubicBezTo>
                  <a:cubicBezTo>
                    <a:pt x="226" y="132"/>
                    <a:pt x="226" y="132"/>
                    <a:pt x="226" y="132"/>
                  </a:cubicBezTo>
                  <a:cubicBezTo>
                    <a:pt x="226" y="133"/>
                    <a:pt x="226" y="133"/>
                    <a:pt x="226" y="133"/>
                  </a:cubicBezTo>
                  <a:cubicBezTo>
                    <a:pt x="226" y="134"/>
                    <a:pt x="226" y="134"/>
                    <a:pt x="226" y="134"/>
                  </a:cubicBezTo>
                  <a:cubicBezTo>
                    <a:pt x="226" y="134"/>
                    <a:pt x="226" y="134"/>
                    <a:pt x="226" y="134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5" y="136"/>
                    <a:pt x="225" y="136"/>
                    <a:pt x="225" y="136"/>
                  </a:cubicBezTo>
                  <a:cubicBezTo>
                    <a:pt x="226" y="136"/>
                    <a:pt x="226" y="136"/>
                    <a:pt x="226" y="136"/>
                  </a:cubicBezTo>
                  <a:cubicBezTo>
                    <a:pt x="226" y="136"/>
                    <a:pt x="226" y="136"/>
                    <a:pt x="226" y="136"/>
                  </a:cubicBezTo>
                  <a:cubicBezTo>
                    <a:pt x="225" y="137"/>
                    <a:pt x="225" y="137"/>
                    <a:pt x="225" y="137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40"/>
                    <a:pt x="225" y="140"/>
                    <a:pt x="225" y="140"/>
                  </a:cubicBezTo>
                  <a:cubicBezTo>
                    <a:pt x="225" y="140"/>
                    <a:pt x="225" y="140"/>
                    <a:pt x="225" y="140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1" y="147"/>
                    <a:pt x="221" y="147"/>
                    <a:pt x="221" y="147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9"/>
                    <a:pt x="221" y="149"/>
                    <a:pt x="221" y="149"/>
                  </a:cubicBezTo>
                  <a:cubicBezTo>
                    <a:pt x="221" y="149"/>
                    <a:pt x="221" y="149"/>
                    <a:pt x="221" y="149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19" y="150"/>
                    <a:pt x="219" y="150"/>
                    <a:pt x="219" y="150"/>
                  </a:cubicBezTo>
                  <a:cubicBezTo>
                    <a:pt x="219" y="151"/>
                    <a:pt x="219" y="151"/>
                    <a:pt x="219" y="151"/>
                  </a:cubicBezTo>
                  <a:cubicBezTo>
                    <a:pt x="219" y="151"/>
                    <a:pt x="219" y="151"/>
                    <a:pt x="219" y="151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0"/>
                    <a:pt x="218" y="150"/>
                    <a:pt x="218" y="150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7" y="149"/>
                    <a:pt x="217" y="149"/>
                    <a:pt x="217" y="149"/>
                  </a:cubicBezTo>
                  <a:cubicBezTo>
                    <a:pt x="217" y="149"/>
                    <a:pt x="217" y="149"/>
                    <a:pt x="217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50"/>
                    <a:pt x="216" y="150"/>
                    <a:pt x="216" y="150"/>
                  </a:cubicBezTo>
                  <a:cubicBezTo>
                    <a:pt x="215" y="150"/>
                    <a:pt x="215" y="150"/>
                    <a:pt x="215" y="150"/>
                  </a:cubicBezTo>
                  <a:cubicBezTo>
                    <a:pt x="215" y="151"/>
                    <a:pt x="215" y="151"/>
                    <a:pt x="215" y="151"/>
                  </a:cubicBezTo>
                  <a:cubicBezTo>
                    <a:pt x="215" y="151"/>
                    <a:pt x="215" y="151"/>
                    <a:pt x="215" y="151"/>
                  </a:cubicBezTo>
                  <a:cubicBezTo>
                    <a:pt x="215" y="152"/>
                    <a:pt x="215" y="152"/>
                    <a:pt x="215" y="152"/>
                  </a:cubicBezTo>
                  <a:cubicBezTo>
                    <a:pt x="215" y="152"/>
                    <a:pt x="215" y="152"/>
                    <a:pt x="215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2"/>
                    <a:pt x="214" y="152"/>
                    <a:pt x="214" y="152"/>
                  </a:cubicBezTo>
                  <a:close/>
                  <a:moveTo>
                    <a:pt x="69" y="154"/>
                  </a:moveTo>
                  <a:cubicBezTo>
                    <a:pt x="69" y="153"/>
                    <a:pt x="69" y="153"/>
                    <a:pt x="69" y="153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9" y="154"/>
                    <a:pt x="69" y="154"/>
                    <a:pt x="69" y="154"/>
                  </a:cubicBezTo>
                  <a:close/>
                  <a:moveTo>
                    <a:pt x="245" y="145"/>
                  </a:moveTo>
                  <a:cubicBezTo>
                    <a:pt x="245" y="145"/>
                    <a:pt x="245" y="145"/>
                    <a:pt x="245" y="145"/>
                  </a:cubicBezTo>
                  <a:cubicBezTo>
                    <a:pt x="245" y="145"/>
                    <a:pt x="245" y="145"/>
                    <a:pt x="245" y="145"/>
                  </a:cubicBezTo>
                  <a:cubicBezTo>
                    <a:pt x="245" y="144"/>
                    <a:pt x="245" y="144"/>
                    <a:pt x="245" y="144"/>
                  </a:cubicBezTo>
                  <a:cubicBezTo>
                    <a:pt x="245" y="144"/>
                    <a:pt x="245" y="144"/>
                    <a:pt x="245" y="144"/>
                  </a:cubicBezTo>
                  <a:cubicBezTo>
                    <a:pt x="245" y="145"/>
                    <a:pt x="245" y="145"/>
                    <a:pt x="245" y="145"/>
                  </a:cubicBezTo>
                  <a:close/>
                  <a:moveTo>
                    <a:pt x="14" y="21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lose/>
                  <a:moveTo>
                    <a:pt x="17" y="15"/>
                  </a:move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lose/>
                  <a:moveTo>
                    <a:pt x="16" y="23"/>
                  </a:move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lose/>
                  <a:moveTo>
                    <a:pt x="19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19" y="23"/>
                  </a:move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5" y="9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9"/>
                    <a:pt x="25" y="9"/>
                  </a:cubicBezTo>
                  <a:close/>
                  <a:moveTo>
                    <a:pt x="25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lose/>
                  <a:moveTo>
                    <a:pt x="25" y="11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lose/>
                  <a:moveTo>
                    <a:pt x="26" y="11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lose/>
                  <a:moveTo>
                    <a:pt x="25" y="13"/>
                  </a:move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5" y="13"/>
                    <a:pt x="25" y="13"/>
                  </a:cubicBezTo>
                  <a:close/>
                  <a:moveTo>
                    <a:pt x="26" y="13"/>
                  </a:move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lose/>
                  <a:moveTo>
                    <a:pt x="27" y="14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lose/>
                  <a:moveTo>
                    <a:pt x="26" y="15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lose/>
                  <a:moveTo>
                    <a:pt x="27" y="16"/>
                  </a:move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lose/>
                  <a:moveTo>
                    <a:pt x="24" y="17"/>
                  </a:moveTo>
                  <a:cubicBezTo>
                    <a:pt x="24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4" y="17"/>
                    <a:pt x="24" y="17"/>
                    <a:pt x="24" y="17"/>
                  </a:cubicBezTo>
                  <a:close/>
                  <a:moveTo>
                    <a:pt x="23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lose/>
                  <a:moveTo>
                    <a:pt x="23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lose/>
                  <a:moveTo>
                    <a:pt x="24" y="18"/>
                  </a:moveTo>
                  <a:cubicBezTo>
                    <a:pt x="24" y="18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24" y="20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20"/>
                    <a:pt x="24" y="20"/>
                    <a:pt x="24" y="20"/>
                  </a:cubicBezTo>
                  <a:close/>
                  <a:moveTo>
                    <a:pt x="23" y="21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lose/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25" y="20"/>
                  </a:move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lose/>
                  <a:moveTo>
                    <a:pt x="25" y="19"/>
                  </a:move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25" y="19"/>
                  </a:moveTo>
                  <a:cubicBezTo>
                    <a:pt x="25" y="19"/>
                    <a:pt x="25" y="19"/>
                    <a:pt x="25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25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28" y="21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21"/>
                    <a:pt x="28" y="21"/>
                  </a:cubicBezTo>
                  <a:close/>
                  <a:moveTo>
                    <a:pt x="29" y="20"/>
                  </a:move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lose/>
                  <a:moveTo>
                    <a:pt x="30" y="20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0" y="21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0" y="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lose/>
                  <a:moveTo>
                    <a:pt x="31" y="14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2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4" y="14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lose/>
                  <a:moveTo>
                    <a:pt x="214" y="26"/>
                  </a:moveTo>
                  <a:cubicBezTo>
                    <a:pt x="214" y="26"/>
                    <a:pt x="214" y="26"/>
                    <a:pt x="214" y="26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6"/>
                    <a:pt x="214" y="26"/>
                    <a:pt x="214" y="26"/>
                  </a:cubicBezTo>
                  <a:close/>
                  <a:moveTo>
                    <a:pt x="212" y="25"/>
                  </a:move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lose/>
                  <a:moveTo>
                    <a:pt x="211" y="26"/>
                  </a:moveTo>
                  <a:cubicBezTo>
                    <a:pt x="211" y="26"/>
                    <a:pt x="211" y="26"/>
                    <a:pt x="211" y="26"/>
                  </a:cubicBezTo>
                  <a:cubicBezTo>
                    <a:pt x="211" y="26"/>
                    <a:pt x="211" y="26"/>
                    <a:pt x="211" y="26"/>
                  </a:cubicBezTo>
                  <a:cubicBezTo>
                    <a:pt x="211" y="25"/>
                    <a:pt x="211" y="25"/>
                    <a:pt x="211" y="25"/>
                  </a:cubicBezTo>
                  <a:cubicBezTo>
                    <a:pt x="210" y="25"/>
                    <a:pt x="210" y="25"/>
                    <a:pt x="210" y="25"/>
                  </a:cubicBezTo>
                  <a:cubicBezTo>
                    <a:pt x="210" y="26"/>
                    <a:pt x="210" y="26"/>
                    <a:pt x="210" y="26"/>
                  </a:cubicBezTo>
                  <a:cubicBezTo>
                    <a:pt x="211" y="26"/>
                    <a:pt x="211" y="26"/>
                    <a:pt x="211" y="26"/>
                  </a:cubicBezTo>
                  <a:close/>
                  <a:moveTo>
                    <a:pt x="247" y="70"/>
                  </a:moveTo>
                  <a:cubicBezTo>
                    <a:pt x="247" y="70"/>
                    <a:pt x="247" y="70"/>
                    <a:pt x="247" y="70"/>
                  </a:cubicBezTo>
                  <a:cubicBezTo>
                    <a:pt x="247" y="71"/>
                    <a:pt x="247" y="71"/>
                    <a:pt x="247" y="71"/>
                  </a:cubicBezTo>
                  <a:cubicBezTo>
                    <a:pt x="247" y="71"/>
                    <a:pt x="247" y="71"/>
                    <a:pt x="247" y="71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lose/>
                  <a:moveTo>
                    <a:pt x="246" y="70"/>
                  </a:move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6" y="69"/>
                    <a:pt x="246" y="69"/>
                    <a:pt x="246" y="69"/>
                  </a:cubicBezTo>
                  <a:cubicBezTo>
                    <a:pt x="246" y="70"/>
                    <a:pt x="246" y="70"/>
                    <a:pt x="246" y="70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8" y="69"/>
                  </a:move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6" y="69"/>
                  </a:moveTo>
                  <a:cubicBezTo>
                    <a:pt x="46" y="69"/>
                    <a:pt x="46" y="69"/>
                    <a:pt x="46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lose/>
                  <a:moveTo>
                    <a:pt x="25" y="88"/>
                  </a:moveTo>
                  <a:cubicBezTo>
                    <a:pt x="26" y="88"/>
                    <a:pt x="26" y="88"/>
                    <a:pt x="26" y="88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lose/>
                  <a:moveTo>
                    <a:pt x="34" y="79"/>
                  </a:moveTo>
                  <a:cubicBezTo>
                    <a:pt x="34" y="79"/>
                    <a:pt x="34" y="79"/>
                    <a:pt x="34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4" y="79"/>
                    <a:pt x="34" y="79"/>
                    <a:pt x="34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44" y="80"/>
                  </a:moveTo>
                  <a:cubicBezTo>
                    <a:pt x="44" y="80"/>
                    <a:pt x="44" y="80"/>
                    <a:pt x="44" y="80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80"/>
                    <a:pt x="43" y="80"/>
                    <a:pt x="43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46" y="77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4" y="77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89" y="64"/>
                  </a:move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lose/>
                  <a:moveTo>
                    <a:pt x="88" y="62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49" y="74"/>
                  </a:move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lose/>
                  <a:moveTo>
                    <a:pt x="51" y="76"/>
                  </a:move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62" y="55"/>
                  </a:move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2" y="55"/>
                    <a:pt x="62" y="55"/>
                    <a:pt x="62" y="55"/>
                  </a:cubicBezTo>
                  <a:close/>
                  <a:moveTo>
                    <a:pt x="63" y="73"/>
                  </a:move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lose/>
                  <a:moveTo>
                    <a:pt x="71" y="83"/>
                  </a:move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lose/>
                  <a:moveTo>
                    <a:pt x="69" y="55"/>
                  </a:move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lose/>
                  <a:moveTo>
                    <a:pt x="69" y="52"/>
                  </a:move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lose/>
                  <a:moveTo>
                    <a:pt x="71" y="53"/>
                  </a:moveTo>
                  <a:cubicBezTo>
                    <a:pt x="71" y="53"/>
                    <a:pt x="71" y="53"/>
                    <a:pt x="71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lose/>
                  <a:moveTo>
                    <a:pt x="75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3"/>
                    <a:pt x="77" y="53"/>
                    <a:pt x="77" y="53"/>
                  </a:cubicBezTo>
                  <a:cubicBezTo>
                    <a:pt x="77" y="53"/>
                    <a:pt x="77" y="53"/>
                    <a:pt x="77" y="5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3" y="45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0"/>
                  </a:move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40"/>
                    <a:pt x="75" y="40"/>
                  </a:cubicBezTo>
                  <a:close/>
                  <a:moveTo>
                    <a:pt x="74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lose/>
                  <a:moveTo>
                    <a:pt x="74" y="37"/>
                  </a:moveTo>
                  <a:cubicBezTo>
                    <a:pt x="74" y="37"/>
                    <a:pt x="74" y="37"/>
                    <a:pt x="74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7"/>
                    <a:pt x="74" y="37"/>
                    <a:pt x="74" y="37"/>
                  </a:cubicBezTo>
                  <a:close/>
                  <a:moveTo>
                    <a:pt x="79" y="47"/>
                  </a:move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2" y="47"/>
                    <a:pt x="82" y="47"/>
                    <a:pt x="82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lose/>
                  <a:moveTo>
                    <a:pt x="83" y="45"/>
                  </a:moveTo>
                  <a:cubicBezTo>
                    <a:pt x="83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lose/>
                  <a:moveTo>
                    <a:pt x="82" y="44"/>
                  </a:moveTo>
                  <a:cubicBezTo>
                    <a:pt x="82" y="43"/>
                    <a:pt x="82" y="43"/>
                    <a:pt x="82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2" y="44"/>
                    <a:pt x="82" y="44"/>
                  </a:cubicBezTo>
                  <a:close/>
                  <a:moveTo>
                    <a:pt x="83" y="43"/>
                  </a:moveTo>
                  <a:cubicBezTo>
                    <a:pt x="83" y="43"/>
                    <a:pt x="83" y="43"/>
                    <a:pt x="83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lose/>
                  <a:moveTo>
                    <a:pt x="83" y="44"/>
                  </a:move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4"/>
                    <a:pt x="83" y="44"/>
                    <a:pt x="83" y="44"/>
                  </a:cubicBezTo>
                  <a:close/>
                  <a:moveTo>
                    <a:pt x="82" y="42"/>
                  </a:move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2" y="42"/>
                    <a:pt x="82" y="42"/>
                    <a:pt x="82" y="42"/>
                  </a:cubicBezTo>
                  <a:close/>
                  <a:moveTo>
                    <a:pt x="84" y="4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4" y="41"/>
                    <a:pt x="84" y="41"/>
                    <a:pt x="84" y="41"/>
                  </a:cubicBezTo>
                  <a:close/>
                  <a:moveTo>
                    <a:pt x="82" y="23"/>
                  </a:move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lose/>
                  <a:moveTo>
                    <a:pt x="80" y="27"/>
                  </a:move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lose/>
                  <a:moveTo>
                    <a:pt x="93" y="27"/>
                  </a:move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7"/>
                    <a:pt x="93" y="27"/>
                    <a:pt x="93" y="27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0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8"/>
                    <a:pt x="92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9"/>
                    <a:pt x="92" y="29"/>
                    <a:pt x="92" y="29"/>
                  </a:cubicBezTo>
                  <a:close/>
                  <a:moveTo>
                    <a:pt x="92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2" y="31"/>
                    <a:pt x="92" y="31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9"/>
                  </a:move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lose/>
                  <a:moveTo>
                    <a:pt x="67" y="3"/>
                  </a:moveTo>
                  <a:cubicBezTo>
                    <a:pt x="67" y="2"/>
                    <a:pt x="67" y="2"/>
                    <a:pt x="67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76" y="9"/>
                  </a:move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lose/>
                  <a:moveTo>
                    <a:pt x="74" y="11"/>
                  </a:moveTo>
                  <a:cubicBezTo>
                    <a:pt x="74" y="12"/>
                    <a:pt x="74" y="12"/>
                    <a:pt x="74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4" y="11"/>
                    <a:pt x="74" y="11"/>
                    <a:pt x="74" y="11"/>
                  </a:cubicBezTo>
                  <a:close/>
                  <a:moveTo>
                    <a:pt x="89" y="13"/>
                  </a:moveTo>
                  <a:cubicBezTo>
                    <a:pt x="89" y="13"/>
                    <a:pt x="89" y="13"/>
                    <a:pt x="89" y="13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5"/>
                    <a:pt x="87" y="15"/>
                    <a:pt x="87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9" y="13"/>
                    <a:pt x="89" y="13"/>
                    <a:pt x="89" y="13"/>
                  </a:cubicBezTo>
                  <a:close/>
                  <a:moveTo>
                    <a:pt x="165" y="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5" y="1"/>
                    <a:pt x="165" y="1"/>
                    <a:pt x="165" y="1"/>
                  </a:cubicBezTo>
                  <a:close/>
                  <a:moveTo>
                    <a:pt x="170" y="8"/>
                  </a:moveTo>
                  <a:cubicBezTo>
                    <a:pt x="170" y="9"/>
                    <a:pt x="170" y="9"/>
                    <a:pt x="170" y="9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1"/>
                    <a:pt x="174" y="11"/>
                    <a:pt x="174" y="11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74" y="8"/>
                    <a:pt x="174" y="8"/>
                    <a:pt x="174" y="8"/>
                  </a:cubicBezTo>
                  <a:cubicBezTo>
                    <a:pt x="174" y="9"/>
                    <a:pt x="174" y="9"/>
                    <a:pt x="174" y="9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3" y="8"/>
                    <a:pt x="173" y="8"/>
                    <a:pt x="173" y="8"/>
                  </a:cubicBezTo>
                  <a:cubicBezTo>
                    <a:pt x="173" y="8"/>
                    <a:pt x="173" y="8"/>
                    <a:pt x="173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1" y="8"/>
                    <a:pt x="171" y="8"/>
                    <a:pt x="171" y="8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8"/>
                    <a:pt x="170" y="8"/>
                    <a:pt x="170" y="8"/>
                  </a:cubicBezTo>
                  <a:cubicBezTo>
                    <a:pt x="170" y="8"/>
                    <a:pt x="170" y="8"/>
                    <a:pt x="170" y="8"/>
                  </a:cubicBezTo>
                  <a:close/>
                  <a:moveTo>
                    <a:pt x="153" y="15"/>
                  </a:moveTo>
                  <a:cubicBezTo>
                    <a:pt x="153" y="14"/>
                    <a:pt x="153" y="14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2" y="13"/>
                    <a:pt x="152" y="13"/>
                    <a:pt x="152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5"/>
                    <a:pt x="153" y="15"/>
                    <a:pt x="153" y="15"/>
                  </a:cubicBezTo>
                  <a:close/>
                  <a:moveTo>
                    <a:pt x="162" y="16"/>
                  </a:move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3" y="16"/>
                    <a:pt x="163" y="16"/>
                    <a:pt x="163" y="16"/>
                  </a:cubicBezTo>
                  <a:cubicBezTo>
                    <a:pt x="163" y="15"/>
                    <a:pt x="163" y="15"/>
                    <a:pt x="163" y="15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4" y="14"/>
                    <a:pt x="164" y="14"/>
                    <a:pt x="164" y="14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5"/>
                    <a:pt x="165" y="15"/>
                    <a:pt x="165" y="15"/>
                  </a:cubicBezTo>
                  <a:cubicBezTo>
                    <a:pt x="165" y="15"/>
                    <a:pt x="165" y="15"/>
                    <a:pt x="165" y="15"/>
                  </a:cubicBezTo>
                  <a:cubicBezTo>
                    <a:pt x="166" y="15"/>
                    <a:pt x="166" y="15"/>
                    <a:pt x="166" y="15"/>
                  </a:cubicBezTo>
                  <a:cubicBezTo>
                    <a:pt x="166" y="15"/>
                    <a:pt x="166" y="15"/>
                    <a:pt x="166" y="15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63" y="12"/>
                    <a:pt x="163" y="12"/>
                    <a:pt x="163" y="12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62" y="10"/>
                    <a:pt x="162" y="10"/>
                    <a:pt x="162" y="10"/>
                  </a:cubicBezTo>
                  <a:cubicBezTo>
                    <a:pt x="162" y="10"/>
                    <a:pt x="162" y="10"/>
                    <a:pt x="162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60" y="9"/>
                    <a:pt x="160" y="9"/>
                    <a:pt x="160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53" y="11"/>
                    <a:pt x="153" y="11"/>
                    <a:pt x="153" y="11"/>
                  </a:cubicBezTo>
                  <a:cubicBezTo>
                    <a:pt x="153" y="11"/>
                    <a:pt x="153" y="11"/>
                    <a:pt x="153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8"/>
                    <a:pt x="159" y="18"/>
                    <a:pt x="159" y="18"/>
                  </a:cubicBezTo>
                  <a:cubicBezTo>
                    <a:pt x="159" y="18"/>
                    <a:pt x="159" y="18"/>
                    <a:pt x="159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6"/>
                    <a:pt x="162" y="16"/>
                    <a:pt x="162" y="16"/>
                  </a:cubicBezTo>
                  <a:close/>
                  <a:moveTo>
                    <a:pt x="162" y="8"/>
                  </a:moveTo>
                  <a:cubicBezTo>
                    <a:pt x="162" y="8"/>
                    <a:pt x="162" y="8"/>
                    <a:pt x="162" y="8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4" y="8"/>
                    <a:pt x="164" y="8"/>
                    <a:pt x="164" y="8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6" y="9"/>
                    <a:pt x="166" y="9"/>
                    <a:pt x="166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10"/>
                    <a:pt x="167" y="10"/>
                    <a:pt x="167" y="10"/>
                  </a:cubicBezTo>
                  <a:cubicBezTo>
                    <a:pt x="167" y="10"/>
                    <a:pt x="167" y="10"/>
                    <a:pt x="167" y="10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8" y="11"/>
                    <a:pt x="168" y="11"/>
                    <a:pt x="168" y="11"/>
                  </a:cubicBezTo>
                  <a:cubicBezTo>
                    <a:pt x="168" y="11"/>
                    <a:pt x="168" y="11"/>
                    <a:pt x="168" y="11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63" y="12"/>
                    <a:pt x="163" y="12"/>
                    <a:pt x="163" y="12"/>
                  </a:cubicBezTo>
                  <a:cubicBezTo>
                    <a:pt x="163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3" y="11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8"/>
                    <a:pt x="162" y="8"/>
                    <a:pt x="162" y="8"/>
                  </a:cubicBezTo>
                  <a:close/>
                  <a:moveTo>
                    <a:pt x="92" y="19"/>
                  </a:moveTo>
                  <a:cubicBezTo>
                    <a:pt x="92" y="19"/>
                    <a:pt x="93" y="19"/>
                    <a:pt x="93" y="19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2" y="19"/>
                    <a:pt x="92" y="19"/>
                    <a:pt x="92" y="19"/>
                  </a:cubicBezTo>
                  <a:close/>
                  <a:moveTo>
                    <a:pt x="100" y="14"/>
                  </a:moveTo>
                  <a:cubicBezTo>
                    <a:pt x="101" y="14"/>
                    <a:pt x="101" y="14"/>
                    <a:pt x="101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lose/>
                  <a:moveTo>
                    <a:pt x="101" y="14"/>
                  </a:moveTo>
                  <a:cubicBezTo>
                    <a:pt x="101" y="14"/>
                    <a:pt x="101" y="14"/>
                    <a:pt x="101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101" y="14"/>
                    <a:pt x="101" y="14"/>
                    <a:pt x="101" y="14"/>
                  </a:cubicBezTo>
                  <a:close/>
                  <a:moveTo>
                    <a:pt x="105" y="18"/>
                  </a:move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8"/>
                    <a:pt x="105" y="18"/>
                    <a:pt x="105" y="18"/>
                  </a:cubicBezTo>
                  <a:close/>
                  <a:moveTo>
                    <a:pt x="144" y="31"/>
                  </a:moveTo>
                  <a:cubicBezTo>
                    <a:pt x="144" y="31"/>
                    <a:pt x="144" y="31"/>
                    <a:pt x="144" y="31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7"/>
                    <a:pt x="139" y="37"/>
                  </a:cubicBezTo>
                  <a:close/>
                  <a:moveTo>
                    <a:pt x="124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67" y="22"/>
                  </a:move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lose/>
                  <a:moveTo>
                    <a:pt x="168" y="25"/>
                  </a:moveTo>
                  <a:cubicBezTo>
                    <a:pt x="168" y="24"/>
                    <a:pt x="168" y="24"/>
                    <a:pt x="168" y="24"/>
                  </a:cubicBez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3" y="22"/>
                    <a:pt x="173" y="22"/>
                    <a:pt x="173" y="22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3"/>
                    <a:pt x="169" y="23"/>
                    <a:pt x="169" y="23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68" y="25"/>
                    <a:pt x="168" y="25"/>
                    <a:pt x="168" y="25"/>
                  </a:cubicBezTo>
                  <a:close/>
                  <a:moveTo>
                    <a:pt x="158" y="23"/>
                  </a:moveTo>
                  <a:cubicBezTo>
                    <a:pt x="158" y="23"/>
                    <a:pt x="158" y="23"/>
                    <a:pt x="158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8" y="23"/>
                    <a:pt x="158" y="23"/>
                    <a:pt x="158" y="23"/>
                  </a:cubicBezTo>
                  <a:close/>
                  <a:moveTo>
                    <a:pt x="171" y="36"/>
                  </a:move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1" y="36"/>
                  </a:cubicBezTo>
                  <a:close/>
                  <a:moveTo>
                    <a:pt x="218" y="32"/>
                  </a:move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lose/>
                  <a:moveTo>
                    <a:pt x="218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3"/>
                    <a:pt x="218" y="33"/>
                    <a:pt x="218" y="33"/>
                  </a:cubicBezTo>
                  <a:close/>
                  <a:moveTo>
                    <a:pt x="218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lose/>
                  <a:moveTo>
                    <a:pt x="217" y="32"/>
                  </a:move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lose/>
                  <a:moveTo>
                    <a:pt x="228" y="28"/>
                  </a:moveTo>
                  <a:cubicBezTo>
                    <a:pt x="229" y="28"/>
                    <a:pt x="229" y="28"/>
                    <a:pt x="229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6"/>
                    <a:pt x="229" y="26"/>
                    <a:pt x="229" y="26"/>
                  </a:cubicBezTo>
                  <a:cubicBezTo>
                    <a:pt x="229" y="26"/>
                    <a:pt x="229" y="26"/>
                    <a:pt x="229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8" y="27"/>
                    <a:pt x="228" y="27"/>
                    <a:pt x="228" y="27"/>
                  </a:cubicBezTo>
                  <a:cubicBezTo>
                    <a:pt x="228" y="28"/>
                    <a:pt x="228" y="28"/>
                    <a:pt x="228" y="28"/>
                  </a:cubicBezTo>
                  <a:close/>
                  <a:moveTo>
                    <a:pt x="231" y="27"/>
                  </a:move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7"/>
                    <a:pt x="231" y="27"/>
                    <a:pt x="231" y="27"/>
                  </a:cubicBezTo>
                  <a:close/>
                  <a:moveTo>
                    <a:pt x="234" y="139"/>
                  </a:moveTo>
                  <a:cubicBezTo>
                    <a:pt x="234" y="139"/>
                    <a:pt x="234" y="139"/>
                    <a:pt x="234" y="139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33" y="138"/>
                    <a:pt x="233" y="138"/>
                    <a:pt x="233" y="138"/>
                  </a:cubicBezTo>
                  <a:cubicBezTo>
                    <a:pt x="233" y="137"/>
                    <a:pt x="233" y="137"/>
                    <a:pt x="233" y="137"/>
                  </a:cubicBezTo>
                  <a:cubicBezTo>
                    <a:pt x="233" y="137"/>
                    <a:pt x="233" y="137"/>
                    <a:pt x="233" y="137"/>
                  </a:cubicBezTo>
                  <a:cubicBezTo>
                    <a:pt x="234" y="136"/>
                    <a:pt x="234" y="136"/>
                    <a:pt x="234" y="136"/>
                  </a:cubicBezTo>
                  <a:cubicBezTo>
                    <a:pt x="234" y="136"/>
                    <a:pt x="234" y="136"/>
                    <a:pt x="234" y="136"/>
                  </a:cubicBezTo>
                  <a:cubicBezTo>
                    <a:pt x="234" y="137"/>
                    <a:pt x="234" y="137"/>
                    <a:pt x="234" y="137"/>
                  </a:cubicBezTo>
                  <a:cubicBezTo>
                    <a:pt x="234" y="137"/>
                    <a:pt x="234" y="137"/>
                    <a:pt x="234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4" y="135"/>
                    <a:pt x="234" y="135"/>
                    <a:pt x="234" y="135"/>
                  </a:cubicBezTo>
                  <a:cubicBezTo>
                    <a:pt x="234" y="135"/>
                    <a:pt x="234" y="135"/>
                    <a:pt x="234" y="135"/>
                  </a:cubicBezTo>
                  <a:cubicBezTo>
                    <a:pt x="234" y="134"/>
                    <a:pt x="234" y="134"/>
                    <a:pt x="234" y="134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3" y="133"/>
                    <a:pt x="233" y="133"/>
                    <a:pt x="233" y="133"/>
                  </a:cubicBezTo>
                  <a:cubicBezTo>
                    <a:pt x="233" y="133"/>
                    <a:pt x="233" y="133"/>
                    <a:pt x="233" y="133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32" y="130"/>
                    <a:pt x="232" y="130"/>
                    <a:pt x="232" y="130"/>
                  </a:cubicBezTo>
                  <a:cubicBezTo>
                    <a:pt x="232" y="130"/>
                    <a:pt x="232" y="130"/>
                    <a:pt x="232" y="130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34" y="127"/>
                    <a:pt x="234" y="127"/>
                    <a:pt x="234" y="127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5" y="128"/>
                    <a:pt x="235" y="128"/>
                    <a:pt x="235" y="128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8"/>
                    <a:pt x="235" y="128"/>
                    <a:pt x="235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4" y="127"/>
                    <a:pt x="234" y="127"/>
                    <a:pt x="234" y="127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5"/>
                    <a:pt x="233" y="125"/>
                    <a:pt x="233" y="125"/>
                  </a:cubicBezTo>
                  <a:cubicBezTo>
                    <a:pt x="233" y="125"/>
                    <a:pt x="233" y="125"/>
                    <a:pt x="233" y="125"/>
                  </a:cubicBezTo>
                  <a:cubicBezTo>
                    <a:pt x="232" y="125"/>
                    <a:pt x="232" y="125"/>
                    <a:pt x="232" y="125"/>
                  </a:cubicBezTo>
                  <a:cubicBezTo>
                    <a:pt x="232" y="124"/>
                    <a:pt x="232" y="124"/>
                    <a:pt x="232" y="124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1" y="122"/>
                    <a:pt x="231" y="122"/>
                    <a:pt x="231" y="122"/>
                  </a:cubicBezTo>
                  <a:cubicBezTo>
                    <a:pt x="231" y="122"/>
                    <a:pt x="231" y="122"/>
                    <a:pt x="231" y="122"/>
                  </a:cubicBezTo>
                  <a:cubicBezTo>
                    <a:pt x="230" y="121"/>
                    <a:pt x="230" y="121"/>
                    <a:pt x="230" y="121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8"/>
                    <a:pt x="229" y="118"/>
                    <a:pt x="229" y="118"/>
                  </a:cubicBezTo>
                  <a:cubicBezTo>
                    <a:pt x="228" y="118"/>
                    <a:pt x="228" y="118"/>
                    <a:pt x="228" y="118"/>
                  </a:cubicBezTo>
                  <a:cubicBezTo>
                    <a:pt x="228" y="118"/>
                    <a:pt x="228" y="118"/>
                    <a:pt x="228" y="118"/>
                  </a:cubicBezTo>
                  <a:cubicBezTo>
                    <a:pt x="228" y="117"/>
                    <a:pt x="228" y="117"/>
                    <a:pt x="228" y="117"/>
                  </a:cubicBezTo>
                  <a:cubicBezTo>
                    <a:pt x="227" y="117"/>
                    <a:pt x="227" y="117"/>
                    <a:pt x="227" y="117"/>
                  </a:cubicBezTo>
                  <a:cubicBezTo>
                    <a:pt x="227" y="116"/>
                    <a:pt x="227" y="116"/>
                    <a:pt x="227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7" y="115"/>
                    <a:pt x="227" y="115"/>
                    <a:pt x="227" y="115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6" y="114"/>
                    <a:pt x="226" y="114"/>
                    <a:pt x="226" y="114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09"/>
                    <a:pt x="224" y="109"/>
                    <a:pt x="224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2" y="109"/>
                    <a:pt x="222" y="109"/>
                    <a:pt x="222" y="109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3" y="112"/>
                    <a:pt x="223" y="112"/>
                    <a:pt x="223" y="112"/>
                  </a:cubicBezTo>
                  <a:cubicBezTo>
                    <a:pt x="223" y="113"/>
                    <a:pt x="223" y="113"/>
                    <a:pt x="223" y="113"/>
                  </a:cubicBezTo>
                  <a:cubicBezTo>
                    <a:pt x="223" y="113"/>
                    <a:pt x="223" y="113"/>
                    <a:pt x="223" y="113"/>
                  </a:cubicBezTo>
                  <a:cubicBezTo>
                    <a:pt x="224" y="114"/>
                    <a:pt x="224" y="114"/>
                    <a:pt x="224" y="114"/>
                  </a:cubicBezTo>
                  <a:cubicBezTo>
                    <a:pt x="224" y="114"/>
                    <a:pt x="224" y="114"/>
                    <a:pt x="224" y="114"/>
                  </a:cubicBezTo>
                  <a:cubicBezTo>
                    <a:pt x="224" y="115"/>
                    <a:pt x="224" y="115"/>
                    <a:pt x="224" y="115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5" y="117"/>
                    <a:pt x="225" y="117"/>
                    <a:pt x="225" y="117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5" y="119"/>
                    <a:pt x="225" y="119"/>
                    <a:pt x="225" y="119"/>
                  </a:cubicBezTo>
                  <a:cubicBezTo>
                    <a:pt x="227" y="120"/>
                    <a:pt x="227" y="120"/>
                    <a:pt x="227" y="120"/>
                  </a:cubicBezTo>
                  <a:cubicBezTo>
                    <a:pt x="227" y="120"/>
                    <a:pt x="227" y="120"/>
                    <a:pt x="227" y="120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7" y="122"/>
                    <a:pt x="227" y="122"/>
                    <a:pt x="227" y="122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9" y="124"/>
                    <a:pt x="229" y="124"/>
                    <a:pt x="229" y="124"/>
                  </a:cubicBezTo>
                  <a:cubicBezTo>
                    <a:pt x="228" y="124"/>
                    <a:pt x="228" y="124"/>
                    <a:pt x="228" y="124"/>
                  </a:cubicBezTo>
                  <a:cubicBezTo>
                    <a:pt x="228" y="124"/>
                    <a:pt x="228" y="124"/>
                    <a:pt x="228" y="124"/>
                  </a:cubicBezTo>
                  <a:cubicBezTo>
                    <a:pt x="229" y="125"/>
                    <a:pt x="229" y="125"/>
                    <a:pt x="229" y="125"/>
                  </a:cubicBezTo>
                  <a:cubicBezTo>
                    <a:pt x="229" y="125"/>
                    <a:pt x="229" y="125"/>
                    <a:pt x="229" y="125"/>
                  </a:cubicBezTo>
                  <a:cubicBezTo>
                    <a:pt x="229" y="126"/>
                    <a:pt x="229" y="126"/>
                    <a:pt x="229" y="126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8"/>
                    <a:pt x="229" y="128"/>
                    <a:pt x="229" y="128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0" y="130"/>
                    <a:pt x="230" y="130"/>
                    <a:pt x="230" y="130"/>
                  </a:cubicBezTo>
                  <a:cubicBezTo>
                    <a:pt x="230" y="130"/>
                    <a:pt x="230" y="130"/>
                    <a:pt x="230" y="130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32"/>
                    <a:pt x="231" y="132"/>
                    <a:pt x="231" y="132"/>
                  </a:cubicBezTo>
                  <a:cubicBezTo>
                    <a:pt x="231" y="133"/>
                    <a:pt x="231" y="133"/>
                    <a:pt x="231" y="133"/>
                  </a:cubicBezTo>
                  <a:cubicBezTo>
                    <a:pt x="231" y="134"/>
                    <a:pt x="231" y="134"/>
                    <a:pt x="231" y="134"/>
                  </a:cubicBezTo>
                  <a:cubicBezTo>
                    <a:pt x="232" y="134"/>
                    <a:pt x="232" y="134"/>
                    <a:pt x="232" y="134"/>
                  </a:cubicBezTo>
                  <a:cubicBezTo>
                    <a:pt x="232" y="135"/>
                    <a:pt x="232" y="135"/>
                    <a:pt x="232" y="135"/>
                  </a:cubicBezTo>
                  <a:cubicBezTo>
                    <a:pt x="232" y="135"/>
                    <a:pt x="232" y="135"/>
                    <a:pt x="232" y="135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2" y="137"/>
                    <a:pt x="232" y="137"/>
                    <a:pt x="232" y="137"/>
                  </a:cubicBezTo>
                  <a:cubicBezTo>
                    <a:pt x="232" y="138"/>
                    <a:pt x="232" y="138"/>
                    <a:pt x="232" y="138"/>
                  </a:cubicBezTo>
                  <a:cubicBezTo>
                    <a:pt x="233" y="138"/>
                    <a:pt x="233" y="138"/>
                    <a:pt x="233" y="138"/>
                  </a:cubicBezTo>
                  <a:cubicBezTo>
                    <a:pt x="233" y="139"/>
                    <a:pt x="233" y="139"/>
                    <a:pt x="233" y="139"/>
                  </a:cubicBezTo>
                  <a:cubicBezTo>
                    <a:pt x="234" y="139"/>
                    <a:pt x="234" y="139"/>
                    <a:pt x="234" y="139"/>
                  </a:cubicBezTo>
                  <a:close/>
                  <a:moveTo>
                    <a:pt x="212" y="109"/>
                  </a:moveTo>
                  <a:cubicBezTo>
                    <a:pt x="212" y="109"/>
                    <a:pt x="212" y="109"/>
                    <a:pt x="212" y="109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9"/>
                    <a:pt x="212" y="109"/>
                    <a:pt x="212" y="109"/>
                  </a:cubicBezTo>
                  <a:close/>
                  <a:moveTo>
                    <a:pt x="211" y="109"/>
                  </a:move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lose/>
                  <a:moveTo>
                    <a:pt x="214" y="110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lose/>
                  <a:moveTo>
                    <a:pt x="213" y="110"/>
                  </a:moveTo>
                  <a:cubicBezTo>
                    <a:pt x="213" y="110"/>
                    <a:pt x="213" y="110"/>
                    <a:pt x="213" y="110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3" y="110"/>
                    <a:pt x="213" y="110"/>
                    <a:pt x="213" y="110"/>
                  </a:cubicBezTo>
                  <a:close/>
                  <a:moveTo>
                    <a:pt x="213" y="112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3" y="111"/>
                    <a:pt x="213" y="111"/>
                    <a:pt x="213" y="111"/>
                  </a:cubicBezTo>
                  <a:cubicBezTo>
                    <a:pt x="213" y="111"/>
                    <a:pt x="213" y="111"/>
                    <a:pt x="213" y="111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112"/>
                    <a:pt x="213" y="112"/>
                    <a:pt x="213" y="112"/>
                  </a:cubicBezTo>
                  <a:close/>
                  <a:moveTo>
                    <a:pt x="229" y="87"/>
                  </a:move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9" y="87"/>
                    <a:pt x="229" y="87"/>
                    <a:pt x="229" y="87"/>
                  </a:cubicBezTo>
                  <a:close/>
                  <a:moveTo>
                    <a:pt x="255" y="85"/>
                  </a:moveTo>
                  <a:cubicBezTo>
                    <a:pt x="255" y="85"/>
                    <a:pt x="255" y="85"/>
                    <a:pt x="255" y="85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6" y="83"/>
                    <a:pt x="256" y="83"/>
                    <a:pt x="256" y="83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1"/>
                    <a:pt x="256" y="81"/>
                    <a:pt x="256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0"/>
                    <a:pt x="255" y="80"/>
                    <a:pt x="255" y="80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5" y="82"/>
                    <a:pt x="255" y="82"/>
                    <a:pt x="255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270" y="98"/>
                  </a:moveTo>
                  <a:cubicBezTo>
                    <a:pt x="270" y="98"/>
                    <a:pt x="270" y="98"/>
                    <a:pt x="270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1" y="99"/>
                    <a:pt x="271" y="99"/>
                    <a:pt x="271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3" y="99"/>
                    <a:pt x="273" y="99"/>
                    <a:pt x="273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0" y="98"/>
                    <a:pt x="270" y="98"/>
                    <a:pt x="270" y="98"/>
                  </a:cubicBezTo>
                  <a:close/>
                  <a:moveTo>
                    <a:pt x="266" y="97"/>
                  </a:moveTo>
                  <a:cubicBezTo>
                    <a:pt x="266" y="97"/>
                    <a:pt x="266" y="97"/>
                    <a:pt x="266" y="97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8"/>
                    <a:pt x="267" y="98"/>
                    <a:pt x="267" y="98"/>
                  </a:cubicBezTo>
                  <a:cubicBezTo>
                    <a:pt x="267" y="98"/>
                    <a:pt x="267" y="98"/>
                    <a:pt x="267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9"/>
                    <a:pt x="268" y="99"/>
                    <a:pt x="268" y="99"/>
                  </a:cubicBezTo>
                  <a:cubicBezTo>
                    <a:pt x="269" y="99"/>
                    <a:pt x="269" y="99"/>
                    <a:pt x="269" y="99"/>
                  </a:cubicBezTo>
                  <a:cubicBezTo>
                    <a:pt x="269" y="99"/>
                    <a:pt x="269" y="99"/>
                    <a:pt x="269" y="99"/>
                  </a:cubicBezTo>
                  <a:cubicBezTo>
                    <a:pt x="269" y="98"/>
                    <a:pt x="269" y="98"/>
                    <a:pt x="269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6" y="96"/>
                    <a:pt x="266" y="96"/>
                    <a:pt x="266" y="96"/>
                  </a:cubicBezTo>
                  <a:cubicBezTo>
                    <a:pt x="266" y="96"/>
                    <a:pt x="266" y="96"/>
                    <a:pt x="266" y="96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66" y="97"/>
                    <a:pt x="266" y="97"/>
                    <a:pt x="266" y="97"/>
                  </a:cubicBezTo>
                  <a:close/>
                  <a:moveTo>
                    <a:pt x="255" y="119"/>
                  </a:moveTo>
                  <a:cubicBezTo>
                    <a:pt x="256" y="119"/>
                    <a:pt x="256" y="119"/>
                    <a:pt x="256" y="119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9"/>
                    <a:pt x="255" y="119"/>
                    <a:pt x="255" y="119"/>
                  </a:cubicBezTo>
                  <a:close/>
                  <a:moveTo>
                    <a:pt x="253" y="118"/>
                  </a:moveTo>
                  <a:cubicBezTo>
                    <a:pt x="253" y="118"/>
                    <a:pt x="253" y="118"/>
                    <a:pt x="253" y="118"/>
                  </a:cubicBezTo>
                  <a:cubicBezTo>
                    <a:pt x="253" y="118"/>
                    <a:pt x="253" y="118"/>
                    <a:pt x="253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3" y="118"/>
                    <a:pt x="253" y="118"/>
                    <a:pt x="253" y="118"/>
                  </a:cubicBezTo>
                  <a:close/>
                  <a:moveTo>
                    <a:pt x="254" y="121"/>
                  </a:move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lose/>
                  <a:moveTo>
                    <a:pt x="254" y="124"/>
                  </a:moveTo>
                  <a:cubicBezTo>
                    <a:pt x="254" y="124"/>
                    <a:pt x="254" y="124"/>
                    <a:pt x="254" y="124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lose/>
                  <a:moveTo>
                    <a:pt x="254" y="125"/>
                  </a:moveTo>
                  <a:cubicBezTo>
                    <a:pt x="254" y="125"/>
                    <a:pt x="254" y="125"/>
                    <a:pt x="254" y="125"/>
                  </a:cubicBezTo>
                  <a:cubicBezTo>
                    <a:pt x="254" y="125"/>
                    <a:pt x="254" y="125"/>
                    <a:pt x="254" y="125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5"/>
                    <a:pt x="254" y="125"/>
                    <a:pt x="254" y="125"/>
                  </a:cubicBezTo>
                  <a:cubicBezTo>
                    <a:pt x="254" y="125"/>
                    <a:pt x="254" y="125"/>
                    <a:pt x="254" y="125"/>
                  </a:cubicBezTo>
                  <a:close/>
                  <a:moveTo>
                    <a:pt x="253" y="125"/>
                  </a:moveTo>
                  <a:cubicBezTo>
                    <a:pt x="254" y="125"/>
                    <a:pt x="254" y="125"/>
                    <a:pt x="254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lose/>
                  <a:moveTo>
                    <a:pt x="254" y="126"/>
                  </a:move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lose/>
                  <a:moveTo>
                    <a:pt x="253" y="129"/>
                  </a:move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lose/>
                  <a:moveTo>
                    <a:pt x="253" y="130"/>
                  </a:move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lose/>
                  <a:moveTo>
                    <a:pt x="253" y="131"/>
                  </a:move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lose/>
                  <a:moveTo>
                    <a:pt x="253" y="132"/>
                  </a:moveTo>
                  <a:cubicBezTo>
                    <a:pt x="253" y="132"/>
                    <a:pt x="253" y="132"/>
                    <a:pt x="253" y="132"/>
                  </a:cubicBezTo>
                  <a:cubicBezTo>
                    <a:pt x="253" y="132"/>
                    <a:pt x="253" y="132"/>
                    <a:pt x="253" y="132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2"/>
                    <a:pt x="253" y="132"/>
                    <a:pt x="253" y="132"/>
                  </a:cubicBezTo>
                  <a:close/>
                  <a:moveTo>
                    <a:pt x="252" y="133"/>
                  </a:moveTo>
                  <a:cubicBezTo>
                    <a:pt x="252" y="133"/>
                    <a:pt x="252" y="133"/>
                    <a:pt x="252" y="133"/>
                  </a:cubicBezTo>
                  <a:cubicBezTo>
                    <a:pt x="252" y="132"/>
                    <a:pt x="252" y="132"/>
                    <a:pt x="252" y="132"/>
                  </a:cubicBezTo>
                  <a:cubicBezTo>
                    <a:pt x="252" y="132"/>
                    <a:pt x="252" y="132"/>
                    <a:pt x="252" y="132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52" y="133"/>
                    <a:pt x="252" y="133"/>
                    <a:pt x="252" y="133"/>
                  </a:cubicBezTo>
                  <a:close/>
                  <a:moveTo>
                    <a:pt x="249" y="138"/>
                  </a:moveTo>
                  <a:cubicBezTo>
                    <a:pt x="249" y="138"/>
                    <a:pt x="249" y="138"/>
                    <a:pt x="249" y="138"/>
                  </a:cubicBezTo>
                  <a:cubicBezTo>
                    <a:pt x="249" y="138"/>
                    <a:pt x="249" y="138"/>
                    <a:pt x="249" y="138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8"/>
                    <a:pt x="249" y="138"/>
                    <a:pt x="249" y="138"/>
                  </a:cubicBezTo>
                  <a:close/>
                  <a:moveTo>
                    <a:pt x="245" y="143"/>
                  </a:moveTo>
                  <a:cubicBezTo>
                    <a:pt x="245" y="143"/>
                    <a:pt x="245" y="143"/>
                    <a:pt x="245" y="143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8" y="139"/>
                    <a:pt x="248" y="139"/>
                    <a:pt x="248" y="139"/>
                  </a:cubicBezTo>
                  <a:cubicBezTo>
                    <a:pt x="248" y="139"/>
                    <a:pt x="248" y="139"/>
                    <a:pt x="248" y="139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3"/>
                    <a:pt x="245" y="143"/>
                    <a:pt x="245" y="143"/>
                  </a:cubicBezTo>
                  <a:close/>
                  <a:moveTo>
                    <a:pt x="243" y="145"/>
                  </a:moveTo>
                  <a:cubicBezTo>
                    <a:pt x="243" y="145"/>
                    <a:pt x="243" y="145"/>
                    <a:pt x="243" y="145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2" y="145"/>
                    <a:pt x="242" y="145"/>
                    <a:pt x="242" y="145"/>
                  </a:cubicBezTo>
                  <a:cubicBezTo>
                    <a:pt x="243" y="145"/>
                    <a:pt x="243" y="145"/>
                    <a:pt x="243" y="145"/>
                  </a:cubicBezTo>
                  <a:cubicBezTo>
                    <a:pt x="243" y="145"/>
                    <a:pt x="243" y="145"/>
                    <a:pt x="243" y="145"/>
                  </a:cubicBezTo>
                  <a:close/>
                  <a:moveTo>
                    <a:pt x="4" y="112"/>
                  </a:move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5" y="112"/>
                    <a:pt x="5" y="112"/>
                    <a:pt x="5" y="112"/>
                  </a:cubicBezTo>
                  <a:lnTo>
                    <a:pt x="4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219EC304-A7C1-4359-B3C3-946C03744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6829" y="3648011"/>
              <a:ext cx="1337129" cy="984700"/>
            </a:xfrm>
            <a:custGeom>
              <a:avLst/>
              <a:gdLst>
                <a:gd name="T0" fmla="*/ 102 w 136"/>
                <a:gd name="T1" fmla="*/ 13 h 100"/>
                <a:gd name="T2" fmla="*/ 103 w 136"/>
                <a:gd name="T3" fmla="*/ 9 h 100"/>
                <a:gd name="T4" fmla="*/ 103 w 136"/>
                <a:gd name="T5" fmla="*/ 4 h 100"/>
                <a:gd name="T6" fmla="*/ 102 w 136"/>
                <a:gd name="T7" fmla="*/ 1 h 100"/>
                <a:gd name="T8" fmla="*/ 106 w 136"/>
                <a:gd name="T9" fmla="*/ 0 h 100"/>
                <a:gd name="T10" fmla="*/ 110 w 136"/>
                <a:gd name="T11" fmla="*/ 0 h 100"/>
                <a:gd name="T12" fmla="*/ 113 w 136"/>
                <a:gd name="T13" fmla="*/ 2 h 100"/>
                <a:gd name="T14" fmla="*/ 115 w 136"/>
                <a:gd name="T15" fmla="*/ 4 h 100"/>
                <a:gd name="T16" fmla="*/ 118 w 136"/>
                <a:gd name="T17" fmla="*/ 8 h 100"/>
                <a:gd name="T18" fmla="*/ 121 w 136"/>
                <a:gd name="T19" fmla="*/ 12 h 100"/>
                <a:gd name="T20" fmla="*/ 123 w 136"/>
                <a:gd name="T21" fmla="*/ 12 h 100"/>
                <a:gd name="T22" fmla="*/ 126 w 136"/>
                <a:gd name="T23" fmla="*/ 14 h 100"/>
                <a:gd name="T24" fmla="*/ 127 w 136"/>
                <a:gd name="T25" fmla="*/ 16 h 100"/>
                <a:gd name="T26" fmla="*/ 131 w 136"/>
                <a:gd name="T27" fmla="*/ 17 h 100"/>
                <a:gd name="T28" fmla="*/ 134 w 136"/>
                <a:gd name="T29" fmla="*/ 14 h 100"/>
                <a:gd name="T30" fmla="*/ 136 w 136"/>
                <a:gd name="T31" fmla="*/ 18 h 100"/>
                <a:gd name="T32" fmla="*/ 136 w 136"/>
                <a:gd name="T33" fmla="*/ 21 h 100"/>
                <a:gd name="T34" fmla="*/ 136 w 136"/>
                <a:gd name="T35" fmla="*/ 24 h 100"/>
                <a:gd name="T36" fmla="*/ 132 w 136"/>
                <a:gd name="T37" fmla="*/ 26 h 100"/>
                <a:gd name="T38" fmla="*/ 133 w 136"/>
                <a:gd name="T39" fmla="*/ 32 h 100"/>
                <a:gd name="T40" fmla="*/ 123 w 136"/>
                <a:gd name="T41" fmla="*/ 43 h 100"/>
                <a:gd name="T42" fmla="*/ 118 w 136"/>
                <a:gd name="T43" fmla="*/ 46 h 100"/>
                <a:gd name="T44" fmla="*/ 118 w 136"/>
                <a:gd name="T45" fmla="*/ 45 h 100"/>
                <a:gd name="T46" fmla="*/ 118 w 136"/>
                <a:gd name="T47" fmla="*/ 42 h 100"/>
                <a:gd name="T48" fmla="*/ 113 w 136"/>
                <a:gd name="T49" fmla="*/ 43 h 100"/>
                <a:gd name="T50" fmla="*/ 110 w 136"/>
                <a:gd name="T51" fmla="*/ 47 h 100"/>
                <a:gd name="T52" fmla="*/ 113 w 136"/>
                <a:gd name="T53" fmla="*/ 50 h 100"/>
                <a:gd name="T54" fmla="*/ 116 w 136"/>
                <a:gd name="T55" fmla="*/ 50 h 100"/>
                <a:gd name="T56" fmla="*/ 121 w 136"/>
                <a:gd name="T57" fmla="*/ 51 h 100"/>
                <a:gd name="T58" fmla="*/ 118 w 136"/>
                <a:gd name="T59" fmla="*/ 53 h 100"/>
                <a:gd name="T60" fmla="*/ 116 w 136"/>
                <a:gd name="T61" fmla="*/ 56 h 100"/>
                <a:gd name="T62" fmla="*/ 119 w 136"/>
                <a:gd name="T63" fmla="*/ 62 h 100"/>
                <a:gd name="T64" fmla="*/ 120 w 136"/>
                <a:gd name="T65" fmla="*/ 66 h 100"/>
                <a:gd name="T66" fmla="*/ 116 w 136"/>
                <a:gd name="T67" fmla="*/ 65 h 100"/>
                <a:gd name="T68" fmla="*/ 122 w 136"/>
                <a:gd name="T69" fmla="*/ 69 h 100"/>
                <a:gd name="T70" fmla="*/ 122 w 136"/>
                <a:gd name="T71" fmla="*/ 70 h 100"/>
                <a:gd name="T72" fmla="*/ 123 w 136"/>
                <a:gd name="T73" fmla="*/ 72 h 100"/>
                <a:gd name="T74" fmla="*/ 123 w 136"/>
                <a:gd name="T75" fmla="*/ 74 h 100"/>
                <a:gd name="T76" fmla="*/ 122 w 136"/>
                <a:gd name="T77" fmla="*/ 76 h 100"/>
                <a:gd name="T78" fmla="*/ 121 w 136"/>
                <a:gd name="T79" fmla="*/ 79 h 100"/>
                <a:gd name="T80" fmla="*/ 120 w 136"/>
                <a:gd name="T81" fmla="*/ 81 h 100"/>
                <a:gd name="T82" fmla="*/ 120 w 136"/>
                <a:gd name="T83" fmla="*/ 83 h 100"/>
                <a:gd name="T84" fmla="*/ 119 w 136"/>
                <a:gd name="T85" fmla="*/ 84 h 100"/>
                <a:gd name="T86" fmla="*/ 117 w 136"/>
                <a:gd name="T87" fmla="*/ 86 h 100"/>
                <a:gd name="T88" fmla="*/ 116 w 136"/>
                <a:gd name="T89" fmla="*/ 87 h 100"/>
                <a:gd name="T90" fmla="*/ 113 w 136"/>
                <a:gd name="T91" fmla="*/ 90 h 100"/>
                <a:gd name="T92" fmla="*/ 110 w 136"/>
                <a:gd name="T93" fmla="*/ 91 h 100"/>
                <a:gd name="T94" fmla="*/ 108 w 136"/>
                <a:gd name="T95" fmla="*/ 91 h 100"/>
                <a:gd name="T96" fmla="*/ 104 w 136"/>
                <a:gd name="T97" fmla="*/ 93 h 100"/>
                <a:gd name="T98" fmla="*/ 103 w 136"/>
                <a:gd name="T99" fmla="*/ 94 h 100"/>
                <a:gd name="T100" fmla="*/ 102 w 136"/>
                <a:gd name="T101" fmla="*/ 95 h 100"/>
                <a:gd name="T102" fmla="*/ 99 w 136"/>
                <a:gd name="T103" fmla="*/ 93 h 100"/>
                <a:gd name="T104" fmla="*/ 84 w 136"/>
                <a:gd name="T105" fmla="*/ 95 h 100"/>
                <a:gd name="T106" fmla="*/ 116 w 136"/>
                <a:gd name="T107" fmla="*/ 88 h 100"/>
                <a:gd name="T108" fmla="*/ 121 w 136"/>
                <a:gd name="T109" fmla="*/ 66 h 100"/>
                <a:gd name="T110" fmla="*/ 125 w 136"/>
                <a:gd name="T111" fmla="*/ 90 h 100"/>
                <a:gd name="T112" fmla="*/ 125 w 136"/>
                <a:gd name="T113" fmla="*/ 83 h 100"/>
                <a:gd name="T114" fmla="*/ 122 w 136"/>
                <a:gd name="T115" fmla="*/ 89 h 100"/>
                <a:gd name="T116" fmla="*/ 104 w 136"/>
                <a:gd name="T117" fmla="*/ 94 h 100"/>
                <a:gd name="T118" fmla="*/ 100 w 136"/>
                <a:gd name="T119" fmla="*/ 99 h 100"/>
                <a:gd name="T120" fmla="*/ 104 w 136"/>
                <a:gd name="T121" fmla="*/ 9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" h="100">
                  <a:moveTo>
                    <a:pt x="41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8"/>
                    <a:pt x="130" y="38"/>
                    <a:pt x="130" y="38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7"/>
                    <a:pt x="115" y="57"/>
                    <a:pt x="115" y="57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2" y="68"/>
                    <a:pt x="122" y="68"/>
                    <a:pt x="122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1" y="71"/>
                    <a:pt x="121" y="71"/>
                    <a:pt x="121" y="71"/>
                  </a:cubicBezTo>
                  <a:cubicBezTo>
                    <a:pt x="121" y="71"/>
                    <a:pt x="121" y="71"/>
                    <a:pt x="121" y="71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2" y="75"/>
                    <a:pt x="122" y="75"/>
                    <a:pt x="122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1" y="81"/>
                    <a:pt x="121" y="81"/>
                    <a:pt x="121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7" y="86"/>
                    <a:pt x="117" y="86"/>
                    <a:pt x="117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6"/>
                    <a:pt x="117" y="86"/>
                    <a:pt x="117" y="86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5" y="87"/>
                    <a:pt x="115" y="87"/>
                    <a:pt x="115" y="87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3"/>
                    <a:pt x="105" y="93"/>
                    <a:pt x="105" y="93"/>
                  </a:cubicBezTo>
                  <a:cubicBezTo>
                    <a:pt x="105" y="93"/>
                    <a:pt x="105" y="93"/>
                    <a:pt x="105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2" y="93"/>
                    <a:pt x="102" y="93"/>
                    <a:pt x="102" y="93"/>
                  </a:cubicBezTo>
                  <a:cubicBezTo>
                    <a:pt x="102" y="93"/>
                    <a:pt x="102" y="93"/>
                    <a:pt x="102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1" y="21"/>
                    <a:pt x="41" y="21"/>
                    <a:pt x="41" y="21"/>
                  </a:cubicBezTo>
                  <a:close/>
                  <a:moveTo>
                    <a:pt x="116" y="88"/>
                  </a:move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lose/>
                  <a:moveTo>
                    <a:pt x="120" y="83"/>
                  </a:moveTo>
                  <a:cubicBezTo>
                    <a:pt x="120" y="83"/>
                    <a:pt x="120" y="83"/>
                    <a:pt x="120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3"/>
                    <a:pt x="120" y="83"/>
                    <a:pt x="120" y="83"/>
                  </a:cubicBezTo>
                  <a:close/>
                  <a:moveTo>
                    <a:pt x="123" y="70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3" y="70"/>
                    <a:pt x="123" y="70"/>
                    <a:pt x="123" y="70"/>
                  </a:cubicBezTo>
                  <a:close/>
                  <a:moveTo>
                    <a:pt x="121" y="66"/>
                  </a:moveTo>
                  <a:cubicBezTo>
                    <a:pt x="121" y="67"/>
                    <a:pt x="121" y="67"/>
                    <a:pt x="121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1" y="66"/>
                    <a:pt x="121" y="66"/>
                    <a:pt x="121" y="66"/>
                  </a:cubicBezTo>
                  <a:close/>
                  <a:moveTo>
                    <a:pt x="124" y="92"/>
                  </a:moveTo>
                  <a:cubicBezTo>
                    <a:pt x="124" y="92"/>
                    <a:pt x="124" y="92"/>
                    <a:pt x="124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0"/>
                    <a:pt x="124" y="90"/>
                    <a:pt x="124" y="90"/>
                  </a:cubicBezTo>
                  <a:cubicBezTo>
                    <a:pt x="125" y="90"/>
                    <a:pt x="125" y="90"/>
                    <a:pt x="125" y="90"/>
                  </a:cubicBezTo>
                  <a:cubicBezTo>
                    <a:pt x="125" y="89"/>
                    <a:pt x="125" y="89"/>
                    <a:pt x="125" y="89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7"/>
                    <a:pt x="125" y="87"/>
                    <a:pt x="125" y="87"/>
                  </a:cubicBezTo>
                  <a:cubicBezTo>
                    <a:pt x="125" y="87"/>
                    <a:pt x="125" y="87"/>
                    <a:pt x="125" y="87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2" y="86"/>
                    <a:pt x="122" y="86"/>
                    <a:pt x="122" y="86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8"/>
                    <a:pt x="122" y="88"/>
                    <a:pt x="122" y="88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2"/>
                    <a:pt x="124" y="92"/>
                    <a:pt x="124" y="92"/>
                  </a:cubicBezTo>
                  <a:close/>
                  <a:moveTo>
                    <a:pt x="103" y="94"/>
                  </a:moveTo>
                  <a:cubicBezTo>
                    <a:pt x="103" y="94"/>
                    <a:pt x="103" y="94"/>
                    <a:pt x="103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4" y="94"/>
                    <a:pt x="104" y="94"/>
                    <a:pt x="104" y="94"/>
                  </a:cubicBezTo>
                  <a:cubicBezTo>
                    <a:pt x="104" y="94"/>
                    <a:pt x="104" y="94"/>
                    <a:pt x="104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94"/>
                    <a:pt x="103" y="94"/>
                    <a:pt x="103" y="94"/>
                  </a:cubicBezTo>
                  <a:close/>
                  <a:moveTo>
                    <a:pt x="103" y="96"/>
                  </a:move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100" y="99"/>
                    <a:pt x="100" y="99"/>
                    <a:pt x="100" y="99"/>
                  </a:cubicBezTo>
                  <a:cubicBezTo>
                    <a:pt x="100" y="99"/>
                    <a:pt x="100" y="99"/>
                    <a:pt x="100" y="99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4" y="99"/>
                    <a:pt x="104" y="99"/>
                    <a:pt x="104" y="99"/>
                  </a:cubicBezTo>
                  <a:cubicBezTo>
                    <a:pt x="104" y="99"/>
                    <a:pt x="104" y="99"/>
                    <a:pt x="104" y="99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EEC4D95E-EE72-4518-834B-BDF4DF169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5140" y="2701950"/>
              <a:ext cx="295058" cy="354773"/>
            </a:xfrm>
            <a:custGeom>
              <a:avLst/>
              <a:gdLst>
                <a:gd name="T0" fmla="*/ 28 w 30"/>
                <a:gd name="T1" fmla="*/ 3 h 36"/>
                <a:gd name="T2" fmla="*/ 12 w 30"/>
                <a:gd name="T3" fmla="*/ 0 h 36"/>
                <a:gd name="T4" fmla="*/ 10 w 30"/>
                <a:gd name="T5" fmla="*/ 3 h 36"/>
                <a:gd name="T6" fmla="*/ 13 w 30"/>
                <a:gd name="T7" fmla="*/ 6 h 36"/>
                <a:gd name="T8" fmla="*/ 13 w 30"/>
                <a:gd name="T9" fmla="*/ 7 h 36"/>
                <a:gd name="T10" fmla="*/ 12 w 30"/>
                <a:gd name="T11" fmla="*/ 7 h 36"/>
                <a:gd name="T12" fmla="*/ 16 w 30"/>
                <a:gd name="T13" fmla="*/ 9 h 36"/>
                <a:gd name="T14" fmla="*/ 19 w 30"/>
                <a:gd name="T15" fmla="*/ 9 h 36"/>
                <a:gd name="T16" fmla="*/ 21 w 30"/>
                <a:gd name="T17" fmla="*/ 6 h 36"/>
                <a:gd name="T18" fmla="*/ 21 w 30"/>
                <a:gd name="T19" fmla="*/ 3 h 36"/>
                <a:gd name="T20" fmla="*/ 18 w 30"/>
                <a:gd name="T21" fmla="*/ 2 h 36"/>
                <a:gd name="T22" fmla="*/ 17 w 30"/>
                <a:gd name="T23" fmla="*/ 3 h 36"/>
                <a:gd name="T24" fmla="*/ 15 w 30"/>
                <a:gd name="T25" fmla="*/ 2 h 36"/>
                <a:gd name="T26" fmla="*/ 16 w 30"/>
                <a:gd name="T27" fmla="*/ 5 h 36"/>
                <a:gd name="T28" fmla="*/ 13 w 30"/>
                <a:gd name="T29" fmla="*/ 4 h 36"/>
                <a:gd name="T30" fmla="*/ 12 w 30"/>
                <a:gd name="T31" fmla="*/ 1 h 36"/>
                <a:gd name="T32" fmla="*/ 11 w 30"/>
                <a:gd name="T33" fmla="*/ 4 h 36"/>
                <a:gd name="T34" fmla="*/ 10 w 30"/>
                <a:gd name="T35" fmla="*/ 5 h 36"/>
                <a:gd name="T36" fmla="*/ 24 w 30"/>
                <a:gd name="T37" fmla="*/ 11 h 36"/>
                <a:gd name="T38" fmla="*/ 25 w 30"/>
                <a:gd name="T39" fmla="*/ 11 h 36"/>
                <a:gd name="T40" fmla="*/ 23 w 30"/>
                <a:gd name="T41" fmla="*/ 12 h 36"/>
                <a:gd name="T42" fmla="*/ 18 w 30"/>
                <a:gd name="T43" fmla="*/ 16 h 36"/>
                <a:gd name="T44" fmla="*/ 21 w 30"/>
                <a:gd name="T45" fmla="*/ 18 h 36"/>
                <a:gd name="T46" fmla="*/ 18 w 30"/>
                <a:gd name="T47" fmla="*/ 20 h 36"/>
                <a:gd name="T48" fmla="*/ 15 w 30"/>
                <a:gd name="T49" fmla="*/ 20 h 36"/>
                <a:gd name="T50" fmla="*/ 15 w 30"/>
                <a:gd name="T51" fmla="*/ 17 h 36"/>
                <a:gd name="T52" fmla="*/ 14 w 30"/>
                <a:gd name="T53" fmla="*/ 14 h 36"/>
                <a:gd name="T54" fmla="*/ 16 w 30"/>
                <a:gd name="T55" fmla="*/ 15 h 36"/>
                <a:gd name="T56" fmla="*/ 15 w 30"/>
                <a:gd name="T57" fmla="*/ 13 h 36"/>
                <a:gd name="T58" fmla="*/ 1 w 30"/>
                <a:gd name="T59" fmla="*/ 15 h 36"/>
                <a:gd name="T60" fmla="*/ 1 w 30"/>
                <a:gd name="T61" fmla="*/ 14 h 36"/>
                <a:gd name="T62" fmla="*/ 10 w 30"/>
                <a:gd name="T63" fmla="*/ 25 h 36"/>
                <a:gd name="T64" fmla="*/ 9 w 30"/>
                <a:gd name="T65" fmla="*/ 23 h 36"/>
                <a:gd name="T66" fmla="*/ 7 w 30"/>
                <a:gd name="T67" fmla="*/ 22 h 36"/>
                <a:gd name="T68" fmla="*/ 6 w 30"/>
                <a:gd name="T69" fmla="*/ 20 h 36"/>
                <a:gd name="T70" fmla="*/ 8 w 30"/>
                <a:gd name="T71" fmla="*/ 20 h 36"/>
                <a:gd name="T72" fmla="*/ 9 w 30"/>
                <a:gd name="T73" fmla="*/ 18 h 36"/>
                <a:gd name="T74" fmla="*/ 8 w 30"/>
                <a:gd name="T75" fmla="*/ 18 h 36"/>
                <a:gd name="T76" fmla="*/ 5 w 30"/>
                <a:gd name="T77" fmla="*/ 18 h 36"/>
                <a:gd name="T78" fmla="*/ 7 w 30"/>
                <a:gd name="T79" fmla="*/ 16 h 36"/>
                <a:gd name="T80" fmla="*/ 9 w 30"/>
                <a:gd name="T81" fmla="*/ 14 h 36"/>
                <a:gd name="T82" fmla="*/ 7 w 30"/>
                <a:gd name="T83" fmla="*/ 15 h 36"/>
                <a:gd name="T84" fmla="*/ 7 w 30"/>
                <a:gd name="T85" fmla="*/ 13 h 36"/>
                <a:gd name="T86" fmla="*/ 6 w 30"/>
                <a:gd name="T87" fmla="*/ 15 h 36"/>
                <a:gd name="T88" fmla="*/ 3 w 30"/>
                <a:gd name="T89" fmla="*/ 15 h 36"/>
                <a:gd name="T90" fmla="*/ 2 w 30"/>
                <a:gd name="T91" fmla="*/ 13 h 36"/>
                <a:gd name="T92" fmla="*/ 2 w 30"/>
                <a:gd name="T93" fmla="*/ 12 h 36"/>
                <a:gd name="T94" fmla="*/ 2 w 30"/>
                <a:gd name="T95" fmla="*/ 10 h 36"/>
                <a:gd name="T96" fmla="*/ 0 w 30"/>
                <a:gd name="T97" fmla="*/ 8 h 36"/>
                <a:gd name="T98" fmla="*/ 2 w 30"/>
                <a:gd name="T99" fmla="*/ 7 h 36"/>
                <a:gd name="T100" fmla="*/ 4 w 30"/>
                <a:gd name="T101" fmla="*/ 7 h 36"/>
                <a:gd name="T102" fmla="*/ 4 w 30"/>
                <a:gd name="T103" fmla="*/ 8 h 36"/>
                <a:gd name="T104" fmla="*/ 5 w 30"/>
                <a:gd name="T105" fmla="*/ 10 h 36"/>
                <a:gd name="T106" fmla="*/ 6 w 30"/>
                <a:gd name="T107" fmla="*/ 9 h 36"/>
                <a:gd name="T108" fmla="*/ 8 w 30"/>
                <a:gd name="T109" fmla="*/ 12 h 36"/>
                <a:gd name="T110" fmla="*/ 7 w 30"/>
                <a:gd name="T111" fmla="*/ 6 h 36"/>
                <a:gd name="T112" fmla="*/ 10 w 30"/>
                <a:gd name="T113" fmla="*/ 7 h 36"/>
                <a:gd name="T114" fmla="*/ 11 w 30"/>
                <a:gd name="T115" fmla="*/ 8 h 36"/>
                <a:gd name="T116" fmla="*/ 15 w 30"/>
                <a:gd name="T117" fmla="*/ 12 h 36"/>
                <a:gd name="T118" fmla="*/ 13 w 30"/>
                <a:gd name="T119" fmla="*/ 14 h 36"/>
                <a:gd name="T120" fmla="*/ 12 w 30"/>
                <a:gd name="T121" fmla="*/ 18 h 36"/>
                <a:gd name="T122" fmla="*/ 11 w 30"/>
                <a:gd name="T123" fmla="*/ 21 h 36"/>
                <a:gd name="T124" fmla="*/ 15 w 30"/>
                <a:gd name="T1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" h="36"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lose/>
                  <a:moveTo>
                    <a:pt x="22" y="3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lose/>
                  <a:moveTo>
                    <a:pt x="12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  <a:moveTo>
                    <a:pt x="10" y="4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lose/>
                  <a:moveTo>
                    <a:pt x="12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2" y="13"/>
                    <a:pt x="22" y="13"/>
                    <a:pt x="22" y="13"/>
                  </a:cubicBezTo>
                  <a:close/>
                  <a:moveTo>
                    <a:pt x="15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lose/>
                  <a:moveTo>
                    <a:pt x="13" y="10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2" y="16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lose/>
                  <a:moveTo>
                    <a:pt x="10" y="25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292E6609-0069-4C5C-B910-3FCB83416E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5414" y="3864621"/>
              <a:ext cx="324330" cy="629927"/>
            </a:xfrm>
            <a:custGeom>
              <a:avLst/>
              <a:gdLst>
                <a:gd name="T0" fmla="*/ 109 w 277"/>
                <a:gd name="T1" fmla="*/ 261 h 538"/>
                <a:gd name="T2" fmla="*/ 8 w 277"/>
                <a:gd name="T3" fmla="*/ 530 h 538"/>
                <a:gd name="T4" fmla="*/ 59 w 277"/>
                <a:gd name="T5" fmla="*/ 488 h 538"/>
                <a:gd name="T6" fmla="*/ 59 w 277"/>
                <a:gd name="T7" fmla="*/ 488 h 538"/>
                <a:gd name="T8" fmla="*/ 76 w 277"/>
                <a:gd name="T9" fmla="*/ 446 h 538"/>
                <a:gd name="T10" fmla="*/ 84 w 277"/>
                <a:gd name="T11" fmla="*/ 446 h 538"/>
                <a:gd name="T12" fmla="*/ 193 w 277"/>
                <a:gd name="T13" fmla="*/ 118 h 538"/>
                <a:gd name="T14" fmla="*/ 185 w 277"/>
                <a:gd name="T15" fmla="*/ 75 h 538"/>
                <a:gd name="T16" fmla="*/ 193 w 277"/>
                <a:gd name="T17" fmla="*/ 67 h 538"/>
                <a:gd name="T18" fmla="*/ 193 w 277"/>
                <a:gd name="T19" fmla="*/ 42 h 538"/>
                <a:gd name="T20" fmla="*/ 193 w 277"/>
                <a:gd name="T21" fmla="*/ 0 h 538"/>
                <a:gd name="T22" fmla="*/ 244 w 277"/>
                <a:gd name="T23" fmla="*/ 42 h 538"/>
                <a:gd name="T24" fmla="*/ 260 w 277"/>
                <a:gd name="T25" fmla="*/ 42 h 538"/>
                <a:gd name="T26" fmla="*/ 269 w 277"/>
                <a:gd name="T27" fmla="*/ 59 h 538"/>
                <a:gd name="T28" fmla="*/ 244 w 277"/>
                <a:gd name="T29" fmla="*/ 84 h 538"/>
                <a:gd name="T30" fmla="*/ 210 w 277"/>
                <a:gd name="T31" fmla="*/ 84 h 538"/>
                <a:gd name="T32" fmla="*/ 202 w 277"/>
                <a:gd name="T33" fmla="*/ 92 h 538"/>
                <a:gd name="T34" fmla="*/ 193 w 277"/>
                <a:gd name="T35" fmla="*/ 118 h 538"/>
                <a:gd name="T36" fmla="*/ 193 w 277"/>
                <a:gd name="T37" fmla="*/ 202 h 538"/>
                <a:gd name="T38" fmla="*/ 59 w 277"/>
                <a:gd name="T39" fmla="*/ 336 h 538"/>
                <a:gd name="T40" fmla="*/ 50 w 277"/>
                <a:gd name="T41" fmla="*/ 345 h 538"/>
                <a:gd name="T42" fmla="*/ 50 w 277"/>
                <a:gd name="T43" fmla="*/ 345 h 538"/>
                <a:gd name="T44" fmla="*/ 76 w 277"/>
                <a:gd name="T45" fmla="*/ 353 h 538"/>
                <a:gd name="T46" fmla="*/ 76 w 277"/>
                <a:gd name="T47" fmla="*/ 345 h 538"/>
                <a:gd name="T48" fmla="*/ 134 w 277"/>
                <a:gd name="T49" fmla="*/ 303 h 538"/>
                <a:gd name="T50" fmla="*/ 126 w 277"/>
                <a:gd name="T51" fmla="*/ 336 h 538"/>
                <a:gd name="T52" fmla="*/ 151 w 277"/>
                <a:gd name="T53" fmla="*/ 311 h 538"/>
                <a:gd name="T54" fmla="*/ 118 w 277"/>
                <a:gd name="T55" fmla="*/ 311 h 538"/>
                <a:gd name="T56" fmla="*/ 118 w 277"/>
                <a:gd name="T57" fmla="*/ 336 h 538"/>
                <a:gd name="T58" fmla="*/ 101 w 277"/>
                <a:gd name="T59" fmla="*/ 395 h 538"/>
                <a:gd name="T60" fmla="*/ 101 w 277"/>
                <a:gd name="T61" fmla="*/ 370 h 538"/>
                <a:gd name="T62" fmla="*/ 109 w 277"/>
                <a:gd name="T63" fmla="*/ 336 h 538"/>
                <a:gd name="T64" fmla="*/ 92 w 277"/>
                <a:gd name="T65" fmla="*/ 319 h 538"/>
                <a:gd name="T66" fmla="*/ 109 w 277"/>
                <a:gd name="T67" fmla="*/ 303 h 538"/>
                <a:gd name="T68" fmla="*/ 134 w 277"/>
                <a:gd name="T69" fmla="*/ 294 h 538"/>
                <a:gd name="T70" fmla="*/ 151 w 277"/>
                <a:gd name="T71" fmla="*/ 311 h 538"/>
                <a:gd name="T72" fmla="*/ 176 w 277"/>
                <a:gd name="T73" fmla="*/ 303 h 538"/>
                <a:gd name="T74" fmla="*/ 185 w 277"/>
                <a:gd name="T75" fmla="*/ 286 h 538"/>
                <a:gd name="T76" fmla="*/ 193 w 277"/>
                <a:gd name="T77" fmla="*/ 286 h 538"/>
                <a:gd name="T78" fmla="*/ 218 w 277"/>
                <a:gd name="T79" fmla="*/ 286 h 538"/>
                <a:gd name="T80" fmla="*/ 227 w 277"/>
                <a:gd name="T81" fmla="*/ 269 h 538"/>
                <a:gd name="T82" fmla="*/ 244 w 277"/>
                <a:gd name="T83" fmla="*/ 252 h 538"/>
                <a:gd name="T84" fmla="*/ 244 w 277"/>
                <a:gd name="T85" fmla="*/ 193 h 538"/>
                <a:gd name="T86" fmla="*/ 244 w 277"/>
                <a:gd name="T87" fmla="*/ 168 h 538"/>
                <a:gd name="T88" fmla="*/ 218 w 277"/>
                <a:gd name="T89" fmla="*/ 118 h 538"/>
                <a:gd name="T90" fmla="*/ 218 w 277"/>
                <a:gd name="T91" fmla="*/ 126 h 538"/>
                <a:gd name="T92" fmla="*/ 202 w 277"/>
                <a:gd name="T93" fmla="*/ 118 h 538"/>
                <a:gd name="T94" fmla="*/ 193 w 277"/>
                <a:gd name="T95" fmla="*/ 151 h 538"/>
                <a:gd name="T96" fmla="*/ 193 w 277"/>
                <a:gd name="T97" fmla="*/ 210 h 538"/>
                <a:gd name="T98" fmla="*/ 168 w 277"/>
                <a:gd name="T99" fmla="*/ 227 h 538"/>
                <a:gd name="T100" fmla="*/ 160 w 277"/>
                <a:gd name="T101" fmla="*/ 252 h 538"/>
                <a:gd name="T102" fmla="*/ 151 w 277"/>
                <a:gd name="T103" fmla="*/ 269 h 538"/>
                <a:gd name="T104" fmla="*/ 118 w 277"/>
                <a:gd name="T105" fmla="*/ 277 h 538"/>
                <a:gd name="T106" fmla="*/ 84 w 277"/>
                <a:gd name="T107" fmla="*/ 303 h 538"/>
                <a:gd name="T108" fmla="*/ 67 w 277"/>
                <a:gd name="T109" fmla="*/ 328 h 538"/>
                <a:gd name="T110" fmla="*/ 67 w 277"/>
                <a:gd name="T111" fmla="*/ 345 h 538"/>
                <a:gd name="T112" fmla="*/ 76 w 277"/>
                <a:gd name="T113" fmla="*/ 336 h 538"/>
                <a:gd name="T114" fmla="*/ 84 w 277"/>
                <a:gd name="T115" fmla="*/ 370 h 538"/>
                <a:gd name="T116" fmla="*/ 92 w 277"/>
                <a:gd name="T117" fmla="*/ 37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7" h="538">
                  <a:moveTo>
                    <a:pt x="109" y="261"/>
                  </a:move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close/>
                  <a:moveTo>
                    <a:pt x="109" y="261"/>
                  </a:moveTo>
                  <a:lnTo>
                    <a:pt x="109" y="261"/>
                  </a:lnTo>
                  <a:lnTo>
                    <a:pt x="109" y="252"/>
                  </a:lnTo>
                  <a:lnTo>
                    <a:pt x="118" y="252"/>
                  </a:lnTo>
                  <a:lnTo>
                    <a:pt x="118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close/>
                  <a:moveTo>
                    <a:pt x="0" y="538"/>
                  </a:move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close/>
                  <a:moveTo>
                    <a:pt x="0" y="530"/>
                  </a:moveTo>
                  <a:lnTo>
                    <a:pt x="8" y="530"/>
                  </a:lnTo>
                  <a:lnTo>
                    <a:pt x="8" y="530"/>
                  </a:lnTo>
                  <a:lnTo>
                    <a:pt x="8" y="538"/>
                  </a:lnTo>
                  <a:lnTo>
                    <a:pt x="8" y="538"/>
                  </a:lnTo>
                  <a:lnTo>
                    <a:pt x="0" y="530"/>
                  </a:lnTo>
                  <a:lnTo>
                    <a:pt x="0" y="530"/>
                  </a:lnTo>
                  <a:close/>
                  <a:moveTo>
                    <a:pt x="17" y="521"/>
                  </a:moveTo>
                  <a:lnTo>
                    <a:pt x="17" y="521"/>
                  </a:lnTo>
                  <a:lnTo>
                    <a:pt x="25" y="530"/>
                  </a:lnTo>
                  <a:lnTo>
                    <a:pt x="25" y="530"/>
                  </a:lnTo>
                  <a:lnTo>
                    <a:pt x="25" y="521"/>
                  </a:lnTo>
                  <a:lnTo>
                    <a:pt x="17" y="521"/>
                  </a:lnTo>
                  <a:lnTo>
                    <a:pt x="17" y="521"/>
                  </a:lnTo>
                  <a:close/>
                  <a:moveTo>
                    <a:pt x="59" y="488"/>
                  </a:moveTo>
                  <a:lnTo>
                    <a:pt x="59" y="488"/>
                  </a:lnTo>
                  <a:lnTo>
                    <a:pt x="59" y="488"/>
                  </a:lnTo>
                  <a:lnTo>
                    <a:pt x="59" y="479"/>
                  </a:lnTo>
                  <a:lnTo>
                    <a:pt x="59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88"/>
                  </a:lnTo>
                  <a:lnTo>
                    <a:pt x="59" y="488"/>
                  </a:lnTo>
                  <a:lnTo>
                    <a:pt x="59" y="488"/>
                  </a:lnTo>
                  <a:lnTo>
                    <a:pt x="59" y="488"/>
                  </a:lnTo>
                  <a:lnTo>
                    <a:pt x="59" y="488"/>
                  </a:lnTo>
                  <a:close/>
                  <a:moveTo>
                    <a:pt x="76" y="454"/>
                  </a:moveTo>
                  <a:lnTo>
                    <a:pt x="76" y="454"/>
                  </a:lnTo>
                  <a:lnTo>
                    <a:pt x="76" y="462"/>
                  </a:lnTo>
                  <a:lnTo>
                    <a:pt x="76" y="462"/>
                  </a:lnTo>
                  <a:lnTo>
                    <a:pt x="76" y="462"/>
                  </a:lnTo>
                  <a:lnTo>
                    <a:pt x="76" y="454"/>
                  </a:lnTo>
                  <a:lnTo>
                    <a:pt x="76" y="454"/>
                  </a:lnTo>
                  <a:lnTo>
                    <a:pt x="76" y="454"/>
                  </a:lnTo>
                  <a:close/>
                  <a:moveTo>
                    <a:pt x="84" y="446"/>
                  </a:moveTo>
                  <a:lnTo>
                    <a:pt x="84" y="446"/>
                  </a:lnTo>
                  <a:lnTo>
                    <a:pt x="76" y="446"/>
                  </a:lnTo>
                  <a:lnTo>
                    <a:pt x="76" y="446"/>
                  </a:lnTo>
                  <a:lnTo>
                    <a:pt x="76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close/>
                  <a:moveTo>
                    <a:pt x="176" y="101"/>
                  </a:moveTo>
                  <a:lnTo>
                    <a:pt x="168" y="101"/>
                  </a:lnTo>
                  <a:lnTo>
                    <a:pt x="168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close/>
                  <a:moveTo>
                    <a:pt x="193" y="118"/>
                  </a:moveTo>
                  <a:lnTo>
                    <a:pt x="193" y="118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93" y="101"/>
                  </a:lnTo>
                  <a:lnTo>
                    <a:pt x="185" y="101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193" y="59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202" y="50"/>
                  </a:lnTo>
                  <a:lnTo>
                    <a:pt x="202" y="42"/>
                  </a:lnTo>
                  <a:lnTo>
                    <a:pt x="193" y="42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85" y="17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93" y="8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10" y="1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33"/>
                  </a:lnTo>
                  <a:lnTo>
                    <a:pt x="227" y="33"/>
                  </a:lnTo>
                  <a:lnTo>
                    <a:pt x="227" y="33"/>
                  </a:lnTo>
                  <a:lnTo>
                    <a:pt x="235" y="33"/>
                  </a:lnTo>
                  <a:lnTo>
                    <a:pt x="235" y="33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52" y="42"/>
                  </a:lnTo>
                  <a:lnTo>
                    <a:pt x="252" y="33"/>
                  </a:lnTo>
                  <a:lnTo>
                    <a:pt x="260" y="33"/>
                  </a:lnTo>
                  <a:lnTo>
                    <a:pt x="260" y="25"/>
                  </a:lnTo>
                  <a:lnTo>
                    <a:pt x="260" y="25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50"/>
                  </a:lnTo>
                  <a:lnTo>
                    <a:pt x="269" y="50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0"/>
                  </a:lnTo>
                  <a:lnTo>
                    <a:pt x="277" y="50"/>
                  </a:lnTo>
                  <a:lnTo>
                    <a:pt x="277" y="50"/>
                  </a:lnTo>
                  <a:lnTo>
                    <a:pt x="277" y="50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44" y="75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02" y="84"/>
                  </a:lnTo>
                  <a:lnTo>
                    <a:pt x="202" y="84"/>
                  </a:lnTo>
                  <a:lnTo>
                    <a:pt x="202" y="84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202" y="92"/>
                  </a:lnTo>
                  <a:lnTo>
                    <a:pt x="202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9"/>
                  </a:lnTo>
                  <a:lnTo>
                    <a:pt x="202" y="109"/>
                  </a:lnTo>
                  <a:lnTo>
                    <a:pt x="202" y="101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193" y="118"/>
                  </a:lnTo>
                  <a:lnTo>
                    <a:pt x="193" y="118"/>
                  </a:lnTo>
                  <a:close/>
                  <a:moveTo>
                    <a:pt x="185" y="210"/>
                  </a:moveTo>
                  <a:lnTo>
                    <a:pt x="185" y="210"/>
                  </a:lnTo>
                  <a:lnTo>
                    <a:pt x="193" y="210"/>
                  </a:lnTo>
                  <a:lnTo>
                    <a:pt x="185" y="210"/>
                  </a:lnTo>
                  <a:lnTo>
                    <a:pt x="185" y="210"/>
                  </a:lnTo>
                  <a:lnTo>
                    <a:pt x="185" y="210"/>
                  </a:lnTo>
                  <a:lnTo>
                    <a:pt x="185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85" y="210"/>
                  </a:lnTo>
                  <a:lnTo>
                    <a:pt x="185" y="210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0" y="336"/>
                  </a:moveTo>
                  <a:lnTo>
                    <a:pt x="50" y="345"/>
                  </a:lnTo>
                  <a:lnTo>
                    <a:pt x="59" y="336"/>
                  </a:lnTo>
                  <a:lnTo>
                    <a:pt x="50" y="336"/>
                  </a:lnTo>
                  <a:lnTo>
                    <a:pt x="50" y="336"/>
                  </a:lnTo>
                  <a:close/>
                  <a:moveTo>
                    <a:pt x="50" y="345"/>
                  </a:move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9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close/>
                  <a:moveTo>
                    <a:pt x="76" y="353"/>
                  </a:moveTo>
                  <a:lnTo>
                    <a:pt x="76" y="345"/>
                  </a:lnTo>
                  <a:lnTo>
                    <a:pt x="76" y="345"/>
                  </a:lnTo>
                  <a:lnTo>
                    <a:pt x="84" y="345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close/>
                  <a:moveTo>
                    <a:pt x="76" y="353"/>
                  </a:move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close/>
                  <a:moveTo>
                    <a:pt x="76" y="345"/>
                  </a:moveTo>
                  <a:lnTo>
                    <a:pt x="76" y="345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close/>
                  <a:moveTo>
                    <a:pt x="151" y="303"/>
                  </a:moveTo>
                  <a:lnTo>
                    <a:pt x="151" y="303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close/>
                  <a:moveTo>
                    <a:pt x="134" y="303"/>
                  </a:moveTo>
                  <a:lnTo>
                    <a:pt x="143" y="294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34" y="303"/>
                  </a:lnTo>
                  <a:lnTo>
                    <a:pt x="134" y="303"/>
                  </a:lnTo>
                  <a:close/>
                  <a:moveTo>
                    <a:pt x="118" y="336"/>
                  </a:move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34" y="319"/>
                  </a:lnTo>
                  <a:lnTo>
                    <a:pt x="134" y="319"/>
                  </a:lnTo>
                  <a:lnTo>
                    <a:pt x="134" y="319"/>
                  </a:lnTo>
                  <a:lnTo>
                    <a:pt x="143" y="319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19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11"/>
                  </a:lnTo>
                  <a:lnTo>
                    <a:pt x="126" y="311"/>
                  </a:lnTo>
                  <a:lnTo>
                    <a:pt x="126" y="311"/>
                  </a:lnTo>
                  <a:lnTo>
                    <a:pt x="126" y="311"/>
                  </a:lnTo>
                  <a:lnTo>
                    <a:pt x="118" y="311"/>
                  </a:lnTo>
                  <a:lnTo>
                    <a:pt x="118" y="311"/>
                  </a:lnTo>
                  <a:lnTo>
                    <a:pt x="118" y="311"/>
                  </a:lnTo>
                  <a:lnTo>
                    <a:pt x="109" y="311"/>
                  </a:lnTo>
                  <a:lnTo>
                    <a:pt x="109" y="319"/>
                  </a:lnTo>
                  <a:lnTo>
                    <a:pt x="109" y="319"/>
                  </a:lnTo>
                  <a:lnTo>
                    <a:pt x="109" y="319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close/>
                  <a:moveTo>
                    <a:pt x="101" y="395"/>
                  </a:moveTo>
                  <a:lnTo>
                    <a:pt x="92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2" y="404"/>
                  </a:lnTo>
                  <a:lnTo>
                    <a:pt x="101" y="404"/>
                  </a:lnTo>
                  <a:lnTo>
                    <a:pt x="101" y="404"/>
                  </a:lnTo>
                  <a:lnTo>
                    <a:pt x="101" y="395"/>
                  </a:lnTo>
                  <a:lnTo>
                    <a:pt x="101" y="395"/>
                  </a:lnTo>
                  <a:close/>
                  <a:moveTo>
                    <a:pt x="101" y="395"/>
                  </a:moveTo>
                  <a:lnTo>
                    <a:pt x="101" y="387"/>
                  </a:lnTo>
                  <a:lnTo>
                    <a:pt x="101" y="387"/>
                  </a:lnTo>
                  <a:lnTo>
                    <a:pt x="101" y="387"/>
                  </a:lnTo>
                  <a:lnTo>
                    <a:pt x="101" y="387"/>
                  </a:lnTo>
                  <a:lnTo>
                    <a:pt x="101" y="395"/>
                  </a:lnTo>
                  <a:lnTo>
                    <a:pt x="101" y="395"/>
                  </a:lnTo>
                  <a:lnTo>
                    <a:pt x="101" y="395"/>
                  </a:lnTo>
                  <a:close/>
                  <a:moveTo>
                    <a:pt x="92" y="387"/>
                  </a:moveTo>
                  <a:lnTo>
                    <a:pt x="101" y="378"/>
                  </a:lnTo>
                  <a:lnTo>
                    <a:pt x="101" y="378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61"/>
                  </a:lnTo>
                  <a:lnTo>
                    <a:pt x="101" y="361"/>
                  </a:lnTo>
                  <a:lnTo>
                    <a:pt x="101" y="353"/>
                  </a:lnTo>
                  <a:lnTo>
                    <a:pt x="101" y="345"/>
                  </a:lnTo>
                  <a:lnTo>
                    <a:pt x="109" y="345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1" y="336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19"/>
                  </a:lnTo>
                  <a:lnTo>
                    <a:pt x="101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92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18" y="303"/>
                  </a:lnTo>
                  <a:lnTo>
                    <a:pt x="118" y="303"/>
                  </a:lnTo>
                  <a:lnTo>
                    <a:pt x="126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294"/>
                  </a:lnTo>
                  <a:lnTo>
                    <a:pt x="134" y="294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51" y="294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60" y="311"/>
                  </a:lnTo>
                  <a:lnTo>
                    <a:pt x="160" y="311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03"/>
                  </a:lnTo>
                  <a:lnTo>
                    <a:pt x="176" y="303"/>
                  </a:lnTo>
                  <a:lnTo>
                    <a:pt x="176" y="303"/>
                  </a:lnTo>
                  <a:lnTo>
                    <a:pt x="185" y="303"/>
                  </a:lnTo>
                  <a:lnTo>
                    <a:pt x="185" y="303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76" y="294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93" y="294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93" y="294"/>
                  </a:lnTo>
                  <a:lnTo>
                    <a:pt x="193" y="286"/>
                  </a:lnTo>
                  <a:lnTo>
                    <a:pt x="202" y="294"/>
                  </a:lnTo>
                  <a:lnTo>
                    <a:pt x="210" y="286"/>
                  </a:lnTo>
                  <a:lnTo>
                    <a:pt x="210" y="286"/>
                  </a:lnTo>
                  <a:lnTo>
                    <a:pt x="202" y="286"/>
                  </a:lnTo>
                  <a:lnTo>
                    <a:pt x="210" y="277"/>
                  </a:lnTo>
                  <a:lnTo>
                    <a:pt x="210" y="277"/>
                  </a:lnTo>
                  <a:lnTo>
                    <a:pt x="210" y="277"/>
                  </a:lnTo>
                  <a:lnTo>
                    <a:pt x="210" y="286"/>
                  </a:lnTo>
                  <a:lnTo>
                    <a:pt x="210" y="28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8" y="277"/>
                  </a:lnTo>
                  <a:lnTo>
                    <a:pt x="218" y="277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1"/>
                  </a:lnTo>
                  <a:lnTo>
                    <a:pt x="227" y="261"/>
                  </a:lnTo>
                  <a:lnTo>
                    <a:pt x="227" y="261"/>
                  </a:lnTo>
                  <a:lnTo>
                    <a:pt x="235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86"/>
                  </a:lnTo>
                  <a:lnTo>
                    <a:pt x="235" y="286"/>
                  </a:lnTo>
                  <a:lnTo>
                    <a:pt x="235" y="277"/>
                  </a:lnTo>
                  <a:lnTo>
                    <a:pt x="235" y="277"/>
                  </a:lnTo>
                  <a:lnTo>
                    <a:pt x="235" y="277"/>
                  </a:lnTo>
                  <a:lnTo>
                    <a:pt x="244" y="277"/>
                  </a:lnTo>
                  <a:lnTo>
                    <a:pt x="244" y="269"/>
                  </a:lnTo>
                  <a:lnTo>
                    <a:pt x="244" y="269"/>
                  </a:lnTo>
                  <a:lnTo>
                    <a:pt x="244" y="261"/>
                  </a:lnTo>
                  <a:lnTo>
                    <a:pt x="244" y="261"/>
                  </a:lnTo>
                  <a:lnTo>
                    <a:pt x="244" y="261"/>
                  </a:lnTo>
                  <a:lnTo>
                    <a:pt x="244" y="252"/>
                  </a:lnTo>
                  <a:lnTo>
                    <a:pt x="235" y="252"/>
                  </a:lnTo>
                  <a:lnTo>
                    <a:pt x="235" y="244"/>
                  </a:lnTo>
                  <a:lnTo>
                    <a:pt x="235" y="227"/>
                  </a:lnTo>
                  <a:lnTo>
                    <a:pt x="235" y="227"/>
                  </a:lnTo>
                  <a:lnTo>
                    <a:pt x="235" y="210"/>
                  </a:lnTo>
                  <a:lnTo>
                    <a:pt x="235" y="210"/>
                  </a:lnTo>
                  <a:lnTo>
                    <a:pt x="227" y="202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76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44" y="168"/>
                  </a:lnTo>
                  <a:lnTo>
                    <a:pt x="235" y="168"/>
                  </a:lnTo>
                  <a:lnTo>
                    <a:pt x="244" y="168"/>
                  </a:lnTo>
                  <a:lnTo>
                    <a:pt x="235" y="160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27" y="143"/>
                  </a:lnTo>
                  <a:lnTo>
                    <a:pt x="227" y="134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26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8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34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193" y="134"/>
                  </a:lnTo>
                  <a:lnTo>
                    <a:pt x="193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60"/>
                  </a:lnTo>
                  <a:lnTo>
                    <a:pt x="202" y="160"/>
                  </a:lnTo>
                  <a:lnTo>
                    <a:pt x="202" y="151"/>
                  </a:lnTo>
                  <a:lnTo>
                    <a:pt x="202" y="160"/>
                  </a:lnTo>
                  <a:lnTo>
                    <a:pt x="210" y="168"/>
                  </a:lnTo>
                  <a:lnTo>
                    <a:pt x="202" y="176"/>
                  </a:lnTo>
                  <a:lnTo>
                    <a:pt x="210" y="185"/>
                  </a:lnTo>
                  <a:lnTo>
                    <a:pt x="202" y="193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10"/>
                  </a:lnTo>
                  <a:lnTo>
                    <a:pt x="193" y="210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27"/>
                  </a:lnTo>
                  <a:lnTo>
                    <a:pt x="193" y="227"/>
                  </a:lnTo>
                  <a:lnTo>
                    <a:pt x="185" y="235"/>
                  </a:lnTo>
                  <a:lnTo>
                    <a:pt x="176" y="235"/>
                  </a:lnTo>
                  <a:lnTo>
                    <a:pt x="176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68" y="218"/>
                  </a:lnTo>
                  <a:lnTo>
                    <a:pt x="168" y="227"/>
                  </a:lnTo>
                  <a:lnTo>
                    <a:pt x="160" y="227"/>
                  </a:lnTo>
                  <a:lnTo>
                    <a:pt x="160" y="227"/>
                  </a:lnTo>
                  <a:lnTo>
                    <a:pt x="168" y="235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61"/>
                  </a:lnTo>
                  <a:lnTo>
                    <a:pt x="160" y="261"/>
                  </a:lnTo>
                  <a:lnTo>
                    <a:pt x="160" y="261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18" y="277"/>
                  </a:lnTo>
                  <a:lnTo>
                    <a:pt x="118" y="277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84" y="336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76" y="353"/>
                  </a:lnTo>
                  <a:lnTo>
                    <a:pt x="76" y="361"/>
                  </a:lnTo>
                  <a:lnTo>
                    <a:pt x="84" y="361"/>
                  </a:lnTo>
                  <a:lnTo>
                    <a:pt x="84" y="370"/>
                  </a:lnTo>
                  <a:lnTo>
                    <a:pt x="84" y="370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D1646862-D0AD-4745-944B-645812B3D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6143" y="4101137"/>
              <a:ext cx="98353" cy="156896"/>
            </a:xfrm>
            <a:custGeom>
              <a:avLst/>
              <a:gdLst>
                <a:gd name="T0" fmla="*/ 50 w 84"/>
                <a:gd name="T1" fmla="*/ 92 h 134"/>
                <a:gd name="T2" fmla="*/ 50 w 84"/>
                <a:gd name="T3" fmla="*/ 101 h 134"/>
                <a:gd name="T4" fmla="*/ 50 w 84"/>
                <a:gd name="T5" fmla="*/ 92 h 134"/>
                <a:gd name="T6" fmla="*/ 25 w 84"/>
                <a:gd name="T7" fmla="*/ 109 h 134"/>
                <a:gd name="T8" fmla="*/ 25 w 84"/>
                <a:gd name="T9" fmla="*/ 101 h 134"/>
                <a:gd name="T10" fmla="*/ 25 w 84"/>
                <a:gd name="T11" fmla="*/ 101 h 134"/>
                <a:gd name="T12" fmla="*/ 25 w 84"/>
                <a:gd name="T13" fmla="*/ 109 h 134"/>
                <a:gd name="T14" fmla="*/ 25 w 84"/>
                <a:gd name="T15" fmla="*/ 109 h 134"/>
                <a:gd name="T16" fmla="*/ 58 w 84"/>
                <a:gd name="T17" fmla="*/ 92 h 134"/>
                <a:gd name="T18" fmla="*/ 67 w 84"/>
                <a:gd name="T19" fmla="*/ 92 h 134"/>
                <a:gd name="T20" fmla="*/ 67 w 84"/>
                <a:gd name="T21" fmla="*/ 92 h 134"/>
                <a:gd name="T22" fmla="*/ 67 w 84"/>
                <a:gd name="T23" fmla="*/ 92 h 134"/>
                <a:gd name="T24" fmla="*/ 75 w 84"/>
                <a:gd name="T25" fmla="*/ 109 h 134"/>
                <a:gd name="T26" fmla="*/ 75 w 84"/>
                <a:gd name="T27" fmla="*/ 109 h 134"/>
                <a:gd name="T28" fmla="*/ 75 w 84"/>
                <a:gd name="T29" fmla="*/ 109 h 134"/>
                <a:gd name="T30" fmla="*/ 75 w 84"/>
                <a:gd name="T31" fmla="*/ 109 h 134"/>
                <a:gd name="T32" fmla="*/ 75 w 84"/>
                <a:gd name="T33" fmla="*/ 101 h 134"/>
                <a:gd name="T34" fmla="*/ 75 w 84"/>
                <a:gd name="T35" fmla="*/ 101 h 134"/>
                <a:gd name="T36" fmla="*/ 75 w 84"/>
                <a:gd name="T37" fmla="*/ 101 h 134"/>
                <a:gd name="T38" fmla="*/ 84 w 84"/>
                <a:gd name="T39" fmla="*/ 101 h 134"/>
                <a:gd name="T40" fmla="*/ 75 w 84"/>
                <a:gd name="T41" fmla="*/ 101 h 134"/>
                <a:gd name="T42" fmla="*/ 33 w 84"/>
                <a:gd name="T43" fmla="*/ 134 h 134"/>
                <a:gd name="T44" fmla="*/ 33 w 84"/>
                <a:gd name="T45" fmla="*/ 126 h 134"/>
                <a:gd name="T46" fmla="*/ 42 w 84"/>
                <a:gd name="T47" fmla="*/ 126 h 134"/>
                <a:gd name="T48" fmla="*/ 42 w 84"/>
                <a:gd name="T49" fmla="*/ 134 h 134"/>
                <a:gd name="T50" fmla="*/ 33 w 84"/>
                <a:gd name="T51" fmla="*/ 134 h 134"/>
                <a:gd name="T52" fmla="*/ 0 w 84"/>
                <a:gd name="T53" fmla="*/ 25 h 134"/>
                <a:gd name="T54" fmla="*/ 8 w 84"/>
                <a:gd name="T55" fmla="*/ 25 h 134"/>
                <a:gd name="T56" fmla="*/ 8 w 84"/>
                <a:gd name="T57" fmla="*/ 25 h 134"/>
                <a:gd name="T58" fmla="*/ 16 w 84"/>
                <a:gd name="T59" fmla="*/ 42 h 134"/>
                <a:gd name="T60" fmla="*/ 16 w 84"/>
                <a:gd name="T61" fmla="*/ 42 h 134"/>
                <a:gd name="T62" fmla="*/ 25 w 84"/>
                <a:gd name="T63" fmla="*/ 50 h 134"/>
                <a:gd name="T64" fmla="*/ 16 w 84"/>
                <a:gd name="T65" fmla="*/ 42 h 134"/>
                <a:gd name="T66" fmla="*/ 16 w 84"/>
                <a:gd name="T67" fmla="*/ 42 h 134"/>
                <a:gd name="T68" fmla="*/ 16 w 84"/>
                <a:gd name="T69" fmla="*/ 50 h 134"/>
                <a:gd name="T70" fmla="*/ 25 w 84"/>
                <a:gd name="T71" fmla="*/ 59 h 134"/>
                <a:gd name="T72" fmla="*/ 25 w 84"/>
                <a:gd name="T73" fmla="*/ 67 h 134"/>
                <a:gd name="T74" fmla="*/ 25 w 84"/>
                <a:gd name="T75" fmla="*/ 67 h 134"/>
                <a:gd name="T76" fmla="*/ 25 w 84"/>
                <a:gd name="T77" fmla="*/ 75 h 134"/>
                <a:gd name="T78" fmla="*/ 25 w 84"/>
                <a:gd name="T79" fmla="*/ 84 h 134"/>
                <a:gd name="T80" fmla="*/ 25 w 84"/>
                <a:gd name="T81" fmla="*/ 84 h 134"/>
                <a:gd name="T82" fmla="*/ 25 w 84"/>
                <a:gd name="T83" fmla="*/ 92 h 134"/>
                <a:gd name="T84" fmla="*/ 25 w 84"/>
                <a:gd name="T85" fmla="*/ 101 h 134"/>
                <a:gd name="T86" fmla="*/ 33 w 84"/>
                <a:gd name="T87" fmla="*/ 101 h 134"/>
                <a:gd name="T88" fmla="*/ 33 w 84"/>
                <a:gd name="T89" fmla="*/ 101 h 134"/>
                <a:gd name="T90" fmla="*/ 33 w 84"/>
                <a:gd name="T91" fmla="*/ 101 h 134"/>
                <a:gd name="T92" fmla="*/ 42 w 84"/>
                <a:gd name="T93" fmla="*/ 92 h 134"/>
                <a:gd name="T94" fmla="*/ 50 w 84"/>
                <a:gd name="T95" fmla="*/ 92 h 134"/>
                <a:gd name="T96" fmla="*/ 50 w 84"/>
                <a:gd name="T97" fmla="*/ 92 h 134"/>
                <a:gd name="T98" fmla="*/ 58 w 84"/>
                <a:gd name="T99" fmla="*/ 92 h 134"/>
                <a:gd name="T100" fmla="*/ 58 w 84"/>
                <a:gd name="T101" fmla="*/ 92 h 134"/>
                <a:gd name="T102" fmla="*/ 67 w 84"/>
                <a:gd name="T103" fmla="*/ 84 h 134"/>
                <a:gd name="T104" fmla="*/ 75 w 84"/>
                <a:gd name="T105" fmla="*/ 84 h 134"/>
                <a:gd name="T106" fmla="*/ 75 w 84"/>
                <a:gd name="T107" fmla="*/ 75 h 134"/>
                <a:gd name="T108" fmla="*/ 75 w 84"/>
                <a:gd name="T109" fmla="*/ 67 h 134"/>
                <a:gd name="T110" fmla="*/ 67 w 84"/>
                <a:gd name="T111" fmla="*/ 59 h 134"/>
                <a:gd name="T112" fmla="*/ 67 w 84"/>
                <a:gd name="T113" fmla="*/ 50 h 134"/>
                <a:gd name="T114" fmla="*/ 58 w 84"/>
                <a:gd name="T115" fmla="*/ 25 h 134"/>
                <a:gd name="T116" fmla="*/ 42 w 84"/>
                <a:gd name="T117" fmla="*/ 0 h 134"/>
                <a:gd name="T118" fmla="*/ 16 w 84"/>
                <a:gd name="T119" fmla="*/ 8 h 134"/>
                <a:gd name="T120" fmla="*/ 8 w 84"/>
                <a:gd name="T121" fmla="*/ 16 h 134"/>
                <a:gd name="T122" fmla="*/ 0 w 84"/>
                <a:gd name="T123" fmla="*/ 2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" h="134">
                  <a:moveTo>
                    <a:pt x="50" y="92"/>
                  </a:moveTo>
                  <a:lnTo>
                    <a:pt x="50" y="92"/>
                  </a:lnTo>
                  <a:lnTo>
                    <a:pt x="50" y="92"/>
                  </a:lnTo>
                  <a:lnTo>
                    <a:pt x="50" y="101"/>
                  </a:lnTo>
                  <a:lnTo>
                    <a:pt x="50" y="92"/>
                  </a:lnTo>
                  <a:lnTo>
                    <a:pt x="50" y="92"/>
                  </a:lnTo>
                  <a:close/>
                  <a:moveTo>
                    <a:pt x="25" y="109"/>
                  </a:move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close/>
                  <a:moveTo>
                    <a:pt x="67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75" y="109"/>
                  </a:moveTo>
                  <a:lnTo>
                    <a:pt x="75" y="109"/>
                  </a:lnTo>
                  <a:lnTo>
                    <a:pt x="75" y="109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9"/>
                  </a:lnTo>
                  <a:close/>
                  <a:moveTo>
                    <a:pt x="75" y="101"/>
                  </a:moveTo>
                  <a:lnTo>
                    <a:pt x="75" y="10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75" y="101"/>
                  </a:lnTo>
                  <a:lnTo>
                    <a:pt x="75" y="101"/>
                  </a:lnTo>
                  <a:close/>
                  <a:moveTo>
                    <a:pt x="33" y="134"/>
                  </a:moveTo>
                  <a:lnTo>
                    <a:pt x="25" y="126"/>
                  </a:lnTo>
                  <a:lnTo>
                    <a:pt x="33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34"/>
                  </a:lnTo>
                  <a:close/>
                  <a:moveTo>
                    <a:pt x="0" y="25"/>
                  </a:move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6" y="33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0"/>
                  </a:lnTo>
                  <a:lnTo>
                    <a:pt x="16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9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42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75" y="84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58" y="25"/>
                  </a:lnTo>
                  <a:lnTo>
                    <a:pt x="42" y="16"/>
                  </a:lnTo>
                  <a:lnTo>
                    <a:pt x="42" y="0"/>
                  </a:lnTo>
                  <a:lnTo>
                    <a:pt x="33" y="8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2C76F9A7-7251-4570-99D7-C8B3ECA88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333" y="3972341"/>
              <a:ext cx="98353" cy="167434"/>
            </a:xfrm>
            <a:custGeom>
              <a:avLst/>
              <a:gdLst>
                <a:gd name="T0" fmla="*/ 0 w 84"/>
                <a:gd name="T1" fmla="*/ 76 h 143"/>
                <a:gd name="T2" fmla="*/ 8 w 84"/>
                <a:gd name="T3" fmla="*/ 68 h 143"/>
                <a:gd name="T4" fmla="*/ 8 w 84"/>
                <a:gd name="T5" fmla="*/ 59 h 143"/>
                <a:gd name="T6" fmla="*/ 17 w 84"/>
                <a:gd name="T7" fmla="*/ 51 h 143"/>
                <a:gd name="T8" fmla="*/ 17 w 84"/>
                <a:gd name="T9" fmla="*/ 42 h 143"/>
                <a:gd name="T10" fmla="*/ 17 w 84"/>
                <a:gd name="T11" fmla="*/ 34 h 143"/>
                <a:gd name="T12" fmla="*/ 25 w 84"/>
                <a:gd name="T13" fmla="*/ 34 h 143"/>
                <a:gd name="T14" fmla="*/ 34 w 84"/>
                <a:gd name="T15" fmla="*/ 42 h 143"/>
                <a:gd name="T16" fmla="*/ 42 w 84"/>
                <a:gd name="T17" fmla="*/ 42 h 143"/>
                <a:gd name="T18" fmla="*/ 50 w 84"/>
                <a:gd name="T19" fmla="*/ 42 h 143"/>
                <a:gd name="T20" fmla="*/ 50 w 84"/>
                <a:gd name="T21" fmla="*/ 34 h 143"/>
                <a:gd name="T22" fmla="*/ 42 w 84"/>
                <a:gd name="T23" fmla="*/ 26 h 143"/>
                <a:gd name="T24" fmla="*/ 50 w 84"/>
                <a:gd name="T25" fmla="*/ 26 h 143"/>
                <a:gd name="T26" fmla="*/ 59 w 84"/>
                <a:gd name="T27" fmla="*/ 17 h 143"/>
                <a:gd name="T28" fmla="*/ 67 w 84"/>
                <a:gd name="T29" fmla="*/ 9 h 143"/>
                <a:gd name="T30" fmla="*/ 67 w 84"/>
                <a:gd name="T31" fmla="*/ 0 h 143"/>
                <a:gd name="T32" fmla="*/ 67 w 84"/>
                <a:gd name="T33" fmla="*/ 0 h 143"/>
                <a:gd name="T34" fmla="*/ 76 w 84"/>
                <a:gd name="T35" fmla="*/ 0 h 143"/>
                <a:gd name="T36" fmla="*/ 76 w 84"/>
                <a:gd name="T37" fmla="*/ 0 h 143"/>
                <a:gd name="T38" fmla="*/ 84 w 84"/>
                <a:gd name="T39" fmla="*/ 9 h 143"/>
                <a:gd name="T40" fmla="*/ 76 w 84"/>
                <a:gd name="T41" fmla="*/ 17 h 143"/>
                <a:gd name="T42" fmla="*/ 76 w 84"/>
                <a:gd name="T43" fmla="*/ 17 h 143"/>
                <a:gd name="T44" fmla="*/ 76 w 84"/>
                <a:gd name="T45" fmla="*/ 34 h 143"/>
                <a:gd name="T46" fmla="*/ 76 w 84"/>
                <a:gd name="T47" fmla="*/ 51 h 143"/>
                <a:gd name="T48" fmla="*/ 76 w 84"/>
                <a:gd name="T49" fmla="*/ 51 h 143"/>
                <a:gd name="T50" fmla="*/ 76 w 84"/>
                <a:gd name="T51" fmla="*/ 59 h 143"/>
                <a:gd name="T52" fmla="*/ 67 w 84"/>
                <a:gd name="T53" fmla="*/ 68 h 143"/>
                <a:gd name="T54" fmla="*/ 59 w 84"/>
                <a:gd name="T55" fmla="*/ 76 h 143"/>
                <a:gd name="T56" fmla="*/ 59 w 84"/>
                <a:gd name="T57" fmla="*/ 76 h 143"/>
                <a:gd name="T58" fmla="*/ 50 w 84"/>
                <a:gd name="T59" fmla="*/ 84 h 143"/>
                <a:gd name="T60" fmla="*/ 50 w 84"/>
                <a:gd name="T61" fmla="*/ 93 h 143"/>
                <a:gd name="T62" fmla="*/ 50 w 84"/>
                <a:gd name="T63" fmla="*/ 101 h 143"/>
                <a:gd name="T64" fmla="*/ 59 w 84"/>
                <a:gd name="T65" fmla="*/ 101 h 143"/>
                <a:gd name="T66" fmla="*/ 76 w 84"/>
                <a:gd name="T67" fmla="*/ 110 h 143"/>
                <a:gd name="T68" fmla="*/ 50 w 84"/>
                <a:gd name="T69" fmla="*/ 118 h 143"/>
                <a:gd name="T70" fmla="*/ 42 w 84"/>
                <a:gd name="T71" fmla="*/ 126 h 143"/>
                <a:gd name="T72" fmla="*/ 34 w 84"/>
                <a:gd name="T73" fmla="*/ 135 h 143"/>
                <a:gd name="T74" fmla="*/ 25 w 84"/>
                <a:gd name="T75" fmla="*/ 135 h 143"/>
                <a:gd name="T76" fmla="*/ 25 w 84"/>
                <a:gd name="T77" fmla="*/ 135 h 143"/>
                <a:gd name="T78" fmla="*/ 25 w 84"/>
                <a:gd name="T79" fmla="*/ 143 h 143"/>
                <a:gd name="T80" fmla="*/ 25 w 84"/>
                <a:gd name="T81" fmla="*/ 135 h 143"/>
                <a:gd name="T82" fmla="*/ 17 w 84"/>
                <a:gd name="T83" fmla="*/ 135 h 143"/>
                <a:gd name="T84" fmla="*/ 17 w 84"/>
                <a:gd name="T85" fmla="*/ 126 h 143"/>
                <a:gd name="T86" fmla="*/ 17 w 84"/>
                <a:gd name="T87" fmla="*/ 118 h 143"/>
                <a:gd name="T88" fmla="*/ 25 w 84"/>
                <a:gd name="T89" fmla="*/ 110 h 143"/>
                <a:gd name="T90" fmla="*/ 17 w 84"/>
                <a:gd name="T91" fmla="*/ 118 h 143"/>
                <a:gd name="T92" fmla="*/ 17 w 84"/>
                <a:gd name="T93" fmla="*/ 101 h 143"/>
                <a:gd name="T94" fmla="*/ 17 w 84"/>
                <a:gd name="T95" fmla="*/ 93 h 143"/>
                <a:gd name="T96" fmla="*/ 17 w 84"/>
                <a:gd name="T97" fmla="*/ 93 h 143"/>
                <a:gd name="T98" fmla="*/ 17 w 84"/>
                <a:gd name="T99" fmla="*/ 93 h 143"/>
                <a:gd name="T100" fmla="*/ 8 w 84"/>
                <a:gd name="T101" fmla="*/ 93 h 143"/>
                <a:gd name="T102" fmla="*/ 8 w 84"/>
                <a:gd name="T103" fmla="*/ 93 h 143"/>
                <a:gd name="T104" fmla="*/ 0 w 84"/>
                <a:gd name="T105" fmla="*/ 84 h 143"/>
                <a:gd name="T106" fmla="*/ 0 w 84"/>
                <a:gd name="T107" fmla="*/ 8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" h="143">
                  <a:moveTo>
                    <a:pt x="0" y="84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6"/>
                  </a:lnTo>
                  <a:lnTo>
                    <a:pt x="4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67" y="110"/>
                  </a:lnTo>
                  <a:lnTo>
                    <a:pt x="76" y="110"/>
                  </a:lnTo>
                  <a:lnTo>
                    <a:pt x="67" y="118"/>
                  </a:lnTo>
                  <a:lnTo>
                    <a:pt x="50" y="118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43"/>
                  </a:lnTo>
                  <a:lnTo>
                    <a:pt x="17" y="135"/>
                  </a:lnTo>
                  <a:lnTo>
                    <a:pt x="25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18"/>
                  </a:lnTo>
                  <a:lnTo>
                    <a:pt x="25" y="110"/>
                  </a:lnTo>
                  <a:lnTo>
                    <a:pt x="25" y="118"/>
                  </a:lnTo>
                  <a:lnTo>
                    <a:pt x="17" y="118"/>
                  </a:ln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6E124654-AFD0-4364-A025-0260AF821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145" y="3746364"/>
              <a:ext cx="639293" cy="305596"/>
            </a:xfrm>
            <a:custGeom>
              <a:avLst/>
              <a:gdLst>
                <a:gd name="T0" fmla="*/ 16 w 546"/>
                <a:gd name="T1" fmla="*/ 84 h 261"/>
                <a:gd name="T2" fmla="*/ 33 w 546"/>
                <a:gd name="T3" fmla="*/ 67 h 261"/>
                <a:gd name="T4" fmla="*/ 42 w 546"/>
                <a:gd name="T5" fmla="*/ 50 h 261"/>
                <a:gd name="T6" fmla="*/ 67 w 546"/>
                <a:gd name="T7" fmla="*/ 50 h 261"/>
                <a:gd name="T8" fmla="*/ 75 w 546"/>
                <a:gd name="T9" fmla="*/ 50 h 261"/>
                <a:gd name="T10" fmla="*/ 92 w 546"/>
                <a:gd name="T11" fmla="*/ 50 h 261"/>
                <a:gd name="T12" fmla="*/ 117 w 546"/>
                <a:gd name="T13" fmla="*/ 67 h 261"/>
                <a:gd name="T14" fmla="*/ 134 w 546"/>
                <a:gd name="T15" fmla="*/ 67 h 261"/>
                <a:gd name="T16" fmla="*/ 159 w 546"/>
                <a:gd name="T17" fmla="*/ 67 h 261"/>
                <a:gd name="T18" fmla="*/ 159 w 546"/>
                <a:gd name="T19" fmla="*/ 42 h 261"/>
                <a:gd name="T20" fmla="*/ 151 w 546"/>
                <a:gd name="T21" fmla="*/ 25 h 261"/>
                <a:gd name="T22" fmla="*/ 159 w 546"/>
                <a:gd name="T23" fmla="*/ 8 h 261"/>
                <a:gd name="T24" fmla="*/ 176 w 546"/>
                <a:gd name="T25" fmla="*/ 8 h 261"/>
                <a:gd name="T26" fmla="*/ 193 w 546"/>
                <a:gd name="T27" fmla="*/ 8 h 261"/>
                <a:gd name="T28" fmla="*/ 218 w 546"/>
                <a:gd name="T29" fmla="*/ 17 h 261"/>
                <a:gd name="T30" fmla="*/ 226 w 546"/>
                <a:gd name="T31" fmla="*/ 34 h 261"/>
                <a:gd name="T32" fmla="*/ 235 w 546"/>
                <a:gd name="T33" fmla="*/ 42 h 261"/>
                <a:gd name="T34" fmla="*/ 260 w 546"/>
                <a:gd name="T35" fmla="*/ 42 h 261"/>
                <a:gd name="T36" fmla="*/ 277 w 546"/>
                <a:gd name="T37" fmla="*/ 34 h 261"/>
                <a:gd name="T38" fmla="*/ 310 w 546"/>
                <a:gd name="T39" fmla="*/ 42 h 261"/>
                <a:gd name="T40" fmla="*/ 327 w 546"/>
                <a:gd name="T41" fmla="*/ 50 h 261"/>
                <a:gd name="T42" fmla="*/ 352 w 546"/>
                <a:gd name="T43" fmla="*/ 59 h 261"/>
                <a:gd name="T44" fmla="*/ 378 w 546"/>
                <a:gd name="T45" fmla="*/ 59 h 261"/>
                <a:gd name="T46" fmla="*/ 411 w 546"/>
                <a:gd name="T47" fmla="*/ 50 h 261"/>
                <a:gd name="T48" fmla="*/ 420 w 546"/>
                <a:gd name="T49" fmla="*/ 34 h 261"/>
                <a:gd name="T50" fmla="*/ 436 w 546"/>
                <a:gd name="T51" fmla="*/ 25 h 261"/>
                <a:gd name="T52" fmla="*/ 453 w 546"/>
                <a:gd name="T53" fmla="*/ 34 h 261"/>
                <a:gd name="T54" fmla="*/ 470 w 546"/>
                <a:gd name="T55" fmla="*/ 59 h 261"/>
                <a:gd name="T56" fmla="*/ 478 w 546"/>
                <a:gd name="T57" fmla="*/ 92 h 261"/>
                <a:gd name="T58" fmla="*/ 504 w 546"/>
                <a:gd name="T59" fmla="*/ 84 h 261"/>
                <a:gd name="T60" fmla="*/ 529 w 546"/>
                <a:gd name="T61" fmla="*/ 84 h 261"/>
                <a:gd name="T62" fmla="*/ 546 w 546"/>
                <a:gd name="T63" fmla="*/ 109 h 261"/>
                <a:gd name="T64" fmla="*/ 529 w 546"/>
                <a:gd name="T65" fmla="*/ 118 h 261"/>
                <a:gd name="T66" fmla="*/ 512 w 546"/>
                <a:gd name="T67" fmla="*/ 118 h 261"/>
                <a:gd name="T68" fmla="*/ 504 w 546"/>
                <a:gd name="T69" fmla="*/ 126 h 261"/>
                <a:gd name="T70" fmla="*/ 487 w 546"/>
                <a:gd name="T71" fmla="*/ 151 h 261"/>
                <a:gd name="T72" fmla="*/ 462 w 546"/>
                <a:gd name="T73" fmla="*/ 160 h 261"/>
                <a:gd name="T74" fmla="*/ 445 w 546"/>
                <a:gd name="T75" fmla="*/ 168 h 261"/>
                <a:gd name="T76" fmla="*/ 420 w 546"/>
                <a:gd name="T77" fmla="*/ 176 h 261"/>
                <a:gd name="T78" fmla="*/ 436 w 546"/>
                <a:gd name="T79" fmla="*/ 202 h 261"/>
                <a:gd name="T80" fmla="*/ 411 w 546"/>
                <a:gd name="T81" fmla="*/ 227 h 261"/>
                <a:gd name="T82" fmla="*/ 378 w 546"/>
                <a:gd name="T83" fmla="*/ 235 h 261"/>
                <a:gd name="T84" fmla="*/ 336 w 546"/>
                <a:gd name="T85" fmla="*/ 261 h 261"/>
                <a:gd name="T86" fmla="*/ 310 w 546"/>
                <a:gd name="T87" fmla="*/ 252 h 261"/>
                <a:gd name="T88" fmla="*/ 268 w 546"/>
                <a:gd name="T89" fmla="*/ 235 h 261"/>
                <a:gd name="T90" fmla="*/ 235 w 546"/>
                <a:gd name="T91" fmla="*/ 244 h 261"/>
                <a:gd name="T92" fmla="*/ 184 w 546"/>
                <a:gd name="T93" fmla="*/ 244 h 261"/>
                <a:gd name="T94" fmla="*/ 168 w 546"/>
                <a:gd name="T95" fmla="*/ 219 h 261"/>
                <a:gd name="T96" fmla="*/ 159 w 546"/>
                <a:gd name="T97" fmla="*/ 202 h 261"/>
                <a:gd name="T98" fmla="*/ 134 w 546"/>
                <a:gd name="T99" fmla="*/ 193 h 261"/>
                <a:gd name="T100" fmla="*/ 109 w 546"/>
                <a:gd name="T101" fmla="*/ 185 h 261"/>
                <a:gd name="T102" fmla="*/ 75 w 546"/>
                <a:gd name="T103" fmla="*/ 176 h 261"/>
                <a:gd name="T104" fmla="*/ 75 w 546"/>
                <a:gd name="T105" fmla="*/ 160 h 261"/>
                <a:gd name="T106" fmla="*/ 67 w 546"/>
                <a:gd name="T107" fmla="*/ 143 h 261"/>
                <a:gd name="T108" fmla="*/ 58 w 546"/>
                <a:gd name="T109" fmla="*/ 126 h 261"/>
                <a:gd name="T110" fmla="*/ 42 w 546"/>
                <a:gd name="T111" fmla="*/ 126 h 261"/>
                <a:gd name="T112" fmla="*/ 33 w 546"/>
                <a:gd name="T113" fmla="*/ 118 h 261"/>
                <a:gd name="T114" fmla="*/ 25 w 546"/>
                <a:gd name="T115" fmla="*/ 118 h 261"/>
                <a:gd name="T116" fmla="*/ 8 w 546"/>
                <a:gd name="T117" fmla="*/ 109 h 261"/>
                <a:gd name="T118" fmla="*/ 0 w 546"/>
                <a:gd name="T119" fmla="*/ 10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6" h="261">
                  <a:moveTo>
                    <a:pt x="0" y="92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50" y="59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50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9" y="59"/>
                  </a:lnTo>
                  <a:lnTo>
                    <a:pt x="109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42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68" y="59"/>
                  </a:lnTo>
                  <a:lnTo>
                    <a:pt x="159" y="59"/>
                  </a:lnTo>
                  <a:lnTo>
                    <a:pt x="159" y="50"/>
                  </a:lnTo>
                  <a:lnTo>
                    <a:pt x="159" y="50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25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9" y="8"/>
                  </a:lnTo>
                  <a:lnTo>
                    <a:pt x="159" y="17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84" y="8"/>
                  </a:lnTo>
                  <a:lnTo>
                    <a:pt x="184" y="8"/>
                  </a:lnTo>
                  <a:lnTo>
                    <a:pt x="193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10" y="17"/>
                  </a:lnTo>
                  <a:lnTo>
                    <a:pt x="210" y="17"/>
                  </a:lnTo>
                  <a:lnTo>
                    <a:pt x="218" y="17"/>
                  </a:lnTo>
                  <a:lnTo>
                    <a:pt x="218" y="1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42"/>
                  </a:lnTo>
                  <a:lnTo>
                    <a:pt x="235" y="42"/>
                  </a:lnTo>
                  <a:lnTo>
                    <a:pt x="235" y="42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43" y="42"/>
                  </a:lnTo>
                  <a:lnTo>
                    <a:pt x="252" y="50"/>
                  </a:lnTo>
                  <a:lnTo>
                    <a:pt x="252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8" y="42"/>
                  </a:lnTo>
                  <a:lnTo>
                    <a:pt x="277" y="42"/>
                  </a:lnTo>
                  <a:lnTo>
                    <a:pt x="277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302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52" y="59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86" y="59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403" y="50"/>
                  </a:lnTo>
                  <a:lnTo>
                    <a:pt x="411" y="50"/>
                  </a:lnTo>
                  <a:lnTo>
                    <a:pt x="411" y="42"/>
                  </a:lnTo>
                  <a:lnTo>
                    <a:pt x="411" y="42"/>
                  </a:lnTo>
                  <a:lnTo>
                    <a:pt x="411" y="42"/>
                  </a:lnTo>
                  <a:lnTo>
                    <a:pt x="411" y="34"/>
                  </a:lnTo>
                  <a:lnTo>
                    <a:pt x="420" y="34"/>
                  </a:lnTo>
                  <a:lnTo>
                    <a:pt x="420" y="34"/>
                  </a:lnTo>
                  <a:lnTo>
                    <a:pt x="420" y="25"/>
                  </a:lnTo>
                  <a:lnTo>
                    <a:pt x="428" y="25"/>
                  </a:lnTo>
                  <a:lnTo>
                    <a:pt x="428" y="25"/>
                  </a:lnTo>
                  <a:lnTo>
                    <a:pt x="428" y="25"/>
                  </a:lnTo>
                  <a:lnTo>
                    <a:pt x="436" y="25"/>
                  </a:lnTo>
                  <a:lnTo>
                    <a:pt x="436" y="25"/>
                  </a:lnTo>
                  <a:lnTo>
                    <a:pt x="445" y="25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53" y="34"/>
                  </a:lnTo>
                  <a:lnTo>
                    <a:pt x="453" y="34"/>
                  </a:lnTo>
                  <a:lnTo>
                    <a:pt x="453" y="34"/>
                  </a:lnTo>
                  <a:lnTo>
                    <a:pt x="462" y="34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70" y="34"/>
                  </a:lnTo>
                  <a:lnTo>
                    <a:pt x="470" y="34"/>
                  </a:lnTo>
                  <a:lnTo>
                    <a:pt x="470" y="59"/>
                  </a:lnTo>
                  <a:lnTo>
                    <a:pt x="470" y="67"/>
                  </a:lnTo>
                  <a:lnTo>
                    <a:pt x="470" y="67"/>
                  </a:lnTo>
                  <a:lnTo>
                    <a:pt x="470" y="76"/>
                  </a:lnTo>
                  <a:lnTo>
                    <a:pt x="470" y="84"/>
                  </a:lnTo>
                  <a:lnTo>
                    <a:pt x="470" y="84"/>
                  </a:lnTo>
                  <a:lnTo>
                    <a:pt x="478" y="92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95" y="84"/>
                  </a:lnTo>
                  <a:lnTo>
                    <a:pt x="504" y="92"/>
                  </a:lnTo>
                  <a:lnTo>
                    <a:pt x="504" y="84"/>
                  </a:lnTo>
                  <a:lnTo>
                    <a:pt x="504" y="84"/>
                  </a:lnTo>
                  <a:lnTo>
                    <a:pt x="504" y="76"/>
                  </a:lnTo>
                  <a:lnTo>
                    <a:pt x="512" y="76"/>
                  </a:lnTo>
                  <a:lnTo>
                    <a:pt x="512" y="76"/>
                  </a:lnTo>
                  <a:lnTo>
                    <a:pt x="520" y="76"/>
                  </a:lnTo>
                  <a:lnTo>
                    <a:pt x="529" y="84"/>
                  </a:lnTo>
                  <a:lnTo>
                    <a:pt x="529" y="84"/>
                  </a:lnTo>
                  <a:lnTo>
                    <a:pt x="537" y="92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9"/>
                  </a:lnTo>
                  <a:lnTo>
                    <a:pt x="546" y="109"/>
                  </a:lnTo>
                  <a:lnTo>
                    <a:pt x="546" y="109"/>
                  </a:lnTo>
                  <a:lnTo>
                    <a:pt x="546" y="118"/>
                  </a:lnTo>
                  <a:lnTo>
                    <a:pt x="537" y="118"/>
                  </a:lnTo>
                  <a:lnTo>
                    <a:pt x="537" y="109"/>
                  </a:lnTo>
                  <a:lnTo>
                    <a:pt x="537" y="109"/>
                  </a:lnTo>
                  <a:lnTo>
                    <a:pt x="529" y="118"/>
                  </a:lnTo>
                  <a:lnTo>
                    <a:pt x="529" y="109"/>
                  </a:lnTo>
                  <a:lnTo>
                    <a:pt x="520" y="109"/>
                  </a:lnTo>
                  <a:lnTo>
                    <a:pt x="520" y="118"/>
                  </a:lnTo>
                  <a:lnTo>
                    <a:pt x="512" y="118"/>
                  </a:lnTo>
                  <a:lnTo>
                    <a:pt x="512" y="126"/>
                  </a:lnTo>
                  <a:lnTo>
                    <a:pt x="512" y="118"/>
                  </a:lnTo>
                  <a:lnTo>
                    <a:pt x="512" y="118"/>
                  </a:lnTo>
                  <a:lnTo>
                    <a:pt x="512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495" y="134"/>
                  </a:lnTo>
                  <a:lnTo>
                    <a:pt x="495" y="134"/>
                  </a:lnTo>
                  <a:lnTo>
                    <a:pt x="495" y="143"/>
                  </a:lnTo>
                  <a:lnTo>
                    <a:pt x="495" y="143"/>
                  </a:lnTo>
                  <a:lnTo>
                    <a:pt x="495" y="143"/>
                  </a:lnTo>
                  <a:lnTo>
                    <a:pt x="487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0" y="151"/>
                  </a:lnTo>
                  <a:lnTo>
                    <a:pt x="470" y="160"/>
                  </a:lnTo>
                  <a:lnTo>
                    <a:pt x="470" y="160"/>
                  </a:lnTo>
                  <a:lnTo>
                    <a:pt x="462" y="160"/>
                  </a:lnTo>
                  <a:lnTo>
                    <a:pt x="462" y="168"/>
                  </a:lnTo>
                  <a:lnTo>
                    <a:pt x="462" y="168"/>
                  </a:lnTo>
                  <a:lnTo>
                    <a:pt x="462" y="168"/>
                  </a:lnTo>
                  <a:lnTo>
                    <a:pt x="453" y="168"/>
                  </a:lnTo>
                  <a:lnTo>
                    <a:pt x="453" y="168"/>
                  </a:lnTo>
                  <a:lnTo>
                    <a:pt x="445" y="168"/>
                  </a:lnTo>
                  <a:lnTo>
                    <a:pt x="436" y="160"/>
                  </a:lnTo>
                  <a:lnTo>
                    <a:pt x="436" y="160"/>
                  </a:lnTo>
                  <a:lnTo>
                    <a:pt x="428" y="160"/>
                  </a:lnTo>
                  <a:lnTo>
                    <a:pt x="428" y="168"/>
                  </a:lnTo>
                  <a:lnTo>
                    <a:pt x="420" y="168"/>
                  </a:lnTo>
                  <a:lnTo>
                    <a:pt x="420" y="176"/>
                  </a:lnTo>
                  <a:lnTo>
                    <a:pt x="420" y="176"/>
                  </a:lnTo>
                  <a:lnTo>
                    <a:pt x="420" y="185"/>
                  </a:lnTo>
                  <a:lnTo>
                    <a:pt x="428" y="185"/>
                  </a:lnTo>
                  <a:lnTo>
                    <a:pt x="436" y="193"/>
                  </a:lnTo>
                  <a:lnTo>
                    <a:pt x="436" y="193"/>
                  </a:lnTo>
                  <a:lnTo>
                    <a:pt x="436" y="202"/>
                  </a:lnTo>
                  <a:lnTo>
                    <a:pt x="436" y="202"/>
                  </a:lnTo>
                  <a:lnTo>
                    <a:pt x="428" y="210"/>
                  </a:lnTo>
                  <a:lnTo>
                    <a:pt x="420" y="219"/>
                  </a:lnTo>
                  <a:lnTo>
                    <a:pt x="420" y="227"/>
                  </a:lnTo>
                  <a:lnTo>
                    <a:pt x="420" y="227"/>
                  </a:lnTo>
                  <a:lnTo>
                    <a:pt x="411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394" y="235"/>
                  </a:lnTo>
                  <a:lnTo>
                    <a:pt x="394" y="235"/>
                  </a:lnTo>
                  <a:lnTo>
                    <a:pt x="386" y="235"/>
                  </a:lnTo>
                  <a:lnTo>
                    <a:pt x="378" y="235"/>
                  </a:lnTo>
                  <a:lnTo>
                    <a:pt x="378" y="235"/>
                  </a:lnTo>
                  <a:lnTo>
                    <a:pt x="361" y="244"/>
                  </a:lnTo>
                  <a:lnTo>
                    <a:pt x="352" y="244"/>
                  </a:lnTo>
                  <a:lnTo>
                    <a:pt x="344" y="252"/>
                  </a:lnTo>
                  <a:lnTo>
                    <a:pt x="336" y="252"/>
                  </a:lnTo>
                  <a:lnTo>
                    <a:pt x="336" y="261"/>
                  </a:lnTo>
                  <a:lnTo>
                    <a:pt x="336" y="261"/>
                  </a:lnTo>
                  <a:lnTo>
                    <a:pt x="327" y="261"/>
                  </a:lnTo>
                  <a:lnTo>
                    <a:pt x="327" y="252"/>
                  </a:lnTo>
                  <a:lnTo>
                    <a:pt x="327" y="252"/>
                  </a:lnTo>
                  <a:lnTo>
                    <a:pt x="319" y="252"/>
                  </a:lnTo>
                  <a:lnTo>
                    <a:pt x="310" y="252"/>
                  </a:lnTo>
                  <a:lnTo>
                    <a:pt x="302" y="252"/>
                  </a:lnTo>
                  <a:lnTo>
                    <a:pt x="302" y="252"/>
                  </a:lnTo>
                  <a:lnTo>
                    <a:pt x="294" y="244"/>
                  </a:lnTo>
                  <a:lnTo>
                    <a:pt x="277" y="244"/>
                  </a:lnTo>
                  <a:lnTo>
                    <a:pt x="277" y="235"/>
                  </a:lnTo>
                  <a:lnTo>
                    <a:pt x="268" y="235"/>
                  </a:lnTo>
                  <a:lnTo>
                    <a:pt x="252" y="235"/>
                  </a:lnTo>
                  <a:lnTo>
                    <a:pt x="243" y="235"/>
                  </a:lnTo>
                  <a:lnTo>
                    <a:pt x="243" y="235"/>
                  </a:lnTo>
                  <a:lnTo>
                    <a:pt x="243" y="235"/>
                  </a:lnTo>
                  <a:lnTo>
                    <a:pt x="235" y="235"/>
                  </a:lnTo>
                  <a:lnTo>
                    <a:pt x="235" y="244"/>
                  </a:lnTo>
                  <a:lnTo>
                    <a:pt x="226" y="244"/>
                  </a:lnTo>
                  <a:lnTo>
                    <a:pt x="210" y="244"/>
                  </a:lnTo>
                  <a:lnTo>
                    <a:pt x="201" y="244"/>
                  </a:lnTo>
                  <a:lnTo>
                    <a:pt x="193" y="244"/>
                  </a:lnTo>
                  <a:lnTo>
                    <a:pt x="184" y="244"/>
                  </a:lnTo>
                  <a:lnTo>
                    <a:pt x="184" y="244"/>
                  </a:lnTo>
                  <a:lnTo>
                    <a:pt x="176" y="244"/>
                  </a:lnTo>
                  <a:lnTo>
                    <a:pt x="176" y="235"/>
                  </a:lnTo>
                  <a:lnTo>
                    <a:pt x="176" y="227"/>
                  </a:lnTo>
                  <a:lnTo>
                    <a:pt x="168" y="227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8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42" y="202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0" y="185"/>
                  </a:lnTo>
                  <a:lnTo>
                    <a:pt x="92" y="185"/>
                  </a:lnTo>
                  <a:lnTo>
                    <a:pt x="75" y="185"/>
                  </a:lnTo>
                  <a:lnTo>
                    <a:pt x="75" y="185"/>
                  </a:lnTo>
                  <a:lnTo>
                    <a:pt x="75" y="176"/>
                  </a:lnTo>
                  <a:lnTo>
                    <a:pt x="67" y="176"/>
                  </a:lnTo>
                  <a:lnTo>
                    <a:pt x="67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16" y="118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398F0946-3263-469D-AB50-FB2ABB362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152" y="3697187"/>
              <a:ext cx="777455" cy="413316"/>
            </a:xfrm>
            <a:custGeom>
              <a:avLst/>
              <a:gdLst>
                <a:gd name="T0" fmla="*/ 17 w 664"/>
                <a:gd name="T1" fmla="*/ 202 h 353"/>
                <a:gd name="T2" fmla="*/ 0 w 664"/>
                <a:gd name="T3" fmla="*/ 160 h 353"/>
                <a:gd name="T4" fmla="*/ 34 w 664"/>
                <a:gd name="T5" fmla="*/ 151 h 353"/>
                <a:gd name="T6" fmla="*/ 51 w 664"/>
                <a:gd name="T7" fmla="*/ 126 h 353"/>
                <a:gd name="T8" fmla="*/ 68 w 664"/>
                <a:gd name="T9" fmla="*/ 118 h 353"/>
                <a:gd name="T10" fmla="*/ 76 w 664"/>
                <a:gd name="T11" fmla="*/ 118 h 353"/>
                <a:gd name="T12" fmla="*/ 110 w 664"/>
                <a:gd name="T13" fmla="*/ 126 h 353"/>
                <a:gd name="T14" fmla="*/ 126 w 664"/>
                <a:gd name="T15" fmla="*/ 134 h 353"/>
                <a:gd name="T16" fmla="*/ 152 w 664"/>
                <a:gd name="T17" fmla="*/ 126 h 353"/>
                <a:gd name="T18" fmla="*/ 177 w 664"/>
                <a:gd name="T19" fmla="*/ 126 h 353"/>
                <a:gd name="T20" fmla="*/ 194 w 664"/>
                <a:gd name="T21" fmla="*/ 134 h 353"/>
                <a:gd name="T22" fmla="*/ 227 w 664"/>
                <a:gd name="T23" fmla="*/ 134 h 353"/>
                <a:gd name="T24" fmla="*/ 210 w 664"/>
                <a:gd name="T25" fmla="*/ 101 h 353"/>
                <a:gd name="T26" fmla="*/ 210 w 664"/>
                <a:gd name="T27" fmla="*/ 84 h 353"/>
                <a:gd name="T28" fmla="*/ 227 w 664"/>
                <a:gd name="T29" fmla="*/ 67 h 353"/>
                <a:gd name="T30" fmla="*/ 210 w 664"/>
                <a:gd name="T31" fmla="*/ 59 h 353"/>
                <a:gd name="T32" fmla="*/ 227 w 664"/>
                <a:gd name="T33" fmla="*/ 50 h 353"/>
                <a:gd name="T34" fmla="*/ 244 w 664"/>
                <a:gd name="T35" fmla="*/ 42 h 353"/>
                <a:gd name="T36" fmla="*/ 278 w 664"/>
                <a:gd name="T37" fmla="*/ 33 h 353"/>
                <a:gd name="T38" fmla="*/ 294 w 664"/>
                <a:gd name="T39" fmla="*/ 25 h 353"/>
                <a:gd name="T40" fmla="*/ 320 w 664"/>
                <a:gd name="T41" fmla="*/ 8 h 353"/>
                <a:gd name="T42" fmla="*/ 345 w 664"/>
                <a:gd name="T43" fmla="*/ 0 h 353"/>
                <a:gd name="T44" fmla="*/ 370 w 664"/>
                <a:gd name="T45" fmla="*/ 17 h 353"/>
                <a:gd name="T46" fmla="*/ 378 w 664"/>
                <a:gd name="T47" fmla="*/ 25 h 353"/>
                <a:gd name="T48" fmla="*/ 395 w 664"/>
                <a:gd name="T49" fmla="*/ 25 h 353"/>
                <a:gd name="T50" fmla="*/ 412 w 664"/>
                <a:gd name="T51" fmla="*/ 33 h 353"/>
                <a:gd name="T52" fmla="*/ 420 w 664"/>
                <a:gd name="T53" fmla="*/ 42 h 353"/>
                <a:gd name="T54" fmla="*/ 446 w 664"/>
                <a:gd name="T55" fmla="*/ 25 h 353"/>
                <a:gd name="T56" fmla="*/ 462 w 664"/>
                <a:gd name="T57" fmla="*/ 25 h 353"/>
                <a:gd name="T58" fmla="*/ 546 w 664"/>
                <a:gd name="T59" fmla="*/ 92 h 353"/>
                <a:gd name="T60" fmla="*/ 563 w 664"/>
                <a:gd name="T61" fmla="*/ 101 h 353"/>
                <a:gd name="T62" fmla="*/ 597 w 664"/>
                <a:gd name="T63" fmla="*/ 92 h 353"/>
                <a:gd name="T64" fmla="*/ 622 w 664"/>
                <a:gd name="T65" fmla="*/ 118 h 353"/>
                <a:gd name="T66" fmla="*/ 631 w 664"/>
                <a:gd name="T67" fmla="*/ 126 h 353"/>
                <a:gd name="T68" fmla="*/ 656 w 664"/>
                <a:gd name="T69" fmla="*/ 126 h 353"/>
                <a:gd name="T70" fmla="*/ 656 w 664"/>
                <a:gd name="T71" fmla="*/ 151 h 353"/>
                <a:gd name="T72" fmla="*/ 647 w 664"/>
                <a:gd name="T73" fmla="*/ 185 h 353"/>
                <a:gd name="T74" fmla="*/ 614 w 664"/>
                <a:gd name="T75" fmla="*/ 193 h 353"/>
                <a:gd name="T76" fmla="*/ 605 w 664"/>
                <a:gd name="T77" fmla="*/ 227 h 353"/>
                <a:gd name="T78" fmla="*/ 589 w 664"/>
                <a:gd name="T79" fmla="*/ 235 h 353"/>
                <a:gd name="T80" fmla="*/ 580 w 664"/>
                <a:gd name="T81" fmla="*/ 252 h 353"/>
                <a:gd name="T82" fmla="*/ 589 w 664"/>
                <a:gd name="T83" fmla="*/ 277 h 353"/>
                <a:gd name="T84" fmla="*/ 589 w 664"/>
                <a:gd name="T85" fmla="*/ 303 h 353"/>
                <a:gd name="T86" fmla="*/ 521 w 664"/>
                <a:gd name="T87" fmla="*/ 294 h 353"/>
                <a:gd name="T88" fmla="*/ 479 w 664"/>
                <a:gd name="T89" fmla="*/ 294 h 353"/>
                <a:gd name="T90" fmla="*/ 446 w 664"/>
                <a:gd name="T91" fmla="*/ 303 h 353"/>
                <a:gd name="T92" fmla="*/ 420 w 664"/>
                <a:gd name="T93" fmla="*/ 319 h 353"/>
                <a:gd name="T94" fmla="*/ 378 w 664"/>
                <a:gd name="T95" fmla="*/ 345 h 353"/>
                <a:gd name="T96" fmla="*/ 294 w 664"/>
                <a:gd name="T97" fmla="*/ 286 h 353"/>
                <a:gd name="T98" fmla="*/ 160 w 664"/>
                <a:gd name="T99" fmla="*/ 336 h 353"/>
                <a:gd name="T100" fmla="*/ 118 w 664"/>
                <a:gd name="T101" fmla="*/ 319 h 353"/>
                <a:gd name="T102" fmla="*/ 101 w 664"/>
                <a:gd name="T103" fmla="*/ 311 h 353"/>
                <a:gd name="T104" fmla="*/ 93 w 664"/>
                <a:gd name="T105" fmla="*/ 294 h 353"/>
                <a:gd name="T106" fmla="*/ 76 w 664"/>
                <a:gd name="T107" fmla="*/ 277 h 353"/>
                <a:gd name="T108" fmla="*/ 93 w 664"/>
                <a:gd name="T109" fmla="*/ 277 h 353"/>
                <a:gd name="T110" fmla="*/ 93 w 664"/>
                <a:gd name="T111" fmla="*/ 261 h 353"/>
                <a:gd name="T112" fmla="*/ 110 w 664"/>
                <a:gd name="T113" fmla="*/ 261 h 353"/>
                <a:gd name="T114" fmla="*/ 118 w 664"/>
                <a:gd name="T115" fmla="*/ 244 h 353"/>
                <a:gd name="T116" fmla="*/ 118 w 664"/>
                <a:gd name="T117" fmla="*/ 227 h 353"/>
                <a:gd name="T118" fmla="*/ 101 w 664"/>
                <a:gd name="T119" fmla="*/ 227 h 353"/>
                <a:gd name="T120" fmla="*/ 84 w 664"/>
                <a:gd name="T121" fmla="*/ 218 h 353"/>
                <a:gd name="T122" fmla="*/ 68 w 664"/>
                <a:gd name="T123" fmla="*/ 227 h 353"/>
                <a:gd name="T124" fmla="*/ 59 w 664"/>
                <a:gd name="T125" fmla="*/ 23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4" h="353">
                  <a:moveTo>
                    <a:pt x="51" y="235"/>
                  </a:moveTo>
                  <a:lnTo>
                    <a:pt x="42" y="227"/>
                  </a:lnTo>
                  <a:lnTo>
                    <a:pt x="42" y="235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42" y="227"/>
                  </a:lnTo>
                  <a:lnTo>
                    <a:pt x="34" y="210"/>
                  </a:lnTo>
                  <a:lnTo>
                    <a:pt x="26" y="202"/>
                  </a:lnTo>
                  <a:lnTo>
                    <a:pt x="17" y="202"/>
                  </a:lnTo>
                  <a:lnTo>
                    <a:pt x="17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193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43"/>
                  </a:lnTo>
                  <a:lnTo>
                    <a:pt x="17" y="151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34" y="160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1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59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26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52" y="134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85" y="118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34"/>
                  </a:lnTo>
                  <a:lnTo>
                    <a:pt x="194" y="134"/>
                  </a:lnTo>
                  <a:lnTo>
                    <a:pt x="194" y="134"/>
                  </a:lnTo>
                  <a:lnTo>
                    <a:pt x="194" y="134"/>
                  </a:lnTo>
                  <a:lnTo>
                    <a:pt x="202" y="134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9" y="134"/>
                  </a:lnTo>
                  <a:lnTo>
                    <a:pt x="227" y="134"/>
                  </a:lnTo>
                  <a:lnTo>
                    <a:pt x="227" y="126"/>
                  </a:lnTo>
                  <a:lnTo>
                    <a:pt x="236" y="126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92"/>
                  </a:lnTo>
                  <a:lnTo>
                    <a:pt x="219" y="92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9" y="76"/>
                  </a:lnTo>
                  <a:lnTo>
                    <a:pt x="219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36" y="67"/>
                  </a:lnTo>
                  <a:lnTo>
                    <a:pt x="236" y="67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19" y="67"/>
                  </a:lnTo>
                  <a:lnTo>
                    <a:pt x="219" y="67"/>
                  </a:lnTo>
                  <a:lnTo>
                    <a:pt x="210" y="67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219" y="59"/>
                  </a:lnTo>
                  <a:lnTo>
                    <a:pt x="219" y="59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5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44" y="42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1" y="42"/>
                  </a:lnTo>
                  <a:lnTo>
                    <a:pt x="261" y="33"/>
                  </a:lnTo>
                  <a:lnTo>
                    <a:pt x="261" y="33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94" y="25"/>
                  </a:lnTo>
                  <a:lnTo>
                    <a:pt x="294" y="17"/>
                  </a:lnTo>
                  <a:lnTo>
                    <a:pt x="303" y="17"/>
                  </a:lnTo>
                  <a:lnTo>
                    <a:pt x="303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53" y="0"/>
                  </a:lnTo>
                  <a:lnTo>
                    <a:pt x="353" y="0"/>
                  </a:lnTo>
                  <a:lnTo>
                    <a:pt x="362" y="0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17"/>
                  </a:lnTo>
                  <a:lnTo>
                    <a:pt x="395" y="25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25"/>
                  </a:lnTo>
                  <a:lnTo>
                    <a:pt x="404" y="25"/>
                  </a:lnTo>
                  <a:lnTo>
                    <a:pt x="404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42"/>
                  </a:lnTo>
                  <a:lnTo>
                    <a:pt x="412" y="42"/>
                  </a:lnTo>
                  <a:lnTo>
                    <a:pt x="412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33"/>
                  </a:lnTo>
                  <a:lnTo>
                    <a:pt x="437" y="33"/>
                  </a:lnTo>
                  <a:lnTo>
                    <a:pt x="437" y="33"/>
                  </a:lnTo>
                  <a:lnTo>
                    <a:pt x="446" y="33"/>
                  </a:lnTo>
                  <a:lnTo>
                    <a:pt x="446" y="33"/>
                  </a:lnTo>
                  <a:lnTo>
                    <a:pt x="446" y="25"/>
                  </a:lnTo>
                  <a:lnTo>
                    <a:pt x="446" y="25"/>
                  </a:lnTo>
                  <a:lnTo>
                    <a:pt x="454" y="25"/>
                  </a:lnTo>
                  <a:lnTo>
                    <a:pt x="454" y="17"/>
                  </a:lnTo>
                  <a:lnTo>
                    <a:pt x="454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96" y="50"/>
                  </a:lnTo>
                  <a:lnTo>
                    <a:pt x="538" y="101"/>
                  </a:lnTo>
                  <a:lnTo>
                    <a:pt x="538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92"/>
                  </a:lnTo>
                  <a:lnTo>
                    <a:pt x="546" y="92"/>
                  </a:lnTo>
                  <a:lnTo>
                    <a:pt x="555" y="92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72" y="101"/>
                  </a:lnTo>
                  <a:lnTo>
                    <a:pt x="572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9" y="92"/>
                  </a:lnTo>
                  <a:lnTo>
                    <a:pt x="597" y="92"/>
                  </a:lnTo>
                  <a:lnTo>
                    <a:pt x="597" y="101"/>
                  </a:lnTo>
                  <a:lnTo>
                    <a:pt x="605" y="101"/>
                  </a:lnTo>
                  <a:lnTo>
                    <a:pt x="605" y="109"/>
                  </a:lnTo>
                  <a:lnTo>
                    <a:pt x="605" y="109"/>
                  </a:lnTo>
                  <a:lnTo>
                    <a:pt x="614" y="109"/>
                  </a:lnTo>
                  <a:lnTo>
                    <a:pt x="614" y="109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9" y="126"/>
                  </a:lnTo>
                  <a:lnTo>
                    <a:pt x="647" y="126"/>
                  </a:lnTo>
                  <a:lnTo>
                    <a:pt x="647" y="126"/>
                  </a:lnTo>
                  <a:lnTo>
                    <a:pt x="647" y="118"/>
                  </a:lnTo>
                  <a:lnTo>
                    <a:pt x="656" y="118"/>
                  </a:lnTo>
                  <a:lnTo>
                    <a:pt x="656" y="118"/>
                  </a:lnTo>
                  <a:lnTo>
                    <a:pt x="656" y="126"/>
                  </a:lnTo>
                  <a:lnTo>
                    <a:pt x="656" y="126"/>
                  </a:lnTo>
                  <a:lnTo>
                    <a:pt x="656" y="126"/>
                  </a:lnTo>
                  <a:lnTo>
                    <a:pt x="664" y="134"/>
                  </a:lnTo>
                  <a:lnTo>
                    <a:pt x="664" y="134"/>
                  </a:lnTo>
                  <a:lnTo>
                    <a:pt x="664" y="134"/>
                  </a:lnTo>
                  <a:lnTo>
                    <a:pt x="664" y="143"/>
                  </a:lnTo>
                  <a:lnTo>
                    <a:pt x="664" y="143"/>
                  </a:lnTo>
                  <a:lnTo>
                    <a:pt x="656" y="143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47" y="160"/>
                  </a:lnTo>
                  <a:lnTo>
                    <a:pt x="647" y="160"/>
                  </a:lnTo>
                  <a:lnTo>
                    <a:pt x="647" y="160"/>
                  </a:lnTo>
                  <a:lnTo>
                    <a:pt x="647" y="168"/>
                  </a:lnTo>
                  <a:lnTo>
                    <a:pt x="647" y="176"/>
                  </a:lnTo>
                  <a:lnTo>
                    <a:pt x="656" y="185"/>
                  </a:lnTo>
                  <a:lnTo>
                    <a:pt x="656" y="185"/>
                  </a:lnTo>
                  <a:lnTo>
                    <a:pt x="647" y="185"/>
                  </a:lnTo>
                  <a:lnTo>
                    <a:pt x="647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1" y="193"/>
                  </a:lnTo>
                  <a:lnTo>
                    <a:pt x="631" y="193"/>
                  </a:lnTo>
                  <a:lnTo>
                    <a:pt x="622" y="193"/>
                  </a:lnTo>
                  <a:lnTo>
                    <a:pt x="614" y="193"/>
                  </a:lnTo>
                  <a:lnTo>
                    <a:pt x="614" y="193"/>
                  </a:lnTo>
                  <a:lnTo>
                    <a:pt x="614" y="193"/>
                  </a:lnTo>
                  <a:lnTo>
                    <a:pt x="605" y="202"/>
                  </a:lnTo>
                  <a:lnTo>
                    <a:pt x="605" y="202"/>
                  </a:lnTo>
                  <a:lnTo>
                    <a:pt x="605" y="210"/>
                  </a:lnTo>
                  <a:lnTo>
                    <a:pt x="605" y="218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14" y="227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597" y="235"/>
                  </a:lnTo>
                  <a:lnTo>
                    <a:pt x="597" y="235"/>
                  </a:lnTo>
                  <a:lnTo>
                    <a:pt x="589" y="235"/>
                  </a:lnTo>
                  <a:lnTo>
                    <a:pt x="589" y="244"/>
                  </a:lnTo>
                  <a:lnTo>
                    <a:pt x="580" y="244"/>
                  </a:lnTo>
                  <a:lnTo>
                    <a:pt x="580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61"/>
                  </a:lnTo>
                  <a:lnTo>
                    <a:pt x="580" y="261"/>
                  </a:lnTo>
                  <a:lnTo>
                    <a:pt x="580" y="261"/>
                  </a:lnTo>
                  <a:lnTo>
                    <a:pt x="580" y="269"/>
                  </a:lnTo>
                  <a:lnTo>
                    <a:pt x="589" y="277"/>
                  </a:lnTo>
                  <a:lnTo>
                    <a:pt x="589" y="277"/>
                  </a:lnTo>
                  <a:lnTo>
                    <a:pt x="589" y="277"/>
                  </a:lnTo>
                  <a:lnTo>
                    <a:pt x="589" y="286"/>
                  </a:lnTo>
                  <a:lnTo>
                    <a:pt x="589" y="286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303"/>
                  </a:lnTo>
                  <a:lnTo>
                    <a:pt x="589" y="303"/>
                  </a:lnTo>
                  <a:lnTo>
                    <a:pt x="580" y="303"/>
                  </a:lnTo>
                  <a:lnTo>
                    <a:pt x="572" y="303"/>
                  </a:lnTo>
                  <a:lnTo>
                    <a:pt x="563" y="294"/>
                  </a:lnTo>
                  <a:lnTo>
                    <a:pt x="563" y="294"/>
                  </a:lnTo>
                  <a:lnTo>
                    <a:pt x="555" y="294"/>
                  </a:lnTo>
                  <a:lnTo>
                    <a:pt x="546" y="294"/>
                  </a:lnTo>
                  <a:lnTo>
                    <a:pt x="538" y="294"/>
                  </a:lnTo>
                  <a:lnTo>
                    <a:pt x="530" y="294"/>
                  </a:lnTo>
                  <a:lnTo>
                    <a:pt x="521" y="294"/>
                  </a:lnTo>
                  <a:lnTo>
                    <a:pt x="521" y="294"/>
                  </a:lnTo>
                  <a:lnTo>
                    <a:pt x="513" y="294"/>
                  </a:lnTo>
                  <a:lnTo>
                    <a:pt x="513" y="294"/>
                  </a:lnTo>
                  <a:lnTo>
                    <a:pt x="504" y="294"/>
                  </a:lnTo>
                  <a:lnTo>
                    <a:pt x="496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79" y="294"/>
                  </a:lnTo>
                  <a:lnTo>
                    <a:pt x="479" y="294"/>
                  </a:lnTo>
                  <a:lnTo>
                    <a:pt x="479" y="294"/>
                  </a:lnTo>
                  <a:lnTo>
                    <a:pt x="471" y="294"/>
                  </a:lnTo>
                  <a:lnTo>
                    <a:pt x="471" y="294"/>
                  </a:lnTo>
                  <a:lnTo>
                    <a:pt x="471" y="294"/>
                  </a:lnTo>
                  <a:lnTo>
                    <a:pt x="471" y="303"/>
                  </a:lnTo>
                  <a:lnTo>
                    <a:pt x="471" y="303"/>
                  </a:lnTo>
                  <a:lnTo>
                    <a:pt x="471" y="311"/>
                  </a:lnTo>
                  <a:lnTo>
                    <a:pt x="454" y="311"/>
                  </a:lnTo>
                  <a:lnTo>
                    <a:pt x="446" y="303"/>
                  </a:lnTo>
                  <a:lnTo>
                    <a:pt x="437" y="303"/>
                  </a:lnTo>
                  <a:lnTo>
                    <a:pt x="437" y="303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12" y="328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04" y="345"/>
                  </a:lnTo>
                  <a:lnTo>
                    <a:pt x="395" y="345"/>
                  </a:lnTo>
                  <a:lnTo>
                    <a:pt x="395" y="345"/>
                  </a:lnTo>
                  <a:lnTo>
                    <a:pt x="387" y="345"/>
                  </a:lnTo>
                  <a:lnTo>
                    <a:pt x="378" y="345"/>
                  </a:lnTo>
                  <a:lnTo>
                    <a:pt x="378" y="345"/>
                  </a:lnTo>
                  <a:lnTo>
                    <a:pt x="370" y="345"/>
                  </a:lnTo>
                  <a:lnTo>
                    <a:pt x="362" y="345"/>
                  </a:lnTo>
                  <a:lnTo>
                    <a:pt x="362" y="328"/>
                  </a:lnTo>
                  <a:lnTo>
                    <a:pt x="345" y="328"/>
                  </a:lnTo>
                  <a:lnTo>
                    <a:pt x="345" y="303"/>
                  </a:lnTo>
                  <a:lnTo>
                    <a:pt x="336" y="303"/>
                  </a:lnTo>
                  <a:lnTo>
                    <a:pt x="336" y="294"/>
                  </a:lnTo>
                  <a:lnTo>
                    <a:pt x="328" y="286"/>
                  </a:lnTo>
                  <a:lnTo>
                    <a:pt x="294" y="286"/>
                  </a:lnTo>
                  <a:lnTo>
                    <a:pt x="269" y="286"/>
                  </a:lnTo>
                  <a:lnTo>
                    <a:pt x="252" y="277"/>
                  </a:lnTo>
                  <a:lnTo>
                    <a:pt x="244" y="277"/>
                  </a:lnTo>
                  <a:lnTo>
                    <a:pt x="219" y="252"/>
                  </a:lnTo>
                  <a:lnTo>
                    <a:pt x="168" y="261"/>
                  </a:lnTo>
                  <a:lnTo>
                    <a:pt x="185" y="345"/>
                  </a:lnTo>
                  <a:lnTo>
                    <a:pt x="185" y="345"/>
                  </a:lnTo>
                  <a:lnTo>
                    <a:pt x="177" y="353"/>
                  </a:lnTo>
                  <a:lnTo>
                    <a:pt x="160" y="336"/>
                  </a:lnTo>
                  <a:lnTo>
                    <a:pt x="152" y="328"/>
                  </a:lnTo>
                  <a:lnTo>
                    <a:pt x="143" y="328"/>
                  </a:lnTo>
                  <a:lnTo>
                    <a:pt x="135" y="328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26" y="319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84" y="294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93" y="269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52"/>
                  </a:lnTo>
                  <a:lnTo>
                    <a:pt x="118" y="252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1" y="235"/>
                  </a:lnTo>
                  <a:lnTo>
                    <a:pt x="51" y="235"/>
                  </a:lnTo>
                  <a:lnTo>
                    <a:pt x="51" y="2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9AE00C7E-438D-468F-8FBE-00B682F30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858" y="3992246"/>
              <a:ext cx="334868" cy="207244"/>
            </a:xfrm>
            <a:custGeom>
              <a:avLst/>
              <a:gdLst>
                <a:gd name="T0" fmla="*/ 227 w 286"/>
                <a:gd name="T1" fmla="*/ 168 h 177"/>
                <a:gd name="T2" fmla="*/ 236 w 286"/>
                <a:gd name="T3" fmla="*/ 160 h 177"/>
                <a:gd name="T4" fmla="*/ 227 w 286"/>
                <a:gd name="T5" fmla="*/ 152 h 177"/>
                <a:gd name="T6" fmla="*/ 227 w 286"/>
                <a:gd name="T7" fmla="*/ 143 h 177"/>
                <a:gd name="T8" fmla="*/ 227 w 286"/>
                <a:gd name="T9" fmla="*/ 135 h 177"/>
                <a:gd name="T10" fmla="*/ 219 w 286"/>
                <a:gd name="T11" fmla="*/ 135 h 177"/>
                <a:gd name="T12" fmla="*/ 219 w 286"/>
                <a:gd name="T13" fmla="*/ 126 h 177"/>
                <a:gd name="T14" fmla="*/ 227 w 286"/>
                <a:gd name="T15" fmla="*/ 126 h 177"/>
                <a:gd name="T16" fmla="*/ 236 w 286"/>
                <a:gd name="T17" fmla="*/ 118 h 177"/>
                <a:gd name="T18" fmla="*/ 236 w 286"/>
                <a:gd name="T19" fmla="*/ 118 h 177"/>
                <a:gd name="T20" fmla="*/ 252 w 286"/>
                <a:gd name="T21" fmla="*/ 109 h 177"/>
                <a:gd name="T22" fmla="*/ 244 w 286"/>
                <a:gd name="T23" fmla="*/ 101 h 177"/>
                <a:gd name="T24" fmla="*/ 244 w 286"/>
                <a:gd name="T25" fmla="*/ 101 h 177"/>
                <a:gd name="T26" fmla="*/ 252 w 286"/>
                <a:gd name="T27" fmla="*/ 93 h 177"/>
                <a:gd name="T28" fmla="*/ 269 w 286"/>
                <a:gd name="T29" fmla="*/ 93 h 177"/>
                <a:gd name="T30" fmla="*/ 278 w 286"/>
                <a:gd name="T31" fmla="*/ 93 h 177"/>
                <a:gd name="T32" fmla="*/ 286 w 286"/>
                <a:gd name="T33" fmla="*/ 93 h 177"/>
                <a:gd name="T34" fmla="*/ 278 w 286"/>
                <a:gd name="T35" fmla="*/ 76 h 177"/>
                <a:gd name="T36" fmla="*/ 278 w 286"/>
                <a:gd name="T37" fmla="*/ 84 h 177"/>
                <a:gd name="T38" fmla="*/ 269 w 286"/>
                <a:gd name="T39" fmla="*/ 84 h 177"/>
                <a:gd name="T40" fmla="*/ 261 w 286"/>
                <a:gd name="T41" fmla="*/ 84 h 177"/>
                <a:gd name="T42" fmla="*/ 252 w 286"/>
                <a:gd name="T43" fmla="*/ 76 h 177"/>
                <a:gd name="T44" fmla="*/ 261 w 286"/>
                <a:gd name="T45" fmla="*/ 59 h 177"/>
                <a:gd name="T46" fmla="*/ 252 w 286"/>
                <a:gd name="T47" fmla="*/ 67 h 177"/>
                <a:gd name="T48" fmla="*/ 244 w 286"/>
                <a:gd name="T49" fmla="*/ 76 h 177"/>
                <a:gd name="T50" fmla="*/ 244 w 286"/>
                <a:gd name="T51" fmla="*/ 84 h 177"/>
                <a:gd name="T52" fmla="*/ 227 w 286"/>
                <a:gd name="T53" fmla="*/ 93 h 177"/>
                <a:gd name="T54" fmla="*/ 219 w 286"/>
                <a:gd name="T55" fmla="*/ 93 h 177"/>
                <a:gd name="T56" fmla="*/ 210 w 286"/>
                <a:gd name="T57" fmla="*/ 93 h 177"/>
                <a:gd name="T58" fmla="*/ 194 w 286"/>
                <a:gd name="T59" fmla="*/ 93 h 177"/>
                <a:gd name="T60" fmla="*/ 177 w 286"/>
                <a:gd name="T61" fmla="*/ 76 h 177"/>
                <a:gd name="T62" fmla="*/ 168 w 286"/>
                <a:gd name="T63" fmla="*/ 51 h 177"/>
                <a:gd name="T64" fmla="*/ 160 w 286"/>
                <a:gd name="T65" fmla="*/ 34 h 177"/>
                <a:gd name="T66" fmla="*/ 101 w 286"/>
                <a:gd name="T67" fmla="*/ 34 h 177"/>
                <a:gd name="T68" fmla="*/ 76 w 286"/>
                <a:gd name="T69" fmla="*/ 25 h 177"/>
                <a:gd name="T70" fmla="*/ 0 w 286"/>
                <a:gd name="T71" fmla="*/ 9 h 177"/>
                <a:gd name="T72" fmla="*/ 26 w 286"/>
                <a:gd name="T73" fmla="*/ 93 h 177"/>
                <a:gd name="T74" fmla="*/ 34 w 286"/>
                <a:gd name="T75" fmla="*/ 93 h 177"/>
                <a:gd name="T76" fmla="*/ 34 w 286"/>
                <a:gd name="T77" fmla="*/ 84 h 177"/>
                <a:gd name="T78" fmla="*/ 42 w 286"/>
                <a:gd name="T79" fmla="*/ 76 h 177"/>
                <a:gd name="T80" fmla="*/ 42 w 286"/>
                <a:gd name="T81" fmla="*/ 67 h 177"/>
                <a:gd name="T82" fmla="*/ 51 w 286"/>
                <a:gd name="T83" fmla="*/ 67 h 177"/>
                <a:gd name="T84" fmla="*/ 59 w 286"/>
                <a:gd name="T85" fmla="*/ 67 h 177"/>
                <a:gd name="T86" fmla="*/ 76 w 286"/>
                <a:gd name="T87" fmla="*/ 76 h 177"/>
                <a:gd name="T88" fmla="*/ 93 w 286"/>
                <a:gd name="T89" fmla="*/ 84 h 177"/>
                <a:gd name="T90" fmla="*/ 110 w 286"/>
                <a:gd name="T91" fmla="*/ 93 h 177"/>
                <a:gd name="T92" fmla="*/ 118 w 286"/>
                <a:gd name="T93" fmla="*/ 101 h 177"/>
                <a:gd name="T94" fmla="*/ 126 w 286"/>
                <a:gd name="T95" fmla="*/ 109 h 177"/>
                <a:gd name="T96" fmla="*/ 126 w 286"/>
                <a:gd name="T97" fmla="*/ 126 h 177"/>
                <a:gd name="T98" fmla="*/ 152 w 286"/>
                <a:gd name="T99" fmla="*/ 135 h 177"/>
                <a:gd name="T100" fmla="*/ 177 w 286"/>
                <a:gd name="T101" fmla="*/ 143 h 177"/>
                <a:gd name="T102" fmla="*/ 194 w 286"/>
                <a:gd name="T103" fmla="*/ 160 h 177"/>
                <a:gd name="T104" fmla="*/ 202 w 286"/>
                <a:gd name="T105" fmla="*/ 160 h 177"/>
                <a:gd name="T106" fmla="*/ 202 w 286"/>
                <a:gd name="T107" fmla="*/ 168 h 177"/>
                <a:gd name="T108" fmla="*/ 210 w 286"/>
                <a:gd name="T109" fmla="*/ 177 h 177"/>
                <a:gd name="T110" fmla="*/ 219 w 286"/>
                <a:gd name="T111" fmla="*/ 177 h 177"/>
                <a:gd name="T112" fmla="*/ 219 w 286"/>
                <a:gd name="T113" fmla="*/ 177 h 177"/>
                <a:gd name="T114" fmla="*/ 227 w 286"/>
                <a:gd name="T11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177">
                  <a:moveTo>
                    <a:pt x="227" y="177"/>
                  </a:moveTo>
                  <a:lnTo>
                    <a:pt x="227" y="168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6" y="152"/>
                  </a:lnTo>
                  <a:lnTo>
                    <a:pt x="227" y="152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19" y="143"/>
                  </a:lnTo>
                  <a:lnTo>
                    <a:pt x="219" y="135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18"/>
                  </a:lnTo>
                  <a:lnTo>
                    <a:pt x="236" y="118"/>
                  </a:lnTo>
                  <a:lnTo>
                    <a:pt x="236" y="118"/>
                  </a:lnTo>
                  <a:lnTo>
                    <a:pt x="236" y="118"/>
                  </a:lnTo>
                  <a:lnTo>
                    <a:pt x="244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52" y="93"/>
                  </a:lnTo>
                  <a:lnTo>
                    <a:pt x="252" y="93"/>
                  </a:lnTo>
                  <a:lnTo>
                    <a:pt x="261" y="93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78" y="93"/>
                  </a:lnTo>
                  <a:lnTo>
                    <a:pt x="278" y="93"/>
                  </a:lnTo>
                  <a:lnTo>
                    <a:pt x="286" y="93"/>
                  </a:lnTo>
                  <a:lnTo>
                    <a:pt x="286" y="84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78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52" y="76"/>
                  </a:lnTo>
                  <a:lnTo>
                    <a:pt x="252" y="76"/>
                  </a:lnTo>
                  <a:lnTo>
                    <a:pt x="261" y="67"/>
                  </a:lnTo>
                  <a:lnTo>
                    <a:pt x="261" y="59"/>
                  </a:lnTo>
                  <a:lnTo>
                    <a:pt x="261" y="59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44" y="76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36" y="93"/>
                  </a:lnTo>
                  <a:lnTo>
                    <a:pt x="227" y="93"/>
                  </a:lnTo>
                  <a:lnTo>
                    <a:pt x="227" y="93"/>
                  </a:lnTo>
                  <a:lnTo>
                    <a:pt x="219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02" y="93"/>
                  </a:lnTo>
                  <a:lnTo>
                    <a:pt x="194" y="93"/>
                  </a:lnTo>
                  <a:lnTo>
                    <a:pt x="194" y="76"/>
                  </a:lnTo>
                  <a:lnTo>
                    <a:pt x="177" y="76"/>
                  </a:lnTo>
                  <a:lnTo>
                    <a:pt x="177" y="51"/>
                  </a:lnTo>
                  <a:lnTo>
                    <a:pt x="168" y="51"/>
                  </a:lnTo>
                  <a:lnTo>
                    <a:pt x="168" y="42"/>
                  </a:lnTo>
                  <a:lnTo>
                    <a:pt x="160" y="34"/>
                  </a:lnTo>
                  <a:lnTo>
                    <a:pt x="126" y="34"/>
                  </a:lnTo>
                  <a:lnTo>
                    <a:pt x="101" y="34"/>
                  </a:lnTo>
                  <a:lnTo>
                    <a:pt x="84" y="25"/>
                  </a:lnTo>
                  <a:lnTo>
                    <a:pt x="76" y="25"/>
                  </a:lnTo>
                  <a:lnTo>
                    <a:pt x="51" y="0"/>
                  </a:lnTo>
                  <a:lnTo>
                    <a:pt x="0" y="9"/>
                  </a:lnTo>
                  <a:lnTo>
                    <a:pt x="17" y="93"/>
                  </a:lnTo>
                  <a:lnTo>
                    <a:pt x="26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84"/>
                  </a:lnTo>
                  <a:lnTo>
                    <a:pt x="34" y="76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9" y="67"/>
                  </a:lnTo>
                  <a:lnTo>
                    <a:pt x="68" y="67"/>
                  </a:lnTo>
                  <a:lnTo>
                    <a:pt x="76" y="76"/>
                  </a:lnTo>
                  <a:lnTo>
                    <a:pt x="84" y="84"/>
                  </a:lnTo>
                  <a:lnTo>
                    <a:pt x="93" y="84"/>
                  </a:lnTo>
                  <a:lnTo>
                    <a:pt x="101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8" y="101"/>
                  </a:lnTo>
                  <a:lnTo>
                    <a:pt x="118" y="109"/>
                  </a:lnTo>
                  <a:lnTo>
                    <a:pt x="126" y="109"/>
                  </a:lnTo>
                  <a:lnTo>
                    <a:pt x="126" y="118"/>
                  </a:lnTo>
                  <a:lnTo>
                    <a:pt x="126" y="126"/>
                  </a:lnTo>
                  <a:lnTo>
                    <a:pt x="135" y="126"/>
                  </a:lnTo>
                  <a:lnTo>
                    <a:pt x="152" y="135"/>
                  </a:lnTo>
                  <a:lnTo>
                    <a:pt x="160" y="143"/>
                  </a:lnTo>
                  <a:lnTo>
                    <a:pt x="177" y="143"/>
                  </a:lnTo>
                  <a:lnTo>
                    <a:pt x="185" y="152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8"/>
                  </a:lnTo>
                  <a:lnTo>
                    <a:pt x="202" y="177"/>
                  </a:lnTo>
                  <a:lnTo>
                    <a:pt x="210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27" y="177"/>
                  </a:lnTo>
                  <a:lnTo>
                    <a:pt x="227" y="1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A645E6AD-4392-4B86-B1FC-9FA07E67D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314" y="4070694"/>
              <a:ext cx="295058" cy="187339"/>
            </a:xfrm>
            <a:custGeom>
              <a:avLst/>
              <a:gdLst>
                <a:gd name="T0" fmla="*/ 252 w 252"/>
                <a:gd name="T1" fmla="*/ 93 h 160"/>
                <a:gd name="T2" fmla="*/ 244 w 252"/>
                <a:gd name="T3" fmla="*/ 93 h 160"/>
                <a:gd name="T4" fmla="*/ 210 w 252"/>
                <a:gd name="T5" fmla="*/ 76 h 160"/>
                <a:gd name="T6" fmla="*/ 176 w 252"/>
                <a:gd name="T7" fmla="*/ 59 h 160"/>
                <a:gd name="T8" fmla="*/ 168 w 252"/>
                <a:gd name="T9" fmla="*/ 42 h 160"/>
                <a:gd name="T10" fmla="*/ 160 w 252"/>
                <a:gd name="T11" fmla="*/ 26 h 160"/>
                <a:gd name="T12" fmla="*/ 134 w 252"/>
                <a:gd name="T13" fmla="*/ 17 h 160"/>
                <a:gd name="T14" fmla="*/ 109 w 252"/>
                <a:gd name="T15" fmla="*/ 0 h 160"/>
                <a:gd name="T16" fmla="*/ 101 w 252"/>
                <a:gd name="T17" fmla="*/ 0 h 160"/>
                <a:gd name="T18" fmla="*/ 92 w 252"/>
                <a:gd name="T19" fmla="*/ 9 h 160"/>
                <a:gd name="T20" fmla="*/ 84 w 252"/>
                <a:gd name="T21" fmla="*/ 26 h 160"/>
                <a:gd name="T22" fmla="*/ 76 w 252"/>
                <a:gd name="T23" fmla="*/ 26 h 160"/>
                <a:gd name="T24" fmla="*/ 42 w 252"/>
                <a:gd name="T25" fmla="*/ 17 h 160"/>
                <a:gd name="T26" fmla="*/ 17 w 252"/>
                <a:gd name="T27" fmla="*/ 9 h 160"/>
                <a:gd name="T28" fmla="*/ 8 w 252"/>
                <a:gd name="T29" fmla="*/ 26 h 160"/>
                <a:gd name="T30" fmla="*/ 8 w 252"/>
                <a:gd name="T31" fmla="*/ 34 h 160"/>
                <a:gd name="T32" fmla="*/ 8 w 252"/>
                <a:gd name="T33" fmla="*/ 51 h 160"/>
                <a:gd name="T34" fmla="*/ 17 w 252"/>
                <a:gd name="T35" fmla="*/ 59 h 160"/>
                <a:gd name="T36" fmla="*/ 17 w 252"/>
                <a:gd name="T37" fmla="*/ 59 h 160"/>
                <a:gd name="T38" fmla="*/ 25 w 252"/>
                <a:gd name="T39" fmla="*/ 59 h 160"/>
                <a:gd name="T40" fmla="*/ 25 w 252"/>
                <a:gd name="T41" fmla="*/ 68 h 160"/>
                <a:gd name="T42" fmla="*/ 34 w 252"/>
                <a:gd name="T43" fmla="*/ 76 h 160"/>
                <a:gd name="T44" fmla="*/ 25 w 252"/>
                <a:gd name="T45" fmla="*/ 68 h 160"/>
                <a:gd name="T46" fmla="*/ 25 w 252"/>
                <a:gd name="T47" fmla="*/ 85 h 160"/>
                <a:gd name="T48" fmla="*/ 25 w 252"/>
                <a:gd name="T49" fmla="*/ 76 h 160"/>
                <a:gd name="T50" fmla="*/ 34 w 252"/>
                <a:gd name="T51" fmla="*/ 85 h 160"/>
                <a:gd name="T52" fmla="*/ 42 w 252"/>
                <a:gd name="T53" fmla="*/ 93 h 160"/>
                <a:gd name="T54" fmla="*/ 42 w 252"/>
                <a:gd name="T55" fmla="*/ 118 h 160"/>
                <a:gd name="T56" fmla="*/ 59 w 252"/>
                <a:gd name="T57" fmla="*/ 110 h 160"/>
                <a:gd name="T58" fmla="*/ 67 w 252"/>
                <a:gd name="T59" fmla="*/ 101 h 160"/>
                <a:gd name="T60" fmla="*/ 84 w 252"/>
                <a:gd name="T61" fmla="*/ 101 h 160"/>
                <a:gd name="T62" fmla="*/ 92 w 252"/>
                <a:gd name="T63" fmla="*/ 101 h 160"/>
                <a:gd name="T64" fmla="*/ 118 w 252"/>
                <a:gd name="T65" fmla="*/ 110 h 160"/>
                <a:gd name="T66" fmla="*/ 134 w 252"/>
                <a:gd name="T67" fmla="*/ 110 h 160"/>
                <a:gd name="T68" fmla="*/ 134 w 252"/>
                <a:gd name="T69" fmla="*/ 118 h 160"/>
                <a:gd name="T70" fmla="*/ 151 w 252"/>
                <a:gd name="T71" fmla="*/ 127 h 160"/>
                <a:gd name="T72" fmla="*/ 168 w 252"/>
                <a:gd name="T73" fmla="*/ 135 h 160"/>
                <a:gd name="T74" fmla="*/ 168 w 252"/>
                <a:gd name="T75" fmla="*/ 143 h 160"/>
                <a:gd name="T76" fmla="*/ 176 w 252"/>
                <a:gd name="T77" fmla="*/ 152 h 160"/>
                <a:gd name="T78" fmla="*/ 185 w 252"/>
                <a:gd name="T79" fmla="*/ 152 h 160"/>
                <a:gd name="T80" fmla="*/ 193 w 252"/>
                <a:gd name="T81" fmla="*/ 152 h 160"/>
                <a:gd name="T82" fmla="*/ 202 w 252"/>
                <a:gd name="T83" fmla="*/ 152 h 160"/>
                <a:gd name="T84" fmla="*/ 210 w 252"/>
                <a:gd name="T85" fmla="*/ 143 h 160"/>
                <a:gd name="T86" fmla="*/ 218 w 252"/>
                <a:gd name="T87" fmla="*/ 143 h 160"/>
                <a:gd name="T88" fmla="*/ 227 w 252"/>
                <a:gd name="T89" fmla="*/ 135 h 160"/>
                <a:gd name="T90" fmla="*/ 227 w 252"/>
                <a:gd name="T91" fmla="*/ 118 h 160"/>
                <a:gd name="T92" fmla="*/ 227 w 252"/>
                <a:gd name="T93" fmla="*/ 118 h 160"/>
                <a:gd name="T94" fmla="*/ 235 w 252"/>
                <a:gd name="T95" fmla="*/ 110 h 160"/>
                <a:gd name="T96" fmla="*/ 244 w 252"/>
                <a:gd name="T97" fmla="*/ 110 h 160"/>
                <a:gd name="T98" fmla="*/ 252 w 252"/>
                <a:gd name="T99" fmla="*/ 11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2" h="160">
                  <a:moveTo>
                    <a:pt x="252" y="110"/>
                  </a:moveTo>
                  <a:lnTo>
                    <a:pt x="252" y="101"/>
                  </a:lnTo>
                  <a:lnTo>
                    <a:pt x="252" y="93"/>
                  </a:lnTo>
                  <a:lnTo>
                    <a:pt x="252" y="93"/>
                  </a:lnTo>
                  <a:lnTo>
                    <a:pt x="244" y="93"/>
                  </a:lnTo>
                  <a:lnTo>
                    <a:pt x="244" y="93"/>
                  </a:lnTo>
                  <a:lnTo>
                    <a:pt x="235" y="85"/>
                  </a:lnTo>
                  <a:lnTo>
                    <a:pt x="227" y="76"/>
                  </a:lnTo>
                  <a:lnTo>
                    <a:pt x="210" y="76"/>
                  </a:lnTo>
                  <a:lnTo>
                    <a:pt x="202" y="68"/>
                  </a:lnTo>
                  <a:lnTo>
                    <a:pt x="185" y="59"/>
                  </a:lnTo>
                  <a:lnTo>
                    <a:pt x="176" y="59"/>
                  </a:lnTo>
                  <a:lnTo>
                    <a:pt x="176" y="51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68" y="34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51" y="26"/>
                  </a:lnTo>
                  <a:lnTo>
                    <a:pt x="143" y="17"/>
                  </a:lnTo>
                  <a:lnTo>
                    <a:pt x="134" y="17"/>
                  </a:lnTo>
                  <a:lnTo>
                    <a:pt x="126" y="9"/>
                  </a:lnTo>
                  <a:lnTo>
                    <a:pt x="118" y="0"/>
                  </a:lnTo>
                  <a:lnTo>
                    <a:pt x="109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76" y="26"/>
                  </a:lnTo>
                  <a:lnTo>
                    <a:pt x="67" y="26"/>
                  </a:lnTo>
                  <a:lnTo>
                    <a:pt x="59" y="34"/>
                  </a:lnTo>
                  <a:lnTo>
                    <a:pt x="42" y="17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51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68"/>
                  </a:lnTo>
                  <a:lnTo>
                    <a:pt x="17" y="68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34" y="68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25" y="68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42" y="85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101"/>
                  </a:lnTo>
                  <a:lnTo>
                    <a:pt x="42" y="110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9" y="118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67" y="101"/>
                  </a:lnTo>
                  <a:lnTo>
                    <a:pt x="76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92" y="9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101" y="101"/>
                  </a:lnTo>
                  <a:lnTo>
                    <a:pt x="109" y="101"/>
                  </a:lnTo>
                  <a:lnTo>
                    <a:pt x="118" y="110"/>
                  </a:lnTo>
                  <a:lnTo>
                    <a:pt x="118" y="110"/>
                  </a:lnTo>
                  <a:lnTo>
                    <a:pt x="126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43" y="118"/>
                  </a:lnTo>
                  <a:lnTo>
                    <a:pt x="151" y="118"/>
                  </a:lnTo>
                  <a:lnTo>
                    <a:pt x="151" y="127"/>
                  </a:lnTo>
                  <a:lnTo>
                    <a:pt x="160" y="127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52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85" y="152"/>
                  </a:lnTo>
                  <a:lnTo>
                    <a:pt x="185" y="152"/>
                  </a:lnTo>
                  <a:lnTo>
                    <a:pt x="185" y="152"/>
                  </a:lnTo>
                  <a:lnTo>
                    <a:pt x="193" y="152"/>
                  </a:lnTo>
                  <a:lnTo>
                    <a:pt x="193" y="152"/>
                  </a:lnTo>
                  <a:lnTo>
                    <a:pt x="193" y="160"/>
                  </a:lnTo>
                  <a:lnTo>
                    <a:pt x="193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0" y="143"/>
                  </a:lnTo>
                  <a:lnTo>
                    <a:pt x="202" y="143"/>
                  </a:lnTo>
                  <a:lnTo>
                    <a:pt x="210" y="143"/>
                  </a:lnTo>
                  <a:lnTo>
                    <a:pt x="218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27" y="135"/>
                  </a:lnTo>
                  <a:lnTo>
                    <a:pt x="227" y="127"/>
                  </a:lnTo>
                  <a:lnTo>
                    <a:pt x="227" y="127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Freeform 20">
              <a:extLst>
                <a:ext uri="{FF2B5EF4-FFF2-40B4-BE49-F238E27FC236}">
                  <a16:creationId xmlns:a16="http://schemas.microsoft.com/office/drawing/2014/main" id="{9A2C0426-026F-46CE-AAEF-A89CE7CA8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6566" y="5400800"/>
              <a:ext cx="69081" cy="49176"/>
            </a:xfrm>
            <a:custGeom>
              <a:avLst/>
              <a:gdLst>
                <a:gd name="T0" fmla="*/ 26 w 59"/>
                <a:gd name="T1" fmla="*/ 17 h 42"/>
                <a:gd name="T2" fmla="*/ 34 w 59"/>
                <a:gd name="T3" fmla="*/ 8 h 42"/>
                <a:gd name="T4" fmla="*/ 34 w 59"/>
                <a:gd name="T5" fmla="*/ 8 h 42"/>
                <a:gd name="T6" fmla="*/ 42 w 59"/>
                <a:gd name="T7" fmla="*/ 8 h 42"/>
                <a:gd name="T8" fmla="*/ 42 w 59"/>
                <a:gd name="T9" fmla="*/ 8 h 42"/>
                <a:gd name="T10" fmla="*/ 51 w 59"/>
                <a:gd name="T11" fmla="*/ 0 h 42"/>
                <a:gd name="T12" fmla="*/ 51 w 59"/>
                <a:gd name="T13" fmla="*/ 0 h 42"/>
                <a:gd name="T14" fmla="*/ 59 w 59"/>
                <a:gd name="T15" fmla="*/ 0 h 42"/>
                <a:gd name="T16" fmla="*/ 59 w 59"/>
                <a:gd name="T17" fmla="*/ 0 h 42"/>
                <a:gd name="T18" fmla="*/ 51 w 59"/>
                <a:gd name="T19" fmla="*/ 0 h 42"/>
                <a:gd name="T20" fmla="*/ 51 w 59"/>
                <a:gd name="T21" fmla="*/ 8 h 42"/>
                <a:gd name="T22" fmla="*/ 51 w 59"/>
                <a:gd name="T23" fmla="*/ 8 h 42"/>
                <a:gd name="T24" fmla="*/ 51 w 59"/>
                <a:gd name="T25" fmla="*/ 8 h 42"/>
                <a:gd name="T26" fmla="*/ 51 w 59"/>
                <a:gd name="T27" fmla="*/ 8 h 42"/>
                <a:gd name="T28" fmla="*/ 59 w 59"/>
                <a:gd name="T29" fmla="*/ 8 h 42"/>
                <a:gd name="T30" fmla="*/ 51 w 59"/>
                <a:gd name="T31" fmla="*/ 17 h 42"/>
                <a:gd name="T32" fmla="*/ 42 w 59"/>
                <a:gd name="T33" fmla="*/ 17 h 42"/>
                <a:gd name="T34" fmla="*/ 42 w 59"/>
                <a:gd name="T35" fmla="*/ 8 h 42"/>
                <a:gd name="T36" fmla="*/ 42 w 59"/>
                <a:gd name="T37" fmla="*/ 8 h 42"/>
                <a:gd name="T38" fmla="*/ 42 w 59"/>
                <a:gd name="T39" fmla="*/ 17 h 42"/>
                <a:gd name="T40" fmla="*/ 34 w 59"/>
                <a:gd name="T41" fmla="*/ 17 h 42"/>
                <a:gd name="T42" fmla="*/ 34 w 59"/>
                <a:gd name="T43" fmla="*/ 17 h 42"/>
                <a:gd name="T44" fmla="*/ 26 w 59"/>
                <a:gd name="T45" fmla="*/ 17 h 42"/>
                <a:gd name="T46" fmla="*/ 26 w 59"/>
                <a:gd name="T47" fmla="*/ 17 h 42"/>
                <a:gd name="T48" fmla="*/ 9 w 59"/>
                <a:gd name="T49" fmla="*/ 25 h 42"/>
                <a:gd name="T50" fmla="*/ 17 w 59"/>
                <a:gd name="T51" fmla="*/ 25 h 42"/>
                <a:gd name="T52" fmla="*/ 26 w 59"/>
                <a:gd name="T53" fmla="*/ 25 h 42"/>
                <a:gd name="T54" fmla="*/ 26 w 59"/>
                <a:gd name="T55" fmla="*/ 25 h 42"/>
                <a:gd name="T56" fmla="*/ 34 w 59"/>
                <a:gd name="T57" fmla="*/ 42 h 42"/>
                <a:gd name="T58" fmla="*/ 26 w 59"/>
                <a:gd name="T59" fmla="*/ 42 h 42"/>
                <a:gd name="T60" fmla="*/ 17 w 59"/>
                <a:gd name="T61" fmla="*/ 42 h 42"/>
                <a:gd name="T62" fmla="*/ 17 w 59"/>
                <a:gd name="T63" fmla="*/ 42 h 42"/>
                <a:gd name="T64" fmla="*/ 9 w 59"/>
                <a:gd name="T65" fmla="*/ 42 h 42"/>
                <a:gd name="T66" fmla="*/ 0 w 59"/>
                <a:gd name="T67" fmla="*/ 42 h 42"/>
                <a:gd name="T68" fmla="*/ 0 w 59"/>
                <a:gd name="T69" fmla="*/ 34 h 42"/>
                <a:gd name="T70" fmla="*/ 9 w 59"/>
                <a:gd name="T71" fmla="*/ 34 h 42"/>
                <a:gd name="T72" fmla="*/ 9 w 59"/>
                <a:gd name="T73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42">
                  <a:moveTo>
                    <a:pt x="26" y="17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1" y="17"/>
                  </a:lnTo>
                  <a:lnTo>
                    <a:pt x="42" y="1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6" y="17"/>
                  </a:lnTo>
                  <a:lnTo>
                    <a:pt x="26" y="17"/>
                  </a:lnTo>
                  <a:close/>
                  <a:moveTo>
                    <a:pt x="9" y="25"/>
                  </a:moveTo>
                  <a:lnTo>
                    <a:pt x="17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34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21">
              <a:extLst>
                <a:ext uri="{FF2B5EF4-FFF2-40B4-BE49-F238E27FC236}">
                  <a16:creationId xmlns:a16="http://schemas.microsoft.com/office/drawing/2014/main" id="{E80EF929-C05D-4452-B347-BC8CED2BE9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0494" y="5360990"/>
              <a:ext cx="38639" cy="118258"/>
            </a:xfrm>
            <a:custGeom>
              <a:avLst/>
              <a:gdLst>
                <a:gd name="T0" fmla="*/ 4 w 4"/>
                <a:gd name="T1" fmla="*/ 12 h 12"/>
                <a:gd name="T2" fmla="*/ 4 w 4"/>
                <a:gd name="T3" fmla="*/ 12 h 12"/>
                <a:gd name="T4" fmla="*/ 4 w 4"/>
                <a:gd name="T5" fmla="*/ 10 h 12"/>
                <a:gd name="T6" fmla="*/ 4 w 4"/>
                <a:gd name="T7" fmla="*/ 11 h 12"/>
                <a:gd name="T8" fmla="*/ 4 w 4"/>
                <a:gd name="T9" fmla="*/ 10 h 12"/>
                <a:gd name="T10" fmla="*/ 3 w 4"/>
                <a:gd name="T11" fmla="*/ 7 h 12"/>
                <a:gd name="T12" fmla="*/ 3 w 4"/>
                <a:gd name="T13" fmla="*/ 7 h 12"/>
                <a:gd name="T14" fmla="*/ 3 w 4"/>
                <a:gd name="T15" fmla="*/ 8 h 12"/>
                <a:gd name="T16" fmla="*/ 3 w 4"/>
                <a:gd name="T17" fmla="*/ 7 h 12"/>
                <a:gd name="T18" fmla="*/ 3 w 4"/>
                <a:gd name="T19" fmla="*/ 1 h 12"/>
                <a:gd name="T20" fmla="*/ 3 w 4"/>
                <a:gd name="T21" fmla="*/ 1 h 12"/>
                <a:gd name="T22" fmla="*/ 2 w 4"/>
                <a:gd name="T23" fmla="*/ 2 h 12"/>
                <a:gd name="T24" fmla="*/ 3 w 4"/>
                <a:gd name="T25" fmla="*/ 1 h 12"/>
                <a:gd name="T26" fmla="*/ 2 w 4"/>
                <a:gd name="T27" fmla="*/ 1 h 12"/>
                <a:gd name="T28" fmla="*/ 3 w 4"/>
                <a:gd name="T29" fmla="*/ 2 h 12"/>
                <a:gd name="T30" fmla="*/ 3 w 4"/>
                <a:gd name="T31" fmla="*/ 3 h 12"/>
                <a:gd name="T32" fmla="*/ 3 w 4"/>
                <a:gd name="T33" fmla="*/ 3 h 12"/>
                <a:gd name="T34" fmla="*/ 3 w 4"/>
                <a:gd name="T35" fmla="*/ 2 h 12"/>
                <a:gd name="T36" fmla="*/ 3 w 4"/>
                <a:gd name="T37" fmla="*/ 5 h 12"/>
                <a:gd name="T38" fmla="*/ 3 w 4"/>
                <a:gd name="T39" fmla="*/ 5 h 12"/>
                <a:gd name="T40" fmla="*/ 3 w 4"/>
                <a:gd name="T41" fmla="*/ 5 h 12"/>
                <a:gd name="T42" fmla="*/ 3 w 4"/>
                <a:gd name="T43" fmla="*/ 4 h 12"/>
                <a:gd name="T44" fmla="*/ 3 w 4"/>
                <a:gd name="T45" fmla="*/ 4 h 12"/>
                <a:gd name="T46" fmla="*/ 3 w 4"/>
                <a:gd name="T47" fmla="*/ 4 h 12"/>
                <a:gd name="T48" fmla="*/ 3 w 4"/>
                <a:gd name="T49" fmla="*/ 4 h 12"/>
                <a:gd name="T50" fmla="*/ 2 w 4"/>
                <a:gd name="T51" fmla="*/ 4 h 12"/>
                <a:gd name="T52" fmla="*/ 1 w 4"/>
                <a:gd name="T53" fmla="*/ 3 h 12"/>
                <a:gd name="T54" fmla="*/ 2 w 4"/>
                <a:gd name="T55" fmla="*/ 4 h 12"/>
                <a:gd name="T56" fmla="*/ 2 w 4"/>
                <a:gd name="T57" fmla="*/ 4 h 12"/>
                <a:gd name="T58" fmla="*/ 1 w 4"/>
                <a:gd name="T59" fmla="*/ 5 h 12"/>
                <a:gd name="T60" fmla="*/ 1 w 4"/>
                <a:gd name="T61" fmla="*/ 4 h 12"/>
                <a:gd name="T62" fmla="*/ 1 w 4"/>
                <a:gd name="T63" fmla="*/ 3 h 12"/>
                <a:gd name="T64" fmla="*/ 1 w 4"/>
                <a:gd name="T65" fmla="*/ 3 h 12"/>
                <a:gd name="T66" fmla="*/ 0 w 4"/>
                <a:gd name="T67" fmla="*/ 0 h 12"/>
                <a:gd name="T68" fmla="*/ 0 w 4"/>
                <a:gd name="T69" fmla="*/ 1 h 12"/>
                <a:gd name="T70" fmla="*/ 0 w 4"/>
                <a:gd name="T71" fmla="*/ 2 h 12"/>
                <a:gd name="T72" fmla="*/ 1 w 4"/>
                <a:gd name="T73" fmla="*/ 2 h 12"/>
                <a:gd name="T74" fmla="*/ 1 w 4"/>
                <a:gd name="T75" fmla="*/ 2 h 12"/>
                <a:gd name="T76" fmla="*/ 1 w 4"/>
                <a:gd name="T77" fmla="*/ 1 h 12"/>
                <a:gd name="T78" fmla="*/ 1 w 4"/>
                <a:gd name="T79" fmla="*/ 0 h 12"/>
                <a:gd name="T80" fmla="*/ 1 w 4"/>
                <a:gd name="T81" fmla="*/ 1 h 12"/>
                <a:gd name="T82" fmla="*/ 0 w 4"/>
                <a:gd name="T83" fmla="*/ 1 h 12"/>
                <a:gd name="T84" fmla="*/ 0 w 4"/>
                <a:gd name="T8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lose/>
                  <a:moveTo>
                    <a:pt x="3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lose/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2BE053E6-B892-4518-9C0C-9E30911CBD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3250" y="5164285"/>
              <a:ext cx="207243" cy="127625"/>
            </a:xfrm>
            <a:custGeom>
              <a:avLst/>
              <a:gdLst>
                <a:gd name="T0" fmla="*/ 20 w 21"/>
                <a:gd name="T1" fmla="*/ 10 h 13"/>
                <a:gd name="T2" fmla="*/ 20 w 21"/>
                <a:gd name="T3" fmla="*/ 11 h 13"/>
                <a:gd name="T4" fmla="*/ 8 w 21"/>
                <a:gd name="T5" fmla="*/ 12 h 13"/>
                <a:gd name="T6" fmla="*/ 9 w 21"/>
                <a:gd name="T7" fmla="*/ 13 h 13"/>
                <a:gd name="T8" fmla="*/ 8 w 21"/>
                <a:gd name="T9" fmla="*/ 12 h 13"/>
                <a:gd name="T10" fmla="*/ 11 w 21"/>
                <a:gd name="T11" fmla="*/ 9 h 13"/>
                <a:gd name="T12" fmla="*/ 13 w 21"/>
                <a:gd name="T13" fmla="*/ 10 h 13"/>
                <a:gd name="T14" fmla="*/ 12 w 21"/>
                <a:gd name="T15" fmla="*/ 11 h 13"/>
                <a:gd name="T16" fmla="*/ 11 w 21"/>
                <a:gd name="T17" fmla="*/ 10 h 13"/>
                <a:gd name="T18" fmla="*/ 8 w 21"/>
                <a:gd name="T19" fmla="*/ 7 h 13"/>
                <a:gd name="T20" fmla="*/ 10 w 21"/>
                <a:gd name="T21" fmla="*/ 8 h 13"/>
                <a:gd name="T22" fmla="*/ 10 w 21"/>
                <a:gd name="T23" fmla="*/ 9 h 13"/>
                <a:gd name="T24" fmla="*/ 8 w 21"/>
                <a:gd name="T25" fmla="*/ 8 h 13"/>
                <a:gd name="T26" fmla="*/ 8 w 21"/>
                <a:gd name="T27" fmla="*/ 7 h 13"/>
                <a:gd name="T28" fmla="*/ 9 w 21"/>
                <a:gd name="T29" fmla="*/ 6 h 13"/>
                <a:gd name="T30" fmla="*/ 9 w 21"/>
                <a:gd name="T31" fmla="*/ 7 h 13"/>
                <a:gd name="T32" fmla="*/ 10 w 21"/>
                <a:gd name="T33" fmla="*/ 5 h 13"/>
                <a:gd name="T34" fmla="*/ 10 w 21"/>
                <a:gd name="T35" fmla="*/ 7 h 13"/>
                <a:gd name="T36" fmla="*/ 11 w 21"/>
                <a:gd name="T37" fmla="*/ 8 h 13"/>
                <a:gd name="T38" fmla="*/ 11 w 21"/>
                <a:gd name="T39" fmla="*/ 7 h 13"/>
                <a:gd name="T40" fmla="*/ 10 w 21"/>
                <a:gd name="T41" fmla="*/ 6 h 13"/>
                <a:gd name="T42" fmla="*/ 9 w 21"/>
                <a:gd name="T43" fmla="*/ 5 h 13"/>
                <a:gd name="T44" fmla="*/ 6 w 21"/>
                <a:gd name="T45" fmla="*/ 4 h 13"/>
                <a:gd name="T46" fmla="*/ 8 w 21"/>
                <a:gd name="T47" fmla="*/ 5 h 13"/>
                <a:gd name="T48" fmla="*/ 7 w 21"/>
                <a:gd name="T49" fmla="*/ 5 h 13"/>
                <a:gd name="T50" fmla="*/ 7 w 21"/>
                <a:gd name="T51" fmla="*/ 5 h 13"/>
                <a:gd name="T52" fmla="*/ 4 w 21"/>
                <a:gd name="T53" fmla="*/ 6 h 13"/>
                <a:gd name="T54" fmla="*/ 4 w 21"/>
                <a:gd name="T55" fmla="*/ 6 h 13"/>
                <a:gd name="T56" fmla="*/ 3 w 21"/>
                <a:gd name="T57" fmla="*/ 5 h 13"/>
                <a:gd name="T58" fmla="*/ 3 w 21"/>
                <a:gd name="T59" fmla="*/ 6 h 13"/>
                <a:gd name="T60" fmla="*/ 3 w 21"/>
                <a:gd name="T61" fmla="*/ 5 h 13"/>
                <a:gd name="T62" fmla="*/ 4 w 21"/>
                <a:gd name="T63" fmla="*/ 5 h 13"/>
                <a:gd name="T64" fmla="*/ 4 w 21"/>
                <a:gd name="T65" fmla="*/ 5 h 13"/>
                <a:gd name="T66" fmla="*/ 3 w 21"/>
                <a:gd name="T67" fmla="*/ 4 h 13"/>
                <a:gd name="T68" fmla="*/ 2 w 21"/>
                <a:gd name="T69" fmla="*/ 4 h 13"/>
                <a:gd name="T70" fmla="*/ 3 w 21"/>
                <a:gd name="T71" fmla="*/ 4 h 13"/>
                <a:gd name="T72" fmla="*/ 2 w 21"/>
                <a:gd name="T73" fmla="*/ 4 h 13"/>
                <a:gd name="T74" fmla="*/ 2 w 21"/>
                <a:gd name="T75" fmla="*/ 4 h 13"/>
                <a:gd name="T76" fmla="*/ 1 w 21"/>
                <a:gd name="T77" fmla="*/ 4 h 13"/>
                <a:gd name="T78" fmla="*/ 1 w 21"/>
                <a:gd name="T79" fmla="*/ 1 h 13"/>
                <a:gd name="T80" fmla="*/ 1 w 21"/>
                <a:gd name="T81" fmla="*/ 1 h 13"/>
                <a:gd name="T82" fmla="*/ 2 w 21"/>
                <a:gd name="T83" fmla="*/ 2 h 13"/>
                <a:gd name="T84" fmla="*/ 3 w 21"/>
                <a:gd name="T85" fmla="*/ 3 h 13"/>
                <a:gd name="T86" fmla="*/ 3 w 21"/>
                <a:gd name="T87" fmla="*/ 2 h 13"/>
                <a:gd name="T88" fmla="*/ 2 w 21"/>
                <a:gd name="T89" fmla="*/ 2 h 13"/>
                <a:gd name="T90" fmla="*/ 0 w 21"/>
                <a:gd name="T9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" h="13">
                  <a:moveTo>
                    <a:pt x="20" y="11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lose/>
                  <a:moveTo>
                    <a:pt x="8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lose/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9" y="7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lose/>
                  <a:moveTo>
                    <a:pt x="9" y="5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5"/>
                    <a:pt x="9" y="5"/>
                    <a:pt x="9" y="5"/>
                  </a:cubicBezTo>
                  <a:close/>
                  <a:moveTo>
                    <a:pt x="5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2A77FCE9-CC29-4112-A01F-DB9C07E7B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9458" y="5056565"/>
              <a:ext cx="313792" cy="235344"/>
            </a:xfrm>
            <a:custGeom>
              <a:avLst/>
              <a:gdLst>
                <a:gd name="T0" fmla="*/ 26 w 32"/>
                <a:gd name="T1" fmla="*/ 23 h 24"/>
                <a:gd name="T2" fmla="*/ 26 w 32"/>
                <a:gd name="T3" fmla="*/ 23 h 24"/>
                <a:gd name="T4" fmla="*/ 14 w 32"/>
                <a:gd name="T5" fmla="*/ 3 h 24"/>
                <a:gd name="T6" fmla="*/ 30 w 32"/>
                <a:gd name="T7" fmla="*/ 11 h 24"/>
                <a:gd name="T8" fmla="*/ 31 w 32"/>
                <a:gd name="T9" fmla="*/ 13 h 24"/>
                <a:gd name="T10" fmla="*/ 30 w 32"/>
                <a:gd name="T11" fmla="*/ 10 h 24"/>
                <a:gd name="T12" fmla="*/ 28 w 32"/>
                <a:gd name="T13" fmla="*/ 8 h 24"/>
                <a:gd name="T14" fmla="*/ 22 w 32"/>
                <a:gd name="T15" fmla="*/ 4 h 24"/>
                <a:gd name="T16" fmla="*/ 26 w 32"/>
                <a:gd name="T17" fmla="*/ 7 h 24"/>
                <a:gd name="T18" fmla="*/ 25 w 32"/>
                <a:gd name="T19" fmla="*/ 6 h 24"/>
                <a:gd name="T20" fmla="*/ 19 w 32"/>
                <a:gd name="T21" fmla="*/ 0 h 24"/>
                <a:gd name="T22" fmla="*/ 21 w 32"/>
                <a:gd name="T23" fmla="*/ 4 h 24"/>
                <a:gd name="T24" fmla="*/ 20 w 32"/>
                <a:gd name="T25" fmla="*/ 8 h 24"/>
                <a:gd name="T26" fmla="*/ 18 w 32"/>
                <a:gd name="T27" fmla="*/ 11 h 24"/>
                <a:gd name="T28" fmla="*/ 21 w 32"/>
                <a:gd name="T29" fmla="*/ 12 h 24"/>
                <a:gd name="T30" fmla="*/ 24 w 32"/>
                <a:gd name="T31" fmla="*/ 10 h 24"/>
                <a:gd name="T32" fmla="*/ 24 w 32"/>
                <a:gd name="T33" fmla="*/ 7 h 24"/>
                <a:gd name="T34" fmla="*/ 23 w 32"/>
                <a:gd name="T35" fmla="*/ 9 h 24"/>
                <a:gd name="T36" fmla="*/ 20 w 32"/>
                <a:gd name="T37" fmla="*/ 10 h 24"/>
                <a:gd name="T38" fmla="*/ 19 w 32"/>
                <a:gd name="T39" fmla="*/ 10 h 24"/>
                <a:gd name="T40" fmla="*/ 15 w 32"/>
                <a:gd name="T41" fmla="*/ 10 h 24"/>
                <a:gd name="T42" fmla="*/ 13 w 32"/>
                <a:gd name="T43" fmla="*/ 10 h 24"/>
                <a:gd name="T44" fmla="*/ 11 w 32"/>
                <a:gd name="T45" fmla="*/ 8 h 24"/>
                <a:gd name="T46" fmla="*/ 25 w 32"/>
                <a:gd name="T47" fmla="*/ 17 h 24"/>
                <a:gd name="T48" fmla="*/ 22 w 32"/>
                <a:gd name="T49" fmla="*/ 17 h 24"/>
                <a:gd name="T50" fmla="*/ 21 w 32"/>
                <a:gd name="T51" fmla="*/ 20 h 24"/>
                <a:gd name="T52" fmla="*/ 21 w 32"/>
                <a:gd name="T53" fmla="*/ 20 h 24"/>
                <a:gd name="T54" fmla="*/ 21 w 32"/>
                <a:gd name="T55" fmla="*/ 19 h 24"/>
                <a:gd name="T56" fmla="*/ 20 w 32"/>
                <a:gd name="T57" fmla="*/ 18 h 24"/>
                <a:gd name="T58" fmla="*/ 20 w 32"/>
                <a:gd name="T59" fmla="*/ 18 h 24"/>
                <a:gd name="T60" fmla="*/ 8 w 32"/>
                <a:gd name="T61" fmla="*/ 15 h 24"/>
                <a:gd name="T62" fmla="*/ 8 w 32"/>
                <a:gd name="T63" fmla="*/ 15 h 24"/>
                <a:gd name="T64" fmla="*/ 7 w 32"/>
                <a:gd name="T65" fmla="*/ 15 h 24"/>
                <a:gd name="T66" fmla="*/ 6 w 32"/>
                <a:gd name="T67" fmla="*/ 17 h 24"/>
                <a:gd name="T68" fmla="*/ 5 w 32"/>
                <a:gd name="T69" fmla="*/ 17 h 24"/>
                <a:gd name="T70" fmla="*/ 6 w 32"/>
                <a:gd name="T71" fmla="*/ 16 h 24"/>
                <a:gd name="T72" fmla="*/ 1 w 32"/>
                <a:gd name="T73" fmla="*/ 4 h 24"/>
                <a:gd name="T74" fmla="*/ 2 w 32"/>
                <a:gd name="T75" fmla="*/ 18 h 24"/>
                <a:gd name="T76" fmla="*/ 5 w 32"/>
                <a:gd name="T77" fmla="*/ 18 h 24"/>
                <a:gd name="T78" fmla="*/ 3 w 32"/>
                <a:gd name="T79" fmla="*/ 16 h 24"/>
                <a:gd name="T80" fmla="*/ 2 w 32"/>
                <a:gd name="T81" fmla="*/ 14 h 24"/>
                <a:gd name="T82" fmla="*/ 4 w 32"/>
                <a:gd name="T83" fmla="*/ 16 h 24"/>
                <a:gd name="T84" fmla="*/ 5 w 32"/>
                <a:gd name="T85" fmla="*/ 15 h 24"/>
                <a:gd name="T86" fmla="*/ 6 w 32"/>
                <a:gd name="T87" fmla="*/ 15 h 24"/>
                <a:gd name="T88" fmla="*/ 7 w 32"/>
                <a:gd name="T89" fmla="*/ 15 h 24"/>
                <a:gd name="T90" fmla="*/ 7 w 32"/>
                <a:gd name="T91" fmla="*/ 14 h 24"/>
                <a:gd name="T92" fmla="*/ 9 w 32"/>
                <a:gd name="T93" fmla="*/ 14 h 24"/>
                <a:gd name="T94" fmla="*/ 12 w 32"/>
                <a:gd name="T95" fmla="*/ 17 h 24"/>
                <a:gd name="T96" fmla="*/ 14 w 32"/>
                <a:gd name="T97" fmla="*/ 20 h 24"/>
                <a:gd name="T98" fmla="*/ 18 w 32"/>
                <a:gd name="T99" fmla="*/ 20 h 24"/>
                <a:gd name="T100" fmla="*/ 20 w 32"/>
                <a:gd name="T101" fmla="*/ 21 h 24"/>
                <a:gd name="T102" fmla="*/ 21 w 32"/>
                <a:gd name="T103" fmla="*/ 20 h 24"/>
                <a:gd name="T104" fmla="*/ 19 w 32"/>
                <a:gd name="T105" fmla="*/ 19 h 24"/>
                <a:gd name="T106" fmla="*/ 17 w 32"/>
                <a:gd name="T107" fmla="*/ 18 h 24"/>
                <a:gd name="T108" fmla="*/ 15 w 32"/>
                <a:gd name="T109" fmla="*/ 15 h 24"/>
                <a:gd name="T110" fmla="*/ 13 w 32"/>
                <a:gd name="T111" fmla="*/ 13 h 24"/>
                <a:gd name="T112" fmla="*/ 14 w 32"/>
                <a:gd name="T113" fmla="*/ 11 h 24"/>
                <a:gd name="T114" fmla="*/ 11 w 32"/>
                <a:gd name="T115" fmla="*/ 9 h 24"/>
                <a:gd name="T116" fmla="*/ 8 w 32"/>
                <a:gd name="T117" fmla="*/ 7 h 24"/>
                <a:gd name="T118" fmla="*/ 4 w 32"/>
                <a:gd name="T119" fmla="*/ 5 h 24"/>
                <a:gd name="T120" fmla="*/ 1 w 32"/>
                <a:gd name="T12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24">
                  <a:moveTo>
                    <a:pt x="27" y="23"/>
                  </a:move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lose/>
                  <a:moveTo>
                    <a:pt x="26" y="23"/>
                  </a:move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lose/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2"/>
                    <a:pt x="13" y="2"/>
                  </a:cubicBezTo>
                  <a:close/>
                  <a:moveTo>
                    <a:pt x="30" y="10"/>
                  </a:move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lose/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28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lose/>
                  <a:moveTo>
                    <a:pt x="21" y="4"/>
                  </a:move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lose/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"/>
                    <a:pt x="20" y="3"/>
                    <a:pt x="20" y="3"/>
                  </a:cubicBezTo>
                  <a:close/>
                  <a:moveTo>
                    <a:pt x="20" y="9"/>
                  </a:move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9"/>
                  </a:cubicBezTo>
                  <a:close/>
                  <a:moveTo>
                    <a:pt x="16" y="10"/>
                  </a:moveTo>
                  <a:cubicBezTo>
                    <a:pt x="16" y="10"/>
                    <a:pt x="16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lose/>
                  <a:moveTo>
                    <a:pt x="15" y="1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lose/>
                  <a:moveTo>
                    <a:pt x="13" y="9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25" y="17"/>
                  </a:move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lose/>
                  <a:moveTo>
                    <a:pt x="22" y="16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lose/>
                  <a:moveTo>
                    <a:pt x="21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lose/>
                  <a:moveTo>
                    <a:pt x="20" y="19"/>
                  </a:move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20" y="19"/>
                    <a:pt x="20" y="19"/>
                  </a:cubicBezTo>
                  <a:close/>
                  <a:moveTo>
                    <a:pt x="19" y="18"/>
                  </a:move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9" y="18"/>
                    <a:pt x="19" y="18"/>
                    <a:pt x="19" y="18"/>
                  </a:cubicBezTo>
                  <a:close/>
                  <a:moveTo>
                    <a:pt x="9" y="15"/>
                  </a:move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lose/>
                  <a:moveTo>
                    <a:pt x="8" y="15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7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7" y="15"/>
                    <a:pt x="7" y="15"/>
                  </a:cubicBezTo>
                  <a:close/>
                  <a:moveTo>
                    <a:pt x="8" y="15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6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lose/>
                  <a:moveTo>
                    <a:pt x="5" y="16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5" y="17"/>
                  </a:moveTo>
                  <a:cubicBezTo>
                    <a:pt x="5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5" y="17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6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1" y="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E9D5D9CE-18C8-4789-A692-178D33F86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47157" y="4603439"/>
              <a:ext cx="207243" cy="314963"/>
            </a:xfrm>
            <a:custGeom>
              <a:avLst/>
              <a:gdLst>
                <a:gd name="T0" fmla="*/ 8 w 21"/>
                <a:gd name="T1" fmla="*/ 1 h 32"/>
                <a:gd name="T2" fmla="*/ 11 w 21"/>
                <a:gd name="T3" fmla="*/ 13 h 32"/>
                <a:gd name="T4" fmla="*/ 14 w 21"/>
                <a:gd name="T5" fmla="*/ 13 h 32"/>
                <a:gd name="T6" fmla="*/ 15 w 21"/>
                <a:gd name="T7" fmla="*/ 15 h 32"/>
                <a:gd name="T8" fmla="*/ 15 w 21"/>
                <a:gd name="T9" fmla="*/ 16 h 32"/>
                <a:gd name="T10" fmla="*/ 12 w 21"/>
                <a:gd name="T11" fmla="*/ 13 h 32"/>
                <a:gd name="T12" fmla="*/ 9 w 21"/>
                <a:gd name="T13" fmla="*/ 14 h 32"/>
                <a:gd name="T14" fmla="*/ 8 w 21"/>
                <a:gd name="T15" fmla="*/ 12 h 32"/>
                <a:gd name="T16" fmla="*/ 6 w 21"/>
                <a:gd name="T17" fmla="*/ 11 h 32"/>
                <a:gd name="T18" fmla="*/ 6 w 21"/>
                <a:gd name="T19" fmla="*/ 8 h 32"/>
                <a:gd name="T20" fmla="*/ 8 w 21"/>
                <a:gd name="T21" fmla="*/ 3 h 32"/>
                <a:gd name="T22" fmla="*/ 10 w 21"/>
                <a:gd name="T23" fmla="*/ 4 h 32"/>
                <a:gd name="T24" fmla="*/ 10 w 21"/>
                <a:gd name="T25" fmla="*/ 8 h 32"/>
                <a:gd name="T26" fmla="*/ 10 w 21"/>
                <a:gd name="T27" fmla="*/ 12 h 32"/>
                <a:gd name="T28" fmla="*/ 11 w 21"/>
                <a:gd name="T29" fmla="*/ 10 h 32"/>
                <a:gd name="T30" fmla="*/ 7 w 21"/>
                <a:gd name="T31" fmla="*/ 14 h 32"/>
                <a:gd name="T32" fmla="*/ 10 w 21"/>
                <a:gd name="T33" fmla="*/ 16 h 32"/>
                <a:gd name="T34" fmla="*/ 15 w 21"/>
                <a:gd name="T35" fmla="*/ 13 h 32"/>
                <a:gd name="T36" fmla="*/ 11 w 21"/>
                <a:gd name="T37" fmla="*/ 14 h 32"/>
                <a:gd name="T38" fmla="*/ 11 w 21"/>
                <a:gd name="T39" fmla="*/ 17 h 32"/>
                <a:gd name="T40" fmla="*/ 13 w 21"/>
                <a:gd name="T41" fmla="*/ 15 h 32"/>
                <a:gd name="T42" fmla="*/ 14 w 21"/>
                <a:gd name="T43" fmla="*/ 16 h 32"/>
                <a:gd name="T44" fmla="*/ 14 w 21"/>
                <a:gd name="T45" fmla="*/ 16 h 32"/>
                <a:gd name="T46" fmla="*/ 11 w 21"/>
                <a:gd name="T47" fmla="*/ 21 h 32"/>
                <a:gd name="T48" fmla="*/ 12 w 21"/>
                <a:gd name="T49" fmla="*/ 18 h 32"/>
                <a:gd name="T50" fmla="*/ 13 w 21"/>
                <a:gd name="T51" fmla="*/ 19 h 32"/>
                <a:gd name="T52" fmla="*/ 13 w 21"/>
                <a:gd name="T53" fmla="*/ 21 h 32"/>
                <a:gd name="T54" fmla="*/ 15 w 21"/>
                <a:gd name="T55" fmla="*/ 21 h 32"/>
                <a:gd name="T56" fmla="*/ 14 w 21"/>
                <a:gd name="T57" fmla="*/ 23 h 32"/>
                <a:gd name="T58" fmla="*/ 13 w 21"/>
                <a:gd name="T59" fmla="*/ 21 h 32"/>
                <a:gd name="T60" fmla="*/ 14 w 21"/>
                <a:gd name="T61" fmla="*/ 24 h 32"/>
                <a:gd name="T62" fmla="*/ 16 w 21"/>
                <a:gd name="T63" fmla="*/ 22 h 32"/>
                <a:gd name="T64" fmla="*/ 18 w 21"/>
                <a:gd name="T65" fmla="*/ 22 h 32"/>
                <a:gd name="T66" fmla="*/ 16 w 21"/>
                <a:gd name="T67" fmla="*/ 19 h 32"/>
                <a:gd name="T68" fmla="*/ 19 w 21"/>
                <a:gd name="T69" fmla="*/ 19 h 32"/>
                <a:gd name="T70" fmla="*/ 17 w 21"/>
                <a:gd name="T71" fmla="*/ 16 h 32"/>
                <a:gd name="T72" fmla="*/ 17 w 21"/>
                <a:gd name="T73" fmla="*/ 18 h 32"/>
                <a:gd name="T74" fmla="*/ 16 w 21"/>
                <a:gd name="T75" fmla="*/ 19 h 32"/>
                <a:gd name="T76" fmla="*/ 18 w 21"/>
                <a:gd name="T77" fmla="*/ 21 h 32"/>
                <a:gd name="T78" fmla="*/ 19 w 21"/>
                <a:gd name="T79" fmla="*/ 20 h 32"/>
                <a:gd name="T80" fmla="*/ 19 w 21"/>
                <a:gd name="T81" fmla="*/ 21 h 32"/>
                <a:gd name="T82" fmla="*/ 20 w 21"/>
                <a:gd name="T83" fmla="*/ 23 h 32"/>
                <a:gd name="T84" fmla="*/ 12 w 21"/>
                <a:gd name="T85" fmla="*/ 27 h 32"/>
                <a:gd name="T86" fmla="*/ 15 w 21"/>
                <a:gd name="T87" fmla="*/ 25 h 32"/>
                <a:gd name="T88" fmla="*/ 17 w 21"/>
                <a:gd name="T89" fmla="*/ 25 h 32"/>
                <a:gd name="T90" fmla="*/ 18 w 21"/>
                <a:gd name="T91" fmla="*/ 22 h 32"/>
                <a:gd name="T92" fmla="*/ 20 w 21"/>
                <a:gd name="T93" fmla="*/ 25 h 32"/>
                <a:gd name="T94" fmla="*/ 21 w 21"/>
                <a:gd name="T95" fmla="*/ 29 h 32"/>
                <a:gd name="T96" fmla="*/ 20 w 21"/>
                <a:gd name="T97" fmla="*/ 29 h 32"/>
                <a:gd name="T98" fmla="*/ 19 w 21"/>
                <a:gd name="T99" fmla="*/ 32 h 32"/>
                <a:gd name="T100" fmla="*/ 17 w 21"/>
                <a:gd name="T101" fmla="*/ 31 h 32"/>
                <a:gd name="T102" fmla="*/ 16 w 21"/>
                <a:gd name="T103" fmla="*/ 28 h 32"/>
                <a:gd name="T104" fmla="*/ 14 w 21"/>
                <a:gd name="T105" fmla="*/ 28 h 32"/>
                <a:gd name="T106" fmla="*/ 13 w 21"/>
                <a:gd name="T107" fmla="*/ 27 h 32"/>
                <a:gd name="T108" fmla="*/ 12 w 21"/>
                <a:gd name="T109" fmla="*/ 29 h 32"/>
                <a:gd name="T110" fmla="*/ 7 w 21"/>
                <a:gd name="T111" fmla="*/ 17 h 32"/>
                <a:gd name="T112" fmla="*/ 6 w 21"/>
                <a:gd name="T113" fmla="*/ 18 h 32"/>
                <a:gd name="T114" fmla="*/ 2 w 21"/>
                <a:gd name="T115" fmla="*/ 25 h 32"/>
                <a:gd name="T116" fmla="*/ 5 w 21"/>
                <a:gd name="T117" fmla="*/ 22 h 32"/>
                <a:gd name="T118" fmla="*/ 5 w 21"/>
                <a:gd name="T119" fmla="*/ 20 h 32"/>
                <a:gd name="T120" fmla="*/ 2 w 21"/>
                <a:gd name="T121" fmla="*/ 24 h 32"/>
                <a:gd name="T122" fmla="*/ 1 w 21"/>
                <a:gd name="T12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" h="32"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lose/>
                  <a:moveTo>
                    <a:pt x="8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lose/>
                  <a:moveTo>
                    <a:pt x="9" y="1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1"/>
                    <a:pt x="9" y="1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lose/>
                  <a:moveTo>
                    <a:pt x="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lose/>
                  <a:moveTo>
                    <a:pt x="15" y="13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lose/>
                  <a:moveTo>
                    <a:pt x="10" y="14"/>
                  </a:move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lose/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lose/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lose/>
                  <a:moveTo>
                    <a:pt x="13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lose/>
                  <a:moveTo>
                    <a:pt x="14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lose/>
                  <a:moveTo>
                    <a:pt x="13" y="18"/>
                  </a:move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lose/>
                  <a:moveTo>
                    <a:pt x="11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1"/>
                    <a:pt x="11" y="21"/>
                    <a:pt x="11" y="21"/>
                  </a:cubicBezTo>
                  <a:close/>
                  <a:moveTo>
                    <a:pt x="12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lose/>
                  <a:moveTo>
                    <a:pt x="16" y="20"/>
                  </a:move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lose/>
                  <a:moveTo>
                    <a:pt x="14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lose/>
                  <a:moveTo>
                    <a:pt x="14" y="23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lose/>
                  <a:moveTo>
                    <a:pt x="15" y="23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3"/>
                    <a:pt x="15" y="23"/>
                    <a:pt x="15" y="23"/>
                  </a:cubicBezTo>
                  <a:close/>
                  <a:moveTo>
                    <a:pt x="16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18" y="22"/>
                  </a:move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lose/>
                  <a:moveTo>
                    <a:pt x="17" y="23"/>
                  </a:move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lose/>
                  <a:moveTo>
                    <a:pt x="16" y="18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lose/>
                  <a:moveTo>
                    <a:pt x="17" y="19"/>
                  </a:move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lose/>
                  <a:moveTo>
                    <a:pt x="17" y="19"/>
                  </a:moveTo>
                  <a:cubicBezTo>
                    <a:pt x="17" y="19"/>
                    <a:pt x="17" y="19"/>
                    <a:pt x="17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lose/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19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20" y="23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lose/>
                  <a:moveTo>
                    <a:pt x="20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lose/>
                  <a:moveTo>
                    <a:pt x="12" y="29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lose/>
                  <a:moveTo>
                    <a:pt x="11" y="29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lose/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7"/>
                    <a:pt x="6" y="17"/>
                    <a:pt x="6" y="17"/>
                  </a:cubicBezTo>
                  <a:close/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1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lose/>
                  <a:moveTo>
                    <a:pt x="1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  <a:moveTo>
                    <a:pt x="1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  <a:moveTo>
                    <a:pt x="1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1EB9CDCF-28CC-4C9C-9B0C-BB212976D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4570" y="4898498"/>
              <a:ext cx="954256" cy="374678"/>
            </a:xfrm>
            <a:custGeom>
              <a:avLst/>
              <a:gdLst>
                <a:gd name="T0" fmla="*/ 92 w 97"/>
                <a:gd name="T1" fmla="*/ 30 h 38"/>
                <a:gd name="T2" fmla="*/ 87 w 97"/>
                <a:gd name="T3" fmla="*/ 24 h 38"/>
                <a:gd name="T4" fmla="*/ 80 w 97"/>
                <a:gd name="T5" fmla="*/ 23 h 38"/>
                <a:gd name="T6" fmla="*/ 80 w 97"/>
                <a:gd name="T7" fmla="*/ 19 h 38"/>
                <a:gd name="T8" fmla="*/ 83 w 97"/>
                <a:gd name="T9" fmla="*/ 17 h 38"/>
                <a:gd name="T10" fmla="*/ 89 w 97"/>
                <a:gd name="T11" fmla="*/ 18 h 38"/>
                <a:gd name="T12" fmla="*/ 75 w 97"/>
                <a:gd name="T13" fmla="*/ 14 h 38"/>
                <a:gd name="T14" fmla="*/ 64 w 97"/>
                <a:gd name="T15" fmla="*/ 7 h 38"/>
                <a:gd name="T16" fmla="*/ 69 w 97"/>
                <a:gd name="T17" fmla="*/ 15 h 38"/>
                <a:gd name="T18" fmla="*/ 71 w 97"/>
                <a:gd name="T19" fmla="*/ 11 h 38"/>
                <a:gd name="T20" fmla="*/ 68 w 97"/>
                <a:gd name="T21" fmla="*/ 16 h 38"/>
                <a:gd name="T22" fmla="*/ 70 w 97"/>
                <a:gd name="T23" fmla="*/ 22 h 38"/>
                <a:gd name="T24" fmla="*/ 74 w 97"/>
                <a:gd name="T25" fmla="*/ 22 h 38"/>
                <a:gd name="T26" fmla="*/ 65 w 97"/>
                <a:gd name="T27" fmla="*/ 22 h 38"/>
                <a:gd name="T28" fmla="*/ 64 w 97"/>
                <a:gd name="T29" fmla="*/ 18 h 38"/>
                <a:gd name="T30" fmla="*/ 59 w 97"/>
                <a:gd name="T31" fmla="*/ 25 h 38"/>
                <a:gd name="T32" fmla="*/ 59 w 97"/>
                <a:gd name="T33" fmla="*/ 18 h 38"/>
                <a:gd name="T34" fmla="*/ 56 w 97"/>
                <a:gd name="T35" fmla="*/ 15 h 38"/>
                <a:gd name="T36" fmla="*/ 62 w 97"/>
                <a:gd name="T37" fmla="*/ 11 h 38"/>
                <a:gd name="T38" fmla="*/ 52 w 97"/>
                <a:gd name="T39" fmla="*/ 16 h 38"/>
                <a:gd name="T40" fmla="*/ 51 w 97"/>
                <a:gd name="T41" fmla="*/ 26 h 38"/>
                <a:gd name="T42" fmla="*/ 55 w 97"/>
                <a:gd name="T43" fmla="*/ 23 h 38"/>
                <a:gd name="T44" fmla="*/ 57 w 97"/>
                <a:gd name="T45" fmla="*/ 21 h 38"/>
                <a:gd name="T46" fmla="*/ 57 w 97"/>
                <a:gd name="T47" fmla="*/ 16 h 38"/>
                <a:gd name="T48" fmla="*/ 51 w 97"/>
                <a:gd name="T49" fmla="*/ 4 h 38"/>
                <a:gd name="T50" fmla="*/ 44 w 97"/>
                <a:gd name="T51" fmla="*/ 22 h 38"/>
                <a:gd name="T52" fmla="*/ 30 w 97"/>
                <a:gd name="T53" fmla="*/ 17 h 38"/>
                <a:gd name="T54" fmla="*/ 44 w 97"/>
                <a:gd name="T55" fmla="*/ 5 h 38"/>
                <a:gd name="T56" fmla="*/ 49 w 97"/>
                <a:gd name="T57" fmla="*/ 11 h 38"/>
                <a:gd name="T58" fmla="*/ 44 w 97"/>
                <a:gd name="T59" fmla="*/ 18 h 38"/>
                <a:gd name="T60" fmla="*/ 39 w 97"/>
                <a:gd name="T61" fmla="*/ 22 h 38"/>
                <a:gd name="T62" fmla="*/ 32 w 97"/>
                <a:gd name="T63" fmla="*/ 20 h 38"/>
                <a:gd name="T64" fmla="*/ 84 w 97"/>
                <a:gd name="T65" fmla="*/ 16 h 38"/>
                <a:gd name="T66" fmla="*/ 86 w 97"/>
                <a:gd name="T67" fmla="*/ 15 h 38"/>
                <a:gd name="T68" fmla="*/ 83 w 97"/>
                <a:gd name="T69" fmla="*/ 29 h 38"/>
                <a:gd name="T70" fmla="*/ 82 w 97"/>
                <a:gd name="T71" fmla="*/ 26 h 38"/>
                <a:gd name="T72" fmla="*/ 75 w 97"/>
                <a:gd name="T73" fmla="*/ 30 h 38"/>
                <a:gd name="T74" fmla="*/ 73 w 97"/>
                <a:gd name="T75" fmla="*/ 28 h 38"/>
                <a:gd name="T76" fmla="*/ 67 w 97"/>
                <a:gd name="T77" fmla="*/ 31 h 38"/>
                <a:gd name="T78" fmla="*/ 61 w 97"/>
                <a:gd name="T79" fmla="*/ 34 h 38"/>
                <a:gd name="T80" fmla="*/ 56 w 97"/>
                <a:gd name="T81" fmla="*/ 37 h 38"/>
                <a:gd name="T82" fmla="*/ 43 w 97"/>
                <a:gd name="T83" fmla="*/ 29 h 38"/>
                <a:gd name="T84" fmla="*/ 62 w 97"/>
                <a:gd name="T85" fmla="*/ 32 h 38"/>
                <a:gd name="T86" fmla="*/ 51 w 97"/>
                <a:gd name="T87" fmla="*/ 32 h 38"/>
                <a:gd name="T88" fmla="*/ 53 w 97"/>
                <a:gd name="T89" fmla="*/ 33 h 38"/>
                <a:gd name="T90" fmla="*/ 50 w 97"/>
                <a:gd name="T91" fmla="*/ 33 h 38"/>
                <a:gd name="T92" fmla="*/ 45 w 97"/>
                <a:gd name="T93" fmla="*/ 33 h 38"/>
                <a:gd name="T94" fmla="*/ 92 w 97"/>
                <a:gd name="T95" fmla="*/ 32 h 38"/>
                <a:gd name="T96" fmla="*/ 39 w 97"/>
                <a:gd name="T97" fmla="*/ 29 h 38"/>
                <a:gd name="T98" fmla="*/ 32 w 97"/>
                <a:gd name="T99" fmla="*/ 29 h 38"/>
                <a:gd name="T100" fmla="*/ 39 w 97"/>
                <a:gd name="T101" fmla="*/ 32 h 38"/>
                <a:gd name="T102" fmla="*/ 24 w 97"/>
                <a:gd name="T103" fmla="*/ 29 h 38"/>
                <a:gd name="T104" fmla="*/ 23 w 97"/>
                <a:gd name="T105" fmla="*/ 7 h 38"/>
                <a:gd name="T106" fmla="*/ 27 w 97"/>
                <a:gd name="T107" fmla="*/ 21 h 38"/>
                <a:gd name="T108" fmla="*/ 23 w 97"/>
                <a:gd name="T109" fmla="*/ 18 h 38"/>
                <a:gd name="T110" fmla="*/ 15 w 97"/>
                <a:gd name="T111" fmla="*/ 11 h 38"/>
                <a:gd name="T112" fmla="*/ 7 w 97"/>
                <a:gd name="T113" fmla="*/ 17 h 38"/>
                <a:gd name="T114" fmla="*/ 4 w 97"/>
                <a:gd name="T115" fmla="*/ 11 h 38"/>
                <a:gd name="T116" fmla="*/ 8 w 97"/>
                <a:gd name="T117" fmla="*/ 10 h 38"/>
                <a:gd name="T118" fmla="*/ 20 w 97"/>
                <a:gd name="T119" fmla="*/ 27 h 38"/>
                <a:gd name="T120" fmla="*/ 20 w 97"/>
                <a:gd name="T121" fmla="*/ 18 h 38"/>
                <a:gd name="T122" fmla="*/ 14 w 97"/>
                <a:gd name="T123" fmla="*/ 11 h 38"/>
                <a:gd name="T124" fmla="*/ 2 w 97"/>
                <a:gd name="T12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" h="38">
                  <a:moveTo>
                    <a:pt x="97" y="20"/>
                  </a:move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lose/>
                  <a:moveTo>
                    <a:pt x="72" y="14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76" y="15"/>
                  </a:moveTo>
                  <a:cubicBezTo>
                    <a:pt x="76" y="15"/>
                    <a:pt x="76" y="15"/>
                    <a:pt x="76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6" y="15"/>
                    <a:pt x="76" y="15"/>
                    <a:pt x="76" y="15"/>
                  </a:cubicBezTo>
                  <a:close/>
                  <a:moveTo>
                    <a:pt x="75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lose/>
                  <a:moveTo>
                    <a:pt x="76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6"/>
                    <a:pt x="76" y="16"/>
                    <a:pt x="76" y="16"/>
                  </a:cubicBezTo>
                  <a:close/>
                  <a:moveTo>
                    <a:pt x="76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lose/>
                  <a:moveTo>
                    <a:pt x="64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lose/>
                  <a:moveTo>
                    <a:pt x="66" y="4"/>
                  </a:move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66" y="4"/>
                    <a:pt x="66" y="4"/>
                  </a:cubicBezTo>
                  <a:close/>
                  <a:moveTo>
                    <a:pt x="66" y="5"/>
                  </a:moveTo>
                  <a:cubicBezTo>
                    <a:pt x="67" y="5"/>
                    <a:pt x="67" y="5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6"/>
                    <a:pt x="66" y="5"/>
                    <a:pt x="66" y="5"/>
                  </a:cubicBezTo>
                  <a:close/>
                  <a:moveTo>
                    <a:pt x="70" y="9"/>
                  </a:move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69" y="15"/>
                  </a:move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5"/>
                    <a:pt x="69" y="15"/>
                    <a:pt x="69" y="15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lose/>
                  <a:moveTo>
                    <a:pt x="68" y="15"/>
                  </a:moveTo>
                  <a:cubicBezTo>
                    <a:pt x="67" y="15"/>
                    <a:pt x="67" y="15"/>
                    <a:pt x="67" y="1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lose/>
                  <a:moveTo>
                    <a:pt x="68" y="15"/>
                  </a:moveTo>
                  <a:cubicBezTo>
                    <a:pt x="68" y="15"/>
                    <a:pt x="68" y="15"/>
                    <a:pt x="68" y="15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lose/>
                  <a:moveTo>
                    <a:pt x="68" y="18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lose/>
                  <a:moveTo>
                    <a:pt x="74" y="18"/>
                  </a:move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2"/>
                  </a:move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lose/>
                  <a:moveTo>
                    <a:pt x="69" y="2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0"/>
                    <a:pt x="69" y="20"/>
                    <a:pt x="69" y="20"/>
                  </a:cubicBezTo>
                  <a:close/>
                  <a:moveTo>
                    <a:pt x="69" y="22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65" y="21"/>
                  </a:move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lose/>
                  <a:moveTo>
                    <a:pt x="54" y="30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4" y="30"/>
                    <a:pt x="54" y="30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65" y="19"/>
                  </a:move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lose/>
                  <a:moveTo>
                    <a:pt x="64" y="18"/>
                  </a:move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lose/>
                  <a:moveTo>
                    <a:pt x="62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lose/>
                  <a:moveTo>
                    <a:pt x="58" y="26"/>
                  </a:move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lose/>
                  <a:moveTo>
                    <a:pt x="57" y="25"/>
                  </a:moveTo>
                  <a:cubicBezTo>
                    <a:pt x="57" y="25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lose/>
                  <a:moveTo>
                    <a:pt x="56" y="25"/>
                  </a:move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lose/>
                  <a:moveTo>
                    <a:pt x="59" y="18"/>
                  </a:move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lose/>
                  <a:moveTo>
                    <a:pt x="59" y="18"/>
                  </a:moveTo>
                  <a:cubicBezTo>
                    <a:pt x="59" y="18"/>
                    <a:pt x="59" y="18"/>
                    <a:pt x="59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8"/>
                  </a:cubicBezTo>
                  <a:close/>
                  <a:moveTo>
                    <a:pt x="60" y="18"/>
                  </a:move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0" y="18"/>
                    <a:pt x="60" y="18"/>
                  </a:cubicBezTo>
                  <a:close/>
                  <a:moveTo>
                    <a:pt x="58" y="17"/>
                  </a:move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lose/>
                  <a:moveTo>
                    <a:pt x="56" y="15"/>
                  </a:move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lose/>
                  <a:moveTo>
                    <a:pt x="56" y="15"/>
                  </a:move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lose/>
                  <a:moveTo>
                    <a:pt x="53" y="13"/>
                  </a:move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lose/>
                  <a:moveTo>
                    <a:pt x="54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lose/>
                  <a:moveTo>
                    <a:pt x="54" y="1"/>
                  </a:moveTo>
                  <a:cubicBezTo>
                    <a:pt x="54" y="1"/>
                    <a:pt x="54" y="1"/>
                    <a:pt x="54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lose/>
                  <a:moveTo>
                    <a:pt x="51" y="3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1" y="3"/>
                    <a:pt x="51" y="3"/>
                  </a:cubicBezTo>
                  <a:close/>
                  <a:moveTo>
                    <a:pt x="52" y="3"/>
                  </a:moveTo>
                  <a:cubicBezTo>
                    <a:pt x="52" y="2"/>
                    <a:pt x="52" y="2"/>
                    <a:pt x="52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lose/>
                  <a:moveTo>
                    <a:pt x="47" y="5"/>
                  </a:move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lose/>
                  <a:moveTo>
                    <a:pt x="47" y="5"/>
                  </a:move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5"/>
                    <a:pt x="47" y="5"/>
                    <a:pt x="47" y="5"/>
                  </a:cubicBezTo>
                  <a:close/>
                  <a:moveTo>
                    <a:pt x="48" y="6"/>
                  </a:move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8" y="6"/>
                    <a:pt x="48" y="6"/>
                    <a:pt x="48" y="6"/>
                  </a:cubicBezTo>
                  <a:close/>
                  <a:moveTo>
                    <a:pt x="47" y="6"/>
                  </a:move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6"/>
                    <a:pt x="47" y="6"/>
                    <a:pt x="47" y="6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5" y="22"/>
                    <a:pt x="45" y="22"/>
                    <a:pt x="45" y="22"/>
                  </a:cubicBezTo>
                  <a:close/>
                  <a:moveTo>
                    <a:pt x="44" y="22"/>
                  </a:moveTo>
                  <a:cubicBezTo>
                    <a:pt x="44" y="22"/>
                    <a:pt x="44" y="22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2"/>
                    <a:pt x="44" y="22"/>
                  </a:cubicBezTo>
                  <a:close/>
                  <a:moveTo>
                    <a:pt x="30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lose/>
                  <a:moveTo>
                    <a:pt x="30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30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0" y="17"/>
                    <a:pt x="30" y="17"/>
                  </a:cubicBezTo>
                  <a:close/>
                  <a:moveTo>
                    <a:pt x="29" y="12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lose/>
                  <a:moveTo>
                    <a:pt x="84" y="16"/>
                  </a:moveTo>
                  <a:cubicBezTo>
                    <a:pt x="83" y="16"/>
                    <a:pt x="83" y="16"/>
                    <a:pt x="83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lose/>
                  <a:moveTo>
                    <a:pt x="85" y="17"/>
                  </a:move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5" y="17"/>
                    <a:pt x="85" y="17"/>
                    <a:pt x="85" y="17"/>
                  </a:cubicBezTo>
                  <a:close/>
                  <a:moveTo>
                    <a:pt x="85" y="18"/>
                  </a:moveTo>
                  <a:cubicBezTo>
                    <a:pt x="85" y="17"/>
                    <a:pt x="85" y="18"/>
                    <a:pt x="85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5" y="18"/>
                    <a:pt x="85" y="18"/>
                    <a:pt x="85" y="18"/>
                  </a:cubicBezTo>
                  <a:close/>
                  <a:moveTo>
                    <a:pt x="85" y="16"/>
                  </a:move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5" y="16"/>
                    <a:pt x="85" y="16"/>
                    <a:pt x="85" y="16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83" y="28"/>
                  </a:move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8"/>
                    <a:pt x="83" y="28"/>
                    <a:pt x="83" y="28"/>
                  </a:cubicBezTo>
                  <a:close/>
                  <a:moveTo>
                    <a:pt x="82" y="28"/>
                  </a:move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lose/>
                  <a:moveTo>
                    <a:pt x="83" y="28"/>
                  </a:move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lose/>
                  <a:moveTo>
                    <a:pt x="82" y="27"/>
                  </a:move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7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lose/>
                  <a:moveTo>
                    <a:pt x="82" y="26"/>
                  </a:moveTo>
                  <a:cubicBezTo>
                    <a:pt x="82" y="26"/>
                    <a:pt x="82" y="26"/>
                    <a:pt x="82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6"/>
                    <a:pt x="83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77" y="29"/>
                  </a:moveTo>
                  <a:cubicBezTo>
                    <a:pt x="78" y="29"/>
                    <a:pt x="78" y="29"/>
                    <a:pt x="78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lose/>
                  <a:moveTo>
                    <a:pt x="77" y="29"/>
                  </a:moveTo>
                  <a:cubicBezTo>
                    <a:pt x="77" y="30"/>
                    <a:pt x="77" y="30"/>
                    <a:pt x="77" y="30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6" y="30"/>
                  </a:move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lose/>
                  <a:moveTo>
                    <a:pt x="76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2"/>
                    <a:pt x="76" y="32"/>
                    <a:pt x="76" y="32"/>
                  </a:cubicBezTo>
                  <a:close/>
                  <a:moveTo>
                    <a:pt x="76" y="30"/>
                  </a:move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2" y="28"/>
                  </a:move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8"/>
                    <a:pt x="72" y="28"/>
                    <a:pt x="72" y="28"/>
                  </a:cubicBezTo>
                  <a:close/>
                  <a:moveTo>
                    <a:pt x="73" y="32"/>
                  </a:move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lose/>
                  <a:moveTo>
                    <a:pt x="72" y="31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31"/>
                    <a:pt x="72" y="31"/>
                    <a:pt x="72" y="31"/>
                  </a:cubicBezTo>
                  <a:close/>
                  <a:moveTo>
                    <a:pt x="70" y="30"/>
                  </a:move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lose/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lose/>
                  <a:moveTo>
                    <a:pt x="67" y="31"/>
                  </a:move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1"/>
                    <a:pt x="67" y="31"/>
                    <a:pt x="67" y="31"/>
                  </a:cubicBezTo>
                  <a:close/>
                  <a:moveTo>
                    <a:pt x="68" y="32"/>
                  </a:move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lose/>
                  <a:moveTo>
                    <a:pt x="68" y="32"/>
                  </a:move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lose/>
                  <a:moveTo>
                    <a:pt x="67" y="32"/>
                  </a:move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lose/>
                  <a:moveTo>
                    <a:pt x="59" y="36"/>
                  </a:move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lose/>
                  <a:moveTo>
                    <a:pt x="59" y="37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59" y="37"/>
                  </a:moveTo>
                  <a:cubicBezTo>
                    <a:pt x="58" y="37"/>
                    <a:pt x="58" y="37"/>
                    <a:pt x="58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9" y="35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2" y="29"/>
                  </a:move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lose/>
                  <a:moveTo>
                    <a:pt x="64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lose/>
                  <a:moveTo>
                    <a:pt x="62" y="3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lose/>
                  <a:moveTo>
                    <a:pt x="6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59" y="33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1" y="33"/>
                  </a:moveTo>
                  <a:cubicBezTo>
                    <a:pt x="51" y="33"/>
                    <a:pt x="51" y="32"/>
                    <a:pt x="51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51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51" y="33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2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91" y="32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lose/>
                  <a:moveTo>
                    <a:pt x="89" y="32"/>
                  </a:moveTo>
                  <a:cubicBezTo>
                    <a:pt x="89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21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1" y="28"/>
                    <a:pt x="21" y="28"/>
                  </a:cubicBezTo>
                  <a:close/>
                  <a:moveTo>
                    <a:pt x="22" y="29"/>
                  </a:move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lose/>
                  <a:moveTo>
                    <a:pt x="27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lose/>
                  <a:moveTo>
                    <a:pt x="24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lose/>
                  <a:moveTo>
                    <a:pt x="24" y="7"/>
                  </a:move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7"/>
                    <a:pt x="24" y="7"/>
                    <a:pt x="24" y="7"/>
                  </a:cubicBezTo>
                  <a:close/>
                  <a:moveTo>
                    <a:pt x="24" y="7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lose/>
                  <a:moveTo>
                    <a:pt x="22" y="7"/>
                  </a:move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lose/>
                  <a:moveTo>
                    <a:pt x="20" y="11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26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20"/>
                    <a:pt x="26" y="20"/>
                    <a:pt x="26" y="20"/>
                  </a:cubicBezTo>
                  <a:close/>
                  <a:moveTo>
                    <a:pt x="25" y="20"/>
                  </a:move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0"/>
                    <a:pt x="25" y="20"/>
                    <a:pt x="25" y="20"/>
                  </a:cubicBezTo>
                  <a:close/>
                  <a:moveTo>
                    <a:pt x="22" y="18"/>
                  </a:move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lose/>
                  <a:moveTo>
                    <a:pt x="20" y="15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lose/>
                  <a:moveTo>
                    <a:pt x="20" y="14"/>
                  </a:move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4"/>
                    <a:pt x="20" y="14"/>
                    <a:pt x="20" y="14"/>
                  </a:cubicBezTo>
                  <a:close/>
                  <a:moveTo>
                    <a:pt x="16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12"/>
                    <a:pt x="16" y="12"/>
                    <a:pt x="16" y="12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3" y="10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  <a:moveTo>
                    <a:pt x="15" y="26"/>
                  </a:move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lose/>
                  <a:moveTo>
                    <a:pt x="11" y="20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0"/>
                    <a:pt x="11" y="20"/>
                    <a:pt x="11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  <a:moveTo>
                    <a:pt x="10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lose/>
                  <a:moveTo>
                    <a:pt x="7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7" y="17"/>
                    <a:pt x="7" y="17"/>
                  </a:cubicBezTo>
                  <a:close/>
                  <a:moveTo>
                    <a:pt x="7" y="15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lose/>
                  <a:moveTo>
                    <a:pt x="7" y="14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lose/>
                  <a:moveTo>
                    <a:pt x="4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1"/>
                    <a:pt x="4" y="11"/>
                    <a:pt x="4" y="11"/>
                  </a:cubicBezTo>
                  <a:close/>
                  <a:moveTo>
                    <a:pt x="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2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530F40AC-58E0-47B3-A303-7FDA0B275B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4686" y="5223999"/>
              <a:ext cx="69081" cy="18734"/>
            </a:xfrm>
            <a:custGeom>
              <a:avLst/>
              <a:gdLst>
                <a:gd name="T0" fmla="*/ 0 w 59"/>
                <a:gd name="T1" fmla="*/ 8 h 16"/>
                <a:gd name="T2" fmla="*/ 8 w 59"/>
                <a:gd name="T3" fmla="*/ 16 h 16"/>
                <a:gd name="T4" fmla="*/ 8 w 59"/>
                <a:gd name="T5" fmla="*/ 8 h 16"/>
                <a:gd name="T6" fmla="*/ 8 w 59"/>
                <a:gd name="T7" fmla="*/ 8 h 16"/>
                <a:gd name="T8" fmla="*/ 8 w 59"/>
                <a:gd name="T9" fmla="*/ 8 h 16"/>
                <a:gd name="T10" fmla="*/ 8 w 59"/>
                <a:gd name="T11" fmla="*/ 8 h 16"/>
                <a:gd name="T12" fmla="*/ 8 w 59"/>
                <a:gd name="T13" fmla="*/ 8 h 16"/>
                <a:gd name="T14" fmla="*/ 0 w 59"/>
                <a:gd name="T15" fmla="*/ 8 h 16"/>
                <a:gd name="T16" fmla="*/ 0 w 59"/>
                <a:gd name="T17" fmla="*/ 8 h 16"/>
                <a:gd name="T18" fmla="*/ 17 w 59"/>
                <a:gd name="T19" fmla="*/ 8 h 16"/>
                <a:gd name="T20" fmla="*/ 17 w 59"/>
                <a:gd name="T21" fmla="*/ 8 h 16"/>
                <a:gd name="T22" fmla="*/ 25 w 59"/>
                <a:gd name="T23" fmla="*/ 16 h 16"/>
                <a:gd name="T24" fmla="*/ 25 w 59"/>
                <a:gd name="T25" fmla="*/ 16 h 16"/>
                <a:gd name="T26" fmla="*/ 25 w 59"/>
                <a:gd name="T27" fmla="*/ 8 h 16"/>
                <a:gd name="T28" fmla="*/ 34 w 59"/>
                <a:gd name="T29" fmla="*/ 8 h 16"/>
                <a:gd name="T30" fmla="*/ 34 w 59"/>
                <a:gd name="T31" fmla="*/ 8 h 16"/>
                <a:gd name="T32" fmla="*/ 42 w 59"/>
                <a:gd name="T33" fmla="*/ 8 h 16"/>
                <a:gd name="T34" fmla="*/ 51 w 59"/>
                <a:gd name="T35" fmla="*/ 8 h 16"/>
                <a:gd name="T36" fmla="*/ 51 w 59"/>
                <a:gd name="T37" fmla="*/ 0 h 16"/>
                <a:gd name="T38" fmla="*/ 51 w 59"/>
                <a:gd name="T39" fmla="*/ 0 h 16"/>
                <a:gd name="T40" fmla="*/ 59 w 59"/>
                <a:gd name="T41" fmla="*/ 0 h 16"/>
                <a:gd name="T42" fmla="*/ 59 w 59"/>
                <a:gd name="T43" fmla="*/ 0 h 16"/>
                <a:gd name="T44" fmla="*/ 59 w 59"/>
                <a:gd name="T45" fmla="*/ 0 h 16"/>
                <a:gd name="T46" fmla="*/ 59 w 59"/>
                <a:gd name="T47" fmla="*/ 0 h 16"/>
                <a:gd name="T48" fmla="*/ 51 w 59"/>
                <a:gd name="T49" fmla="*/ 0 h 16"/>
                <a:gd name="T50" fmla="*/ 51 w 59"/>
                <a:gd name="T51" fmla="*/ 0 h 16"/>
                <a:gd name="T52" fmla="*/ 42 w 59"/>
                <a:gd name="T53" fmla="*/ 0 h 16"/>
                <a:gd name="T54" fmla="*/ 42 w 59"/>
                <a:gd name="T55" fmla="*/ 0 h 16"/>
                <a:gd name="T56" fmla="*/ 34 w 59"/>
                <a:gd name="T57" fmla="*/ 0 h 16"/>
                <a:gd name="T58" fmla="*/ 25 w 59"/>
                <a:gd name="T59" fmla="*/ 0 h 16"/>
                <a:gd name="T60" fmla="*/ 25 w 59"/>
                <a:gd name="T61" fmla="*/ 0 h 16"/>
                <a:gd name="T62" fmla="*/ 17 w 59"/>
                <a:gd name="T6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" h="16">
                  <a:moveTo>
                    <a:pt x="0" y="8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17" y="8"/>
                  </a:moveTo>
                  <a:lnTo>
                    <a:pt x="17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51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727A3F55-E451-40F0-9015-2E349E81F6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2923" y="4878593"/>
              <a:ext cx="402778" cy="138162"/>
            </a:xfrm>
            <a:custGeom>
              <a:avLst/>
              <a:gdLst>
                <a:gd name="T0" fmla="*/ 210 w 344"/>
                <a:gd name="T1" fmla="*/ 84 h 118"/>
                <a:gd name="T2" fmla="*/ 8 w 344"/>
                <a:gd name="T3" fmla="*/ 34 h 118"/>
                <a:gd name="T4" fmla="*/ 0 w 344"/>
                <a:gd name="T5" fmla="*/ 34 h 118"/>
                <a:gd name="T6" fmla="*/ 185 w 344"/>
                <a:gd name="T7" fmla="*/ 118 h 118"/>
                <a:gd name="T8" fmla="*/ 202 w 344"/>
                <a:gd name="T9" fmla="*/ 118 h 118"/>
                <a:gd name="T10" fmla="*/ 235 w 344"/>
                <a:gd name="T11" fmla="*/ 109 h 118"/>
                <a:gd name="T12" fmla="*/ 260 w 344"/>
                <a:gd name="T13" fmla="*/ 109 h 118"/>
                <a:gd name="T14" fmla="*/ 277 w 344"/>
                <a:gd name="T15" fmla="*/ 67 h 118"/>
                <a:gd name="T16" fmla="*/ 286 w 344"/>
                <a:gd name="T17" fmla="*/ 51 h 118"/>
                <a:gd name="T18" fmla="*/ 311 w 344"/>
                <a:gd name="T19" fmla="*/ 59 h 118"/>
                <a:gd name="T20" fmla="*/ 328 w 344"/>
                <a:gd name="T21" fmla="*/ 59 h 118"/>
                <a:gd name="T22" fmla="*/ 336 w 344"/>
                <a:gd name="T23" fmla="*/ 42 h 118"/>
                <a:gd name="T24" fmla="*/ 336 w 344"/>
                <a:gd name="T25" fmla="*/ 34 h 118"/>
                <a:gd name="T26" fmla="*/ 319 w 344"/>
                <a:gd name="T27" fmla="*/ 34 h 118"/>
                <a:gd name="T28" fmla="*/ 311 w 344"/>
                <a:gd name="T29" fmla="*/ 25 h 118"/>
                <a:gd name="T30" fmla="*/ 311 w 344"/>
                <a:gd name="T31" fmla="*/ 17 h 118"/>
                <a:gd name="T32" fmla="*/ 302 w 344"/>
                <a:gd name="T33" fmla="*/ 9 h 118"/>
                <a:gd name="T34" fmla="*/ 294 w 344"/>
                <a:gd name="T35" fmla="*/ 9 h 118"/>
                <a:gd name="T36" fmla="*/ 286 w 344"/>
                <a:gd name="T37" fmla="*/ 25 h 118"/>
                <a:gd name="T38" fmla="*/ 269 w 344"/>
                <a:gd name="T39" fmla="*/ 42 h 118"/>
                <a:gd name="T40" fmla="*/ 277 w 344"/>
                <a:gd name="T41" fmla="*/ 42 h 118"/>
                <a:gd name="T42" fmla="*/ 269 w 344"/>
                <a:gd name="T43" fmla="*/ 59 h 118"/>
                <a:gd name="T44" fmla="*/ 269 w 344"/>
                <a:gd name="T45" fmla="*/ 51 h 118"/>
                <a:gd name="T46" fmla="*/ 260 w 344"/>
                <a:gd name="T47" fmla="*/ 59 h 118"/>
                <a:gd name="T48" fmla="*/ 252 w 344"/>
                <a:gd name="T49" fmla="*/ 59 h 118"/>
                <a:gd name="T50" fmla="*/ 235 w 344"/>
                <a:gd name="T51" fmla="*/ 76 h 118"/>
                <a:gd name="T52" fmla="*/ 218 w 344"/>
                <a:gd name="T53" fmla="*/ 93 h 118"/>
                <a:gd name="T54" fmla="*/ 202 w 344"/>
                <a:gd name="T55" fmla="*/ 101 h 118"/>
                <a:gd name="T56" fmla="*/ 185 w 344"/>
                <a:gd name="T57" fmla="*/ 109 h 118"/>
                <a:gd name="T58" fmla="*/ 176 w 344"/>
                <a:gd name="T59" fmla="*/ 101 h 118"/>
                <a:gd name="T60" fmla="*/ 302 w 344"/>
                <a:gd name="T61" fmla="*/ 0 h 118"/>
                <a:gd name="T62" fmla="*/ 302 w 344"/>
                <a:gd name="T63" fmla="*/ 0 h 118"/>
                <a:gd name="T64" fmla="*/ 202 w 344"/>
                <a:gd name="T65" fmla="*/ 93 h 118"/>
                <a:gd name="T66" fmla="*/ 210 w 344"/>
                <a:gd name="T67" fmla="*/ 93 h 118"/>
                <a:gd name="T68" fmla="*/ 210 w 344"/>
                <a:gd name="T69" fmla="*/ 84 h 118"/>
                <a:gd name="T70" fmla="*/ 210 w 344"/>
                <a:gd name="T71" fmla="*/ 84 h 118"/>
                <a:gd name="T72" fmla="*/ 8 w 344"/>
                <a:gd name="T73" fmla="*/ 9 h 118"/>
                <a:gd name="T74" fmla="*/ 17 w 344"/>
                <a:gd name="T75" fmla="*/ 17 h 118"/>
                <a:gd name="T76" fmla="*/ 25 w 344"/>
                <a:gd name="T77" fmla="*/ 25 h 118"/>
                <a:gd name="T78" fmla="*/ 34 w 344"/>
                <a:gd name="T79" fmla="*/ 25 h 118"/>
                <a:gd name="T80" fmla="*/ 42 w 344"/>
                <a:gd name="T81" fmla="*/ 17 h 118"/>
                <a:gd name="T82" fmla="*/ 59 w 344"/>
                <a:gd name="T83" fmla="*/ 51 h 118"/>
                <a:gd name="T84" fmla="*/ 67 w 344"/>
                <a:gd name="T85" fmla="*/ 76 h 118"/>
                <a:gd name="T86" fmla="*/ 76 w 344"/>
                <a:gd name="T87" fmla="*/ 84 h 118"/>
                <a:gd name="T88" fmla="*/ 76 w 344"/>
                <a:gd name="T89" fmla="*/ 101 h 118"/>
                <a:gd name="T90" fmla="*/ 76 w 344"/>
                <a:gd name="T91" fmla="*/ 109 h 118"/>
                <a:gd name="T92" fmla="*/ 76 w 344"/>
                <a:gd name="T93" fmla="*/ 109 h 118"/>
                <a:gd name="T94" fmla="*/ 67 w 344"/>
                <a:gd name="T95" fmla="*/ 109 h 118"/>
                <a:gd name="T96" fmla="*/ 50 w 344"/>
                <a:gd name="T97" fmla="*/ 101 h 118"/>
                <a:gd name="T98" fmla="*/ 34 w 344"/>
                <a:gd name="T99" fmla="*/ 84 h 118"/>
                <a:gd name="T100" fmla="*/ 25 w 344"/>
                <a:gd name="T101" fmla="*/ 76 h 118"/>
                <a:gd name="T102" fmla="*/ 17 w 344"/>
                <a:gd name="T103" fmla="*/ 59 h 118"/>
                <a:gd name="T104" fmla="*/ 8 w 344"/>
                <a:gd name="T105" fmla="*/ 4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4" h="118">
                  <a:moveTo>
                    <a:pt x="210" y="84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close/>
                  <a:moveTo>
                    <a:pt x="0" y="34"/>
                  </a:move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0" y="34"/>
                  </a:lnTo>
                  <a:close/>
                  <a:moveTo>
                    <a:pt x="176" y="101"/>
                  </a:moveTo>
                  <a:lnTo>
                    <a:pt x="176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18"/>
                  </a:lnTo>
                  <a:lnTo>
                    <a:pt x="193" y="118"/>
                  </a:lnTo>
                  <a:lnTo>
                    <a:pt x="193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18" y="118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52" y="109"/>
                  </a:lnTo>
                  <a:lnTo>
                    <a:pt x="260" y="109"/>
                  </a:lnTo>
                  <a:lnTo>
                    <a:pt x="260" y="101"/>
                  </a:lnTo>
                  <a:lnTo>
                    <a:pt x="269" y="93"/>
                  </a:lnTo>
                  <a:lnTo>
                    <a:pt x="269" y="84"/>
                  </a:lnTo>
                  <a:lnTo>
                    <a:pt x="277" y="76"/>
                  </a:lnTo>
                  <a:lnTo>
                    <a:pt x="277" y="67"/>
                  </a:lnTo>
                  <a:lnTo>
                    <a:pt x="277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94" y="51"/>
                  </a:lnTo>
                  <a:lnTo>
                    <a:pt x="302" y="51"/>
                  </a:lnTo>
                  <a:lnTo>
                    <a:pt x="302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1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28" y="59"/>
                  </a:lnTo>
                  <a:lnTo>
                    <a:pt x="328" y="51"/>
                  </a:lnTo>
                  <a:lnTo>
                    <a:pt x="319" y="51"/>
                  </a:lnTo>
                  <a:lnTo>
                    <a:pt x="319" y="42"/>
                  </a:lnTo>
                  <a:lnTo>
                    <a:pt x="328" y="42"/>
                  </a:lnTo>
                  <a:lnTo>
                    <a:pt x="336" y="42"/>
                  </a:lnTo>
                  <a:lnTo>
                    <a:pt x="336" y="42"/>
                  </a:lnTo>
                  <a:lnTo>
                    <a:pt x="344" y="42"/>
                  </a:lnTo>
                  <a:lnTo>
                    <a:pt x="344" y="34"/>
                  </a:lnTo>
                  <a:lnTo>
                    <a:pt x="336" y="34"/>
                  </a:lnTo>
                  <a:lnTo>
                    <a:pt x="336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8" y="25"/>
                  </a:lnTo>
                  <a:lnTo>
                    <a:pt x="319" y="25"/>
                  </a:lnTo>
                  <a:lnTo>
                    <a:pt x="319" y="34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9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02" y="17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9"/>
                  </a:lnTo>
                  <a:lnTo>
                    <a:pt x="294" y="9"/>
                  </a:lnTo>
                  <a:lnTo>
                    <a:pt x="294" y="9"/>
                  </a:lnTo>
                  <a:lnTo>
                    <a:pt x="294" y="17"/>
                  </a:lnTo>
                  <a:lnTo>
                    <a:pt x="286" y="17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77" y="42"/>
                  </a:lnTo>
                  <a:lnTo>
                    <a:pt x="277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9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0" y="51"/>
                  </a:lnTo>
                  <a:lnTo>
                    <a:pt x="269" y="59"/>
                  </a:lnTo>
                  <a:lnTo>
                    <a:pt x="260" y="59"/>
                  </a:lnTo>
                  <a:lnTo>
                    <a:pt x="260" y="59"/>
                  </a:lnTo>
                  <a:lnTo>
                    <a:pt x="260" y="51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2" y="59"/>
                  </a:lnTo>
                  <a:lnTo>
                    <a:pt x="244" y="59"/>
                  </a:lnTo>
                  <a:lnTo>
                    <a:pt x="244" y="67"/>
                  </a:lnTo>
                  <a:lnTo>
                    <a:pt x="235" y="67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10" y="93"/>
                  </a:lnTo>
                  <a:lnTo>
                    <a:pt x="218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02" y="93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close/>
                  <a:moveTo>
                    <a:pt x="302" y="0"/>
                  </a:moveTo>
                  <a:lnTo>
                    <a:pt x="294" y="0"/>
                  </a:lnTo>
                  <a:lnTo>
                    <a:pt x="294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close/>
                  <a:moveTo>
                    <a:pt x="302" y="0"/>
                  </a:move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close/>
                  <a:moveTo>
                    <a:pt x="210" y="93"/>
                  </a:moveTo>
                  <a:lnTo>
                    <a:pt x="202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close/>
                  <a:moveTo>
                    <a:pt x="210" y="93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close/>
                  <a:moveTo>
                    <a:pt x="210" y="84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close/>
                  <a:moveTo>
                    <a:pt x="8" y="17"/>
                  </a:move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59" y="34"/>
                  </a:lnTo>
                  <a:lnTo>
                    <a:pt x="59" y="42"/>
                  </a:lnTo>
                  <a:lnTo>
                    <a:pt x="67" y="51"/>
                  </a:lnTo>
                  <a:lnTo>
                    <a:pt x="59" y="51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67"/>
                  </a:lnTo>
                  <a:lnTo>
                    <a:pt x="67" y="67"/>
                  </a:lnTo>
                  <a:lnTo>
                    <a:pt x="67" y="76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101"/>
                  </a:lnTo>
                  <a:lnTo>
                    <a:pt x="84" y="101"/>
                  </a:lnTo>
                  <a:lnTo>
                    <a:pt x="84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59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34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8" y="51"/>
                  </a:lnTo>
                  <a:lnTo>
                    <a:pt x="17" y="51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25"/>
                  </a:lnTo>
                  <a:lnTo>
                    <a:pt x="8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E539E927-C1BA-4318-87B8-C721542CB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7981" y="4927769"/>
              <a:ext cx="19905" cy="19905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9 h 17"/>
                <a:gd name="T4" fmla="*/ 8 w 17"/>
                <a:gd name="T5" fmla="*/ 9 h 17"/>
                <a:gd name="T6" fmla="*/ 8 w 17"/>
                <a:gd name="T7" fmla="*/ 17 h 17"/>
                <a:gd name="T8" fmla="*/ 8 w 17"/>
                <a:gd name="T9" fmla="*/ 17 h 17"/>
                <a:gd name="T10" fmla="*/ 17 w 17"/>
                <a:gd name="T11" fmla="*/ 17 h 17"/>
                <a:gd name="T12" fmla="*/ 8 w 17"/>
                <a:gd name="T13" fmla="*/ 9 h 17"/>
                <a:gd name="T14" fmla="*/ 17 w 17"/>
                <a:gd name="T15" fmla="*/ 9 h 17"/>
                <a:gd name="T16" fmla="*/ 17 w 17"/>
                <a:gd name="T17" fmla="*/ 9 h 17"/>
                <a:gd name="T18" fmla="*/ 17 w 17"/>
                <a:gd name="T19" fmla="*/ 0 h 17"/>
                <a:gd name="T20" fmla="*/ 17 w 17"/>
                <a:gd name="T21" fmla="*/ 0 h 17"/>
                <a:gd name="T22" fmla="*/ 8 w 17"/>
                <a:gd name="T23" fmla="*/ 0 h 17"/>
                <a:gd name="T24" fmla="*/ 8 w 17"/>
                <a:gd name="T25" fmla="*/ 0 h 17"/>
                <a:gd name="T26" fmla="*/ 0 w 17"/>
                <a:gd name="T27" fmla="*/ 9 h 17"/>
                <a:gd name="T28" fmla="*/ 0 w 17"/>
                <a:gd name="T29" fmla="*/ 9 h 17"/>
                <a:gd name="T30" fmla="*/ 0 w 17"/>
                <a:gd name="T31" fmla="*/ 9 h 17"/>
                <a:gd name="T32" fmla="*/ 17 w 17"/>
                <a:gd name="T33" fmla="*/ 9 h 17"/>
                <a:gd name="T34" fmla="*/ 17 w 17"/>
                <a:gd name="T35" fmla="*/ 9 h 17"/>
                <a:gd name="T36" fmla="*/ 17 w 17"/>
                <a:gd name="T37" fmla="*/ 9 h 17"/>
                <a:gd name="T38" fmla="*/ 17 w 17"/>
                <a:gd name="T39" fmla="*/ 17 h 17"/>
                <a:gd name="T40" fmla="*/ 17 w 17"/>
                <a:gd name="T41" fmla="*/ 9 h 17"/>
                <a:gd name="T42" fmla="*/ 17 w 17"/>
                <a:gd name="T43" fmla="*/ 9 h 17"/>
                <a:gd name="T44" fmla="*/ 17 w 17"/>
                <a:gd name="T45" fmla="*/ 0 h 17"/>
                <a:gd name="T46" fmla="*/ 17 w 17"/>
                <a:gd name="T47" fmla="*/ 9 h 17"/>
                <a:gd name="T48" fmla="*/ 17 w 17"/>
                <a:gd name="T4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17" y="9"/>
                  </a:moveTo>
                  <a:lnTo>
                    <a:pt x="17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55D5AD3B-742B-44B3-955D-50BA7EEBF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2827" y="4523820"/>
              <a:ext cx="167434" cy="325501"/>
            </a:xfrm>
            <a:custGeom>
              <a:avLst/>
              <a:gdLst>
                <a:gd name="T0" fmla="*/ 8 w 143"/>
                <a:gd name="T1" fmla="*/ 9 h 278"/>
                <a:gd name="T2" fmla="*/ 17 w 143"/>
                <a:gd name="T3" fmla="*/ 17 h 278"/>
                <a:gd name="T4" fmla="*/ 25 w 143"/>
                <a:gd name="T5" fmla="*/ 9 h 278"/>
                <a:gd name="T6" fmla="*/ 42 w 143"/>
                <a:gd name="T7" fmla="*/ 9 h 278"/>
                <a:gd name="T8" fmla="*/ 59 w 143"/>
                <a:gd name="T9" fmla="*/ 0 h 278"/>
                <a:gd name="T10" fmla="*/ 75 w 143"/>
                <a:gd name="T11" fmla="*/ 9 h 278"/>
                <a:gd name="T12" fmla="*/ 84 w 143"/>
                <a:gd name="T13" fmla="*/ 9 h 278"/>
                <a:gd name="T14" fmla="*/ 92 w 143"/>
                <a:gd name="T15" fmla="*/ 26 h 278"/>
                <a:gd name="T16" fmla="*/ 101 w 143"/>
                <a:gd name="T17" fmla="*/ 34 h 278"/>
                <a:gd name="T18" fmla="*/ 101 w 143"/>
                <a:gd name="T19" fmla="*/ 34 h 278"/>
                <a:gd name="T20" fmla="*/ 92 w 143"/>
                <a:gd name="T21" fmla="*/ 42 h 278"/>
                <a:gd name="T22" fmla="*/ 84 w 143"/>
                <a:gd name="T23" fmla="*/ 42 h 278"/>
                <a:gd name="T24" fmla="*/ 84 w 143"/>
                <a:gd name="T25" fmla="*/ 51 h 278"/>
                <a:gd name="T26" fmla="*/ 84 w 143"/>
                <a:gd name="T27" fmla="*/ 59 h 278"/>
                <a:gd name="T28" fmla="*/ 75 w 143"/>
                <a:gd name="T29" fmla="*/ 68 h 278"/>
                <a:gd name="T30" fmla="*/ 67 w 143"/>
                <a:gd name="T31" fmla="*/ 68 h 278"/>
                <a:gd name="T32" fmla="*/ 67 w 143"/>
                <a:gd name="T33" fmla="*/ 84 h 278"/>
                <a:gd name="T34" fmla="*/ 75 w 143"/>
                <a:gd name="T35" fmla="*/ 93 h 278"/>
                <a:gd name="T36" fmla="*/ 84 w 143"/>
                <a:gd name="T37" fmla="*/ 101 h 278"/>
                <a:gd name="T38" fmla="*/ 101 w 143"/>
                <a:gd name="T39" fmla="*/ 118 h 278"/>
                <a:gd name="T40" fmla="*/ 126 w 143"/>
                <a:gd name="T41" fmla="*/ 143 h 278"/>
                <a:gd name="T42" fmla="*/ 134 w 143"/>
                <a:gd name="T43" fmla="*/ 160 h 278"/>
                <a:gd name="T44" fmla="*/ 134 w 143"/>
                <a:gd name="T45" fmla="*/ 169 h 278"/>
                <a:gd name="T46" fmla="*/ 143 w 143"/>
                <a:gd name="T47" fmla="*/ 185 h 278"/>
                <a:gd name="T48" fmla="*/ 143 w 143"/>
                <a:gd name="T49" fmla="*/ 194 h 278"/>
                <a:gd name="T50" fmla="*/ 143 w 143"/>
                <a:gd name="T51" fmla="*/ 202 h 278"/>
                <a:gd name="T52" fmla="*/ 143 w 143"/>
                <a:gd name="T53" fmla="*/ 211 h 278"/>
                <a:gd name="T54" fmla="*/ 143 w 143"/>
                <a:gd name="T55" fmla="*/ 219 h 278"/>
                <a:gd name="T56" fmla="*/ 134 w 143"/>
                <a:gd name="T57" fmla="*/ 236 h 278"/>
                <a:gd name="T58" fmla="*/ 117 w 143"/>
                <a:gd name="T59" fmla="*/ 244 h 278"/>
                <a:gd name="T60" fmla="*/ 101 w 143"/>
                <a:gd name="T61" fmla="*/ 244 h 278"/>
                <a:gd name="T62" fmla="*/ 101 w 143"/>
                <a:gd name="T63" fmla="*/ 244 h 278"/>
                <a:gd name="T64" fmla="*/ 101 w 143"/>
                <a:gd name="T65" fmla="*/ 253 h 278"/>
                <a:gd name="T66" fmla="*/ 101 w 143"/>
                <a:gd name="T67" fmla="*/ 253 h 278"/>
                <a:gd name="T68" fmla="*/ 92 w 143"/>
                <a:gd name="T69" fmla="*/ 261 h 278"/>
                <a:gd name="T70" fmla="*/ 92 w 143"/>
                <a:gd name="T71" fmla="*/ 261 h 278"/>
                <a:gd name="T72" fmla="*/ 84 w 143"/>
                <a:gd name="T73" fmla="*/ 269 h 278"/>
                <a:gd name="T74" fmla="*/ 67 w 143"/>
                <a:gd name="T75" fmla="*/ 278 h 278"/>
                <a:gd name="T76" fmla="*/ 67 w 143"/>
                <a:gd name="T77" fmla="*/ 278 h 278"/>
                <a:gd name="T78" fmla="*/ 67 w 143"/>
                <a:gd name="T79" fmla="*/ 261 h 278"/>
                <a:gd name="T80" fmla="*/ 75 w 143"/>
                <a:gd name="T81" fmla="*/ 253 h 278"/>
                <a:gd name="T82" fmla="*/ 59 w 143"/>
                <a:gd name="T83" fmla="*/ 253 h 278"/>
                <a:gd name="T84" fmla="*/ 67 w 143"/>
                <a:gd name="T85" fmla="*/ 244 h 278"/>
                <a:gd name="T86" fmla="*/ 84 w 143"/>
                <a:gd name="T87" fmla="*/ 236 h 278"/>
                <a:gd name="T88" fmla="*/ 92 w 143"/>
                <a:gd name="T89" fmla="*/ 227 h 278"/>
                <a:gd name="T90" fmla="*/ 101 w 143"/>
                <a:gd name="T91" fmla="*/ 219 h 278"/>
                <a:gd name="T92" fmla="*/ 109 w 143"/>
                <a:gd name="T93" fmla="*/ 202 h 278"/>
                <a:gd name="T94" fmla="*/ 109 w 143"/>
                <a:gd name="T95" fmla="*/ 177 h 278"/>
                <a:gd name="T96" fmla="*/ 109 w 143"/>
                <a:gd name="T97" fmla="*/ 160 h 278"/>
                <a:gd name="T98" fmla="*/ 109 w 143"/>
                <a:gd name="T99" fmla="*/ 152 h 278"/>
                <a:gd name="T100" fmla="*/ 109 w 143"/>
                <a:gd name="T101" fmla="*/ 135 h 278"/>
                <a:gd name="T102" fmla="*/ 101 w 143"/>
                <a:gd name="T103" fmla="*/ 126 h 278"/>
                <a:gd name="T104" fmla="*/ 84 w 143"/>
                <a:gd name="T105" fmla="*/ 118 h 278"/>
                <a:gd name="T106" fmla="*/ 75 w 143"/>
                <a:gd name="T107" fmla="*/ 110 h 278"/>
                <a:gd name="T108" fmla="*/ 50 w 143"/>
                <a:gd name="T109" fmla="*/ 93 h 278"/>
                <a:gd name="T110" fmla="*/ 42 w 143"/>
                <a:gd name="T111" fmla="*/ 76 h 278"/>
                <a:gd name="T112" fmla="*/ 50 w 143"/>
                <a:gd name="T113" fmla="*/ 68 h 278"/>
                <a:gd name="T114" fmla="*/ 50 w 143"/>
                <a:gd name="T115" fmla="*/ 59 h 278"/>
                <a:gd name="T116" fmla="*/ 42 w 143"/>
                <a:gd name="T117" fmla="*/ 42 h 278"/>
                <a:gd name="T118" fmla="*/ 17 w 143"/>
                <a:gd name="T119" fmla="*/ 34 h 278"/>
                <a:gd name="T120" fmla="*/ 0 w 143"/>
                <a:gd name="T121" fmla="*/ 17 h 278"/>
                <a:gd name="T122" fmla="*/ 50 w 143"/>
                <a:gd name="T123" fmla="*/ 253 h 278"/>
                <a:gd name="T124" fmla="*/ 50 w 143"/>
                <a:gd name="T125" fmla="*/ 24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" h="278">
                  <a:moveTo>
                    <a:pt x="0" y="17"/>
                  </a:move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42" y="9"/>
                  </a:lnTo>
                  <a:lnTo>
                    <a:pt x="50" y="9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34"/>
                  </a:lnTo>
                  <a:lnTo>
                    <a:pt x="101" y="26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75" y="5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59"/>
                  </a:lnTo>
                  <a:lnTo>
                    <a:pt x="75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75" y="93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92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9" y="126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34" y="152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43" y="177"/>
                  </a:lnTo>
                  <a:lnTo>
                    <a:pt x="143" y="177"/>
                  </a:lnTo>
                  <a:lnTo>
                    <a:pt x="143" y="177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17" y="236"/>
                  </a:lnTo>
                  <a:lnTo>
                    <a:pt x="117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92" y="244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92" y="253"/>
                  </a:lnTo>
                  <a:lnTo>
                    <a:pt x="101" y="253"/>
                  </a:lnTo>
                  <a:lnTo>
                    <a:pt x="101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53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75" y="278"/>
                  </a:lnTo>
                  <a:lnTo>
                    <a:pt x="67" y="278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53"/>
                  </a:lnTo>
                  <a:lnTo>
                    <a:pt x="75" y="253"/>
                  </a:lnTo>
                  <a:lnTo>
                    <a:pt x="75" y="253"/>
                  </a:lnTo>
                  <a:lnTo>
                    <a:pt x="75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101" y="219"/>
                  </a:lnTo>
                  <a:lnTo>
                    <a:pt x="101" y="211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17" y="194"/>
                  </a:lnTo>
                  <a:lnTo>
                    <a:pt x="109" y="194"/>
                  </a:lnTo>
                  <a:lnTo>
                    <a:pt x="109" y="185"/>
                  </a:lnTo>
                  <a:lnTo>
                    <a:pt x="109" y="177"/>
                  </a:lnTo>
                  <a:lnTo>
                    <a:pt x="109" y="177"/>
                  </a:lnTo>
                  <a:lnTo>
                    <a:pt x="101" y="169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92" y="135"/>
                  </a:lnTo>
                  <a:lnTo>
                    <a:pt x="101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75" y="110"/>
                  </a:lnTo>
                  <a:lnTo>
                    <a:pt x="75" y="110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25" y="51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6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50" y="244"/>
                  </a:move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9" y="253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0" y="244"/>
                  </a:lnTo>
                  <a:lnTo>
                    <a:pt x="50" y="2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BCA72E88-71A0-46E9-A1A9-155109B4F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732" y="4721697"/>
              <a:ext cx="117087" cy="87815"/>
            </a:xfrm>
            <a:custGeom>
              <a:avLst/>
              <a:gdLst>
                <a:gd name="T0" fmla="*/ 50 w 100"/>
                <a:gd name="T1" fmla="*/ 75 h 75"/>
                <a:gd name="T2" fmla="*/ 50 w 100"/>
                <a:gd name="T3" fmla="*/ 67 h 75"/>
                <a:gd name="T4" fmla="*/ 58 w 100"/>
                <a:gd name="T5" fmla="*/ 67 h 75"/>
                <a:gd name="T6" fmla="*/ 67 w 100"/>
                <a:gd name="T7" fmla="*/ 67 h 75"/>
                <a:gd name="T8" fmla="*/ 75 w 100"/>
                <a:gd name="T9" fmla="*/ 67 h 75"/>
                <a:gd name="T10" fmla="*/ 75 w 100"/>
                <a:gd name="T11" fmla="*/ 67 h 75"/>
                <a:gd name="T12" fmla="*/ 67 w 100"/>
                <a:gd name="T13" fmla="*/ 58 h 75"/>
                <a:gd name="T14" fmla="*/ 75 w 100"/>
                <a:gd name="T15" fmla="*/ 50 h 75"/>
                <a:gd name="T16" fmla="*/ 84 w 100"/>
                <a:gd name="T17" fmla="*/ 50 h 75"/>
                <a:gd name="T18" fmla="*/ 92 w 100"/>
                <a:gd name="T19" fmla="*/ 42 h 75"/>
                <a:gd name="T20" fmla="*/ 92 w 100"/>
                <a:gd name="T21" fmla="*/ 42 h 75"/>
                <a:gd name="T22" fmla="*/ 92 w 100"/>
                <a:gd name="T23" fmla="*/ 33 h 75"/>
                <a:gd name="T24" fmla="*/ 92 w 100"/>
                <a:gd name="T25" fmla="*/ 25 h 75"/>
                <a:gd name="T26" fmla="*/ 92 w 100"/>
                <a:gd name="T27" fmla="*/ 8 h 75"/>
                <a:gd name="T28" fmla="*/ 84 w 100"/>
                <a:gd name="T29" fmla="*/ 0 h 75"/>
                <a:gd name="T30" fmla="*/ 84 w 100"/>
                <a:gd name="T31" fmla="*/ 0 h 75"/>
                <a:gd name="T32" fmla="*/ 75 w 100"/>
                <a:gd name="T33" fmla="*/ 0 h 75"/>
                <a:gd name="T34" fmla="*/ 67 w 100"/>
                <a:gd name="T35" fmla="*/ 0 h 75"/>
                <a:gd name="T36" fmla="*/ 75 w 100"/>
                <a:gd name="T37" fmla="*/ 8 h 75"/>
                <a:gd name="T38" fmla="*/ 75 w 100"/>
                <a:gd name="T39" fmla="*/ 16 h 75"/>
                <a:gd name="T40" fmla="*/ 67 w 100"/>
                <a:gd name="T41" fmla="*/ 8 h 75"/>
                <a:gd name="T42" fmla="*/ 58 w 100"/>
                <a:gd name="T43" fmla="*/ 0 h 75"/>
                <a:gd name="T44" fmla="*/ 50 w 100"/>
                <a:gd name="T45" fmla="*/ 0 h 75"/>
                <a:gd name="T46" fmla="*/ 42 w 100"/>
                <a:gd name="T47" fmla="*/ 0 h 75"/>
                <a:gd name="T48" fmla="*/ 33 w 100"/>
                <a:gd name="T49" fmla="*/ 0 h 75"/>
                <a:gd name="T50" fmla="*/ 25 w 100"/>
                <a:gd name="T51" fmla="*/ 0 h 75"/>
                <a:gd name="T52" fmla="*/ 16 w 100"/>
                <a:gd name="T53" fmla="*/ 0 h 75"/>
                <a:gd name="T54" fmla="*/ 8 w 100"/>
                <a:gd name="T55" fmla="*/ 8 h 75"/>
                <a:gd name="T56" fmla="*/ 8 w 100"/>
                <a:gd name="T57" fmla="*/ 16 h 75"/>
                <a:gd name="T58" fmla="*/ 8 w 100"/>
                <a:gd name="T59" fmla="*/ 33 h 75"/>
                <a:gd name="T60" fmla="*/ 8 w 100"/>
                <a:gd name="T61" fmla="*/ 33 h 75"/>
                <a:gd name="T62" fmla="*/ 8 w 100"/>
                <a:gd name="T63" fmla="*/ 42 h 75"/>
                <a:gd name="T64" fmla="*/ 8 w 100"/>
                <a:gd name="T65" fmla="*/ 50 h 75"/>
                <a:gd name="T66" fmla="*/ 16 w 100"/>
                <a:gd name="T67" fmla="*/ 50 h 75"/>
                <a:gd name="T68" fmla="*/ 16 w 100"/>
                <a:gd name="T69" fmla="*/ 58 h 75"/>
                <a:gd name="T70" fmla="*/ 16 w 100"/>
                <a:gd name="T71" fmla="*/ 58 h 75"/>
                <a:gd name="T72" fmla="*/ 16 w 100"/>
                <a:gd name="T73" fmla="*/ 67 h 75"/>
                <a:gd name="T74" fmla="*/ 25 w 100"/>
                <a:gd name="T75" fmla="*/ 67 h 75"/>
                <a:gd name="T76" fmla="*/ 25 w 100"/>
                <a:gd name="T77" fmla="*/ 67 h 75"/>
                <a:gd name="T78" fmla="*/ 33 w 100"/>
                <a:gd name="T79" fmla="*/ 67 h 75"/>
                <a:gd name="T80" fmla="*/ 33 w 100"/>
                <a:gd name="T81" fmla="*/ 67 h 75"/>
                <a:gd name="T82" fmla="*/ 25 w 100"/>
                <a:gd name="T83" fmla="*/ 75 h 75"/>
                <a:gd name="T84" fmla="*/ 33 w 100"/>
                <a:gd name="T85" fmla="*/ 75 h 75"/>
                <a:gd name="T86" fmla="*/ 33 w 100"/>
                <a:gd name="T87" fmla="*/ 75 h 75"/>
                <a:gd name="T88" fmla="*/ 33 w 100"/>
                <a:gd name="T89" fmla="*/ 75 h 75"/>
                <a:gd name="T90" fmla="*/ 42 w 100"/>
                <a:gd name="T9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" h="75">
                  <a:moveTo>
                    <a:pt x="42" y="75"/>
                  </a:moveTo>
                  <a:lnTo>
                    <a:pt x="50" y="75"/>
                  </a:lnTo>
                  <a:lnTo>
                    <a:pt x="50" y="75"/>
                  </a:lnTo>
                  <a:lnTo>
                    <a:pt x="5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58"/>
                  </a:lnTo>
                  <a:lnTo>
                    <a:pt x="67" y="58"/>
                  </a:lnTo>
                  <a:lnTo>
                    <a:pt x="67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25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7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D300505E-D59B-4869-B25E-31E7B4F4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018" y="4543725"/>
              <a:ext cx="167434" cy="196706"/>
            </a:xfrm>
            <a:custGeom>
              <a:avLst/>
              <a:gdLst>
                <a:gd name="T0" fmla="*/ 25 w 143"/>
                <a:gd name="T1" fmla="*/ 25 h 168"/>
                <a:gd name="T2" fmla="*/ 25 w 143"/>
                <a:gd name="T3" fmla="*/ 17 h 168"/>
                <a:gd name="T4" fmla="*/ 25 w 143"/>
                <a:gd name="T5" fmla="*/ 0 h 168"/>
                <a:gd name="T6" fmla="*/ 34 w 143"/>
                <a:gd name="T7" fmla="*/ 0 h 168"/>
                <a:gd name="T8" fmla="*/ 42 w 143"/>
                <a:gd name="T9" fmla="*/ 9 h 168"/>
                <a:gd name="T10" fmla="*/ 51 w 143"/>
                <a:gd name="T11" fmla="*/ 17 h 168"/>
                <a:gd name="T12" fmla="*/ 67 w 143"/>
                <a:gd name="T13" fmla="*/ 34 h 168"/>
                <a:gd name="T14" fmla="*/ 76 w 143"/>
                <a:gd name="T15" fmla="*/ 25 h 168"/>
                <a:gd name="T16" fmla="*/ 84 w 143"/>
                <a:gd name="T17" fmla="*/ 34 h 168"/>
                <a:gd name="T18" fmla="*/ 93 w 143"/>
                <a:gd name="T19" fmla="*/ 42 h 168"/>
                <a:gd name="T20" fmla="*/ 84 w 143"/>
                <a:gd name="T21" fmla="*/ 51 h 168"/>
                <a:gd name="T22" fmla="*/ 76 w 143"/>
                <a:gd name="T23" fmla="*/ 59 h 168"/>
                <a:gd name="T24" fmla="*/ 76 w 143"/>
                <a:gd name="T25" fmla="*/ 67 h 168"/>
                <a:gd name="T26" fmla="*/ 84 w 143"/>
                <a:gd name="T27" fmla="*/ 76 h 168"/>
                <a:gd name="T28" fmla="*/ 93 w 143"/>
                <a:gd name="T29" fmla="*/ 76 h 168"/>
                <a:gd name="T30" fmla="*/ 109 w 143"/>
                <a:gd name="T31" fmla="*/ 93 h 168"/>
                <a:gd name="T32" fmla="*/ 118 w 143"/>
                <a:gd name="T33" fmla="*/ 101 h 168"/>
                <a:gd name="T34" fmla="*/ 126 w 143"/>
                <a:gd name="T35" fmla="*/ 109 h 168"/>
                <a:gd name="T36" fmla="*/ 126 w 143"/>
                <a:gd name="T37" fmla="*/ 109 h 168"/>
                <a:gd name="T38" fmla="*/ 135 w 143"/>
                <a:gd name="T39" fmla="*/ 118 h 168"/>
                <a:gd name="T40" fmla="*/ 143 w 143"/>
                <a:gd name="T41" fmla="*/ 118 h 168"/>
                <a:gd name="T42" fmla="*/ 143 w 143"/>
                <a:gd name="T43" fmla="*/ 126 h 168"/>
                <a:gd name="T44" fmla="*/ 143 w 143"/>
                <a:gd name="T45" fmla="*/ 135 h 168"/>
                <a:gd name="T46" fmla="*/ 143 w 143"/>
                <a:gd name="T47" fmla="*/ 143 h 168"/>
                <a:gd name="T48" fmla="*/ 143 w 143"/>
                <a:gd name="T49" fmla="*/ 152 h 168"/>
                <a:gd name="T50" fmla="*/ 126 w 143"/>
                <a:gd name="T51" fmla="*/ 152 h 168"/>
                <a:gd name="T52" fmla="*/ 118 w 143"/>
                <a:gd name="T53" fmla="*/ 152 h 168"/>
                <a:gd name="T54" fmla="*/ 126 w 143"/>
                <a:gd name="T55" fmla="*/ 160 h 168"/>
                <a:gd name="T56" fmla="*/ 118 w 143"/>
                <a:gd name="T57" fmla="*/ 160 h 168"/>
                <a:gd name="T58" fmla="*/ 101 w 143"/>
                <a:gd name="T59" fmla="*/ 152 h 168"/>
                <a:gd name="T60" fmla="*/ 109 w 143"/>
                <a:gd name="T61" fmla="*/ 143 h 168"/>
                <a:gd name="T62" fmla="*/ 109 w 143"/>
                <a:gd name="T63" fmla="*/ 135 h 168"/>
                <a:gd name="T64" fmla="*/ 101 w 143"/>
                <a:gd name="T65" fmla="*/ 126 h 168"/>
                <a:gd name="T66" fmla="*/ 101 w 143"/>
                <a:gd name="T67" fmla="*/ 118 h 168"/>
                <a:gd name="T68" fmla="*/ 93 w 143"/>
                <a:gd name="T69" fmla="*/ 109 h 168"/>
                <a:gd name="T70" fmla="*/ 93 w 143"/>
                <a:gd name="T71" fmla="*/ 101 h 168"/>
                <a:gd name="T72" fmla="*/ 84 w 143"/>
                <a:gd name="T73" fmla="*/ 93 h 168"/>
                <a:gd name="T74" fmla="*/ 67 w 143"/>
                <a:gd name="T75" fmla="*/ 76 h 168"/>
                <a:gd name="T76" fmla="*/ 51 w 143"/>
                <a:gd name="T77" fmla="*/ 93 h 168"/>
                <a:gd name="T78" fmla="*/ 42 w 143"/>
                <a:gd name="T79" fmla="*/ 84 h 168"/>
                <a:gd name="T80" fmla="*/ 25 w 143"/>
                <a:gd name="T81" fmla="*/ 93 h 168"/>
                <a:gd name="T82" fmla="*/ 25 w 143"/>
                <a:gd name="T83" fmla="*/ 76 h 168"/>
                <a:gd name="T84" fmla="*/ 25 w 143"/>
                <a:gd name="T85" fmla="*/ 67 h 168"/>
                <a:gd name="T86" fmla="*/ 25 w 143"/>
                <a:gd name="T87" fmla="*/ 59 h 168"/>
                <a:gd name="T88" fmla="*/ 9 w 143"/>
                <a:gd name="T89" fmla="*/ 59 h 168"/>
                <a:gd name="T90" fmla="*/ 9 w 143"/>
                <a:gd name="T91" fmla="*/ 42 h 168"/>
                <a:gd name="T92" fmla="*/ 0 w 143"/>
                <a:gd name="T93" fmla="*/ 34 h 168"/>
                <a:gd name="T94" fmla="*/ 9 w 143"/>
                <a:gd name="T95" fmla="*/ 34 h 168"/>
                <a:gd name="T96" fmla="*/ 9 w 143"/>
                <a:gd name="T97" fmla="*/ 2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168">
                  <a:moveTo>
                    <a:pt x="17" y="17"/>
                  </a:moveTo>
                  <a:lnTo>
                    <a:pt x="17" y="17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9"/>
                  </a:lnTo>
                  <a:lnTo>
                    <a:pt x="51" y="9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35" y="109"/>
                  </a:lnTo>
                  <a:lnTo>
                    <a:pt x="126" y="118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18" y="152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8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09" y="160"/>
                  </a:lnTo>
                  <a:lnTo>
                    <a:pt x="109" y="152"/>
                  </a:lnTo>
                  <a:lnTo>
                    <a:pt x="101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93"/>
                  </a:lnTo>
                  <a:lnTo>
                    <a:pt x="84" y="93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76"/>
                  </a:lnTo>
                  <a:lnTo>
                    <a:pt x="59" y="76"/>
                  </a:lnTo>
                  <a:lnTo>
                    <a:pt x="59" y="84"/>
                  </a:lnTo>
                  <a:lnTo>
                    <a:pt x="51" y="93"/>
                  </a:lnTo>
                  <a:lnTo>
                    <a:pt x="51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FF713634-A88C-472F-AF41-F68A4FD538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3841" y="4583534"/>
              <a:ext cx="176801" cy="324330"/>
            </a:xfrm>
            <a:custGeom>
              <a:avLst/>
              <a:gdLst>
                <a:gd name="T0" fmla="*/ 6 w 18"/>
                <a:gd name="T1" fmla="*/ 2 h 33"/>
                <a:gd name="T2" fmla="*/ 8 w 18"/>
                <a:gd name="T3" fmla="*/ 3 h 33"/>
                <a:gd name="T4" fmla="*/ 8 w 18"/>
                <a:gd name="T5" fmla="*/ 5 h 33"/>
                <a:gd name="T6" fmla="*/ 9 w 18"/>
                <a:gd name="T7" fmla="*/ 6 h 33"/>
                <a:gd name="T8" fmla="*/ 11 w 18"/>
                <a:gd name="T9" fmla="*/ 7 h 33"/>
                <a:gd name="T10" fmla="*/ 14 w 18"/>
                <a:gd name="T11" fmla="*/ 6 h 33"/>
                <a:gd name="T12" fmla="*/ 16 w 18"/>
                <a:gd name="T13" fmla="*/ 8 h 33"/>
                <a:gd name="T14" fmla="*/ 17 w 18"/>
                <a:gd name="T15" fmla="*/ 10 h 33"/>
                <a:gd name="T16" fmla="*/ 18 w 18"/>
                <a:gd name="T17" fmla="*/ 11 h 33"/>
                <a:gd name="T18" fmla="*/ 18 w 18"/>
                <a:gd name="T19" fmla="*/ 14 h 33"/>
                <a:gd name="T20" fmla="*/ 16 w 18"/>
                <a:gd name="T21" fmla="*/ 14 h 33"/>
                <a:gd name="T22" fmla="*/ 13 w 18"/>
                <a:gd name="T23" fmla="*/ 14 h 33"/>
                <a:gd name="T24" fmla="*/ 11 w 18"/>
                <a:gd name="T25" fmla="*/ 17 h 33"/>
                <a:gd name="T26" fmla="*/ 12 w 18"/>
                <a:gd name="T27" fmla="*/ 19 h 33"/>
                <a:gd name="T28" fmla="*/ 11 w 18"/>
                <a:gd name="T29" fmla="*/ 19 h 33"/>
                <a:gd name="T30" fmla="*/ 10 w 18"/>
                <a:gd name="T31" fmla="*/ 18 h 33"/>
                <a:gd name="T32" fmla="*/ 9 w 18"/>
                <a:gd name="T33" fmla="*/ 18 h 33"/>
                <a:gd name="T34" fmla="*/ 8 w 18"/>
                <a:gd name="T35" fmla="*/ 18 h 33"/>
                <a:gd name="T36" fmla="*/ 8 w 18"/>
                <a:gd name="T37" fmla="*/ 16 h 33"/>
                <a:gd name="T38" fmla="*/ 7 w 18"/>
                <a:gd name="T39" fmla="*/ 17 h 33"/>
                <a:gd name="T40" fmla="*/ 6 w 18"/>
                <a:gd name="T41" fmla="*/ 17 h 33"/>
                <a:gd name="T42" fmla="*/ 6 w 18"/>
                <a:gd name="T43" fmla="*/ 18 h 33"/>
                <a:gd name="T44" fmla="*/ 6 w 18"/>
                <a:gd name="T45" fmla="*/ 20 h 33"/>
                <a:gd name="T46" fmla="*/ 5 w 18"/>
                <a:gd name="T47" fmla="*/ 24 h 33"/>
                <a:gd name="T48" fmla="*/ 5 w 18"/>
                <a:gd name="T49" fmla="*/ 25 h 33"/>
                <a:gd name="T50" fmla="*/ 6 w 18"/>
                <a:gd name="T51" fmla="*/ 26 h 33"/>
                <a:gd name="T52" fmla="*/ 7 w 18"/>
                <a:gd name="T53" fmla="*/ 26 h 33"/>
                <a:gd name="T54" fmla="*/ 7 w 18"/>
                <a:gd name="T55" fmla="*/ 28 h 33"/>
                <a:gd name="T56" fmla="*/ 8 w 18"/>
                <a:gd name="T57" fmla="*/ 28 h 33"/>
                <a:gd name="T58" fmla="*/ 8 w 18"/>
                <a:gd name="T59" fmla="*/ 29 h 33"/>
                <a:gd name="T60" fmla="*/ 8 w 18"/>
                <a:gd name="T61" fmla="*/ 30 h 33"/>
                <a:gd name="T62" fmla="*/ 10 w 18"/>
                <a:gd name="T63" fmla="*/ 31 h 33"/>
                <a:gd name="T64" fmla="*/ 11 w 18"/>
                <a:gd name="T65" fmla="*/ 32 h 33"/>
                <a:gd name="T66" fmla="*/ 11 w 18"/>
                <a:gd name="T67" fmla="*/ 33 h 33"/>
                <a:gd name="T68" fmla="*/ 9 w 18"/>
                <a:gd name="T69" fmla="*/ 33 h 33"/>
                <a:gd name="T70" fmla="*/ 9 w 18"/>
                <a:gd name="T71" fmla="*/ 32 h 33"/>
                <a:gd name="T72" fmla="*/ 7 w 18"/>
                <a:gd name="T73" fmla="*/ 32 h 33"/>
                <a:gd name="T74" fmla="*/ 6 w 18"/>
                <a:gd name="T75" fmla="*/ 30 h 33"/>
                <a:gd name="T76" fmla="*/ 5 w 18"/>
                <a:gd name="T77" fmla="*/ 29 h 33"/>
                <a:gd name="T78" fmla="*/ 4 w 18"/>
                <a:gd name="T79" fmla="*/ 28 h 33"/>
                <a:gd name="T80" fmla="*/ 3 w 18"/>
                <a:gd name="T81" fmla="*/ 27 h 33"/>
                <a:gd name="T82" fmla="*/ 4 w 18"/>
                <a:gd name="T83" fmla="*/ 25 h 33"/>
                <a:gd name="T84" fmla="*/ 4 w 18"/>
                <a:gd name="T85" fmla="*/ 24 h 33"/>
                <a:gd name="T86" fmla="*/ 4 w 18"/>
                <a:gd name="T87" fmla="*/ 22 h 33"/>
                <a:gd name="T88" fmla="*/ 5 w 18"/>
                <a:gd name="T89" fmla="*/ 19 h 33"/>
                <a:gd name="T90" fmla="*/ 5 w 18"/>
                <a:gd name="T91" fmla="*/ 17 h 33"/>
                <a:gd name="T92" fmla="*/ 3 w 18"/>
                <a:gd name="T93" fmla="*/ 14 h 33"/>
                <a:gd name="T94" fmla="*/ 3 w 18"/>
                <a:gd name="T95" fmla="*/ 12 h 33"/>
                <a:gd name="T96" fmla="*/ 3 w 18"/>
                <a:gd name="T97" fmla="*/ 10 h 33"/>
                <a:gd name="T98" fmla="*/ 1 w 18"/>
                <a:gd name="T99" fmla="*/ 7 h 33"/>
                <a:gd name="T100" fmla="*/ 0 w 18"/>
                <a:gd name="T101" fmla="*/ 5 h 33"/>
                <a:gd name="T102" fmla="*/ 1 w 18"/>
                <a:gd name="T103" fmla="*/ 4 h 33"/>
                <a:gd name="T104" fmla="*/ 3 w 18"/>
                <a:gd name="T105" fmla="*/ 2 h 33"/>
                <a:gd name="T106" fmla="*/ 4 w 18"/>
                <a:gd name="T107" fmla="*/ 1 h 33"/>
                <a:gd name="T108" fmla="*/ 5 w 18"/>
                <a:gd name="T109" fmla="*/ 0 h 33"/>
                <a:gd name="T110" fmla="*/ 6 w 18"/>
                <a:gd name="T111" fmla="*/ 31 h 33"/>
                <a:gd name="T112" fmla="*/ 5 w 18"/>
                <a:gd name="T113" fmla="*/ 29 h 33"/>
                <a:gd name="T114" fmla="*/ 3 w 18"/>
                <a:gd name="T115" fmla="*/ 29 h 33"/>
                <a:gd name="T116" fmla="*/ 11 w 18"/>
                <a:gd name="T117" fmla="*/ 20 h 33"/>
                <a:gd name="T118" fmla="*/ 7 w 18"/>
                <a:gd name="T119" fmla="*/ 25 h 33"/>
                <a:gd name="T120" fmla="*/ 7 w 18"/>
                <a:gd name="T121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" h="3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lose/>
                  <a:moveTo>
                    <a:pt x="6" y="31"/>
                  </a:move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5" y="29"/>
                  </a:moveTo>
                  <a:cubicBezTo>
                    <a:pt x="5" y="30"/>
                    <a:pt x="5" y="30"/>
                    <a:pt x="5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lose/>
                  <a:moveTo>
                    <a:pt x="4" y="28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lose/>
                  <a:moveTo>
                    <a:pt x="11" y="19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19"/>
                    <a:pt x="11" y="19"/>
                    <a:pt x="11" y="19"/>
                  </a:cubicBezTo>
                  <a:close/>
                  <a:moveTo>
                    <a:pt x="7" y="24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4"/>
                    <a:pt x="7" y="24"/>
                    <a:pt x="7" y="24"/>
                  </a:cubicBezTo>
                  <a:close/>
                  <a:moveTo>
                    <a:pt x="7" y="25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5"/>
                    <a:pt x="7" y="25"/>
                    <a:pt x="7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03830312-5991-4908-A7CD-699CFD256A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6122" y="4405562"/>
              <a:ext cx="176801" cy="414487"/>
            </a:xfrm>
            <a:custGeom>
              <a:avLst/>
              <a:gdLst>
                <a:gd name="T0" fmla="*/ 84 w 151"/>
                <a:gd name="T1" fmla="*/ 9 h 354"/>
                <a:gd name="T2" fmla="*/ 101 w 151"/>
                <a:gd name="T3" fmla="*/ 34 h 354"/>
                <a:gd name="T4" fmla="*/ 92 w 151"/>
                <a:gd name="T5" fmla="*/ 59 h 354"/>
                <a:gd name="T6" fmla="*/ 84 w 151"/>
                <a:gd name="T7" fmla="*/ 68 h 354"/>
                <a:gd name="T8" fmla="*/ 84 w 151"/>
                <a:gd name="T9" fmla="*/ 76 h 354"/>
                <a:gd name="T10" fmla="*/ 101 w 151"/>
                <a:gd name="T11" fmla="*/ 85 h 354"/>
                <a:gd name="T12" fmla="*/ 109 w 151"/>
                <a:gd name="T13" fmla="*/ 101 h 354"/>
                <a:gd name="T14" fmla="*/ 126 w 151"/>
                <a:gd name="T15" fmla="*/ 101 h 354"/>
                <a:gd name="T16" fmla="*/ 117 w 151"/>
                <a:gd name="T17" fmla="*/ 127 h 354"/>
                <a:gd name="T18" fmla="*/ 134 w 151"/>
                <a:gd name="T19" fmla="*/ 127 h 354"/>
                <a:gd name="T20" fmla="*/ 151 w 151"/>
                <a:gd name="T21" fmla="*/ 135 h 354"/>
                <a:gd name="T22" fmla="*/ 143 w 151"/>
                <a:gd name="T23" fmla="*/ 152 h 354"/>
                <a:gd name="T24" fmla="*/ 126 w 151"/>
                <a:gd name="T25" fmla="*/ 160 h 354"/>
                <a:gd name="T26" fmla="*/ 117 w 151"/>
                <a:gd name="T27" fmla="*/ 169 h 354"/>
                <a:gd name="T28" fmla="*/ 101 w 151"/>
                <a:gd name="T29" fmla="*/ 185 h 354"/>
                <a:gd name="T30" fmla="*/ 92 w 151"/>
                <a:gd name="T31" fmla="*/ 202 h 354"/>
                <a:gd name="T32" fmla="*/ 117 w 151"/>
                <a:gd name="T33" fmla="*/ 227 h 354"/>
                <a:gd name="T34" fmla="*/ 117 w 151"/>
                <a:gd name="T35" fmla="*/ 244 h 354"/>
                <a:gd name="T36" fmla="*/ 117 w 151"/>
                <a:gd name="T37" fmla="*/ 270 h 354"/>
                <a:gd name="T38" fmla="*/ 134 w 151"/>
                <a:gd name="T39" fmla="*/ 295 h 354"/>
                <a:gd name="T40" fmla="*/ 143 w 151"/>
                <a:gd name="T41" fmla="*/ 320 h 354"/>
                <a:gd name="T42" fmla="*/ 126 w 151"/>
                <a:gd name="T43" fmla="*/ 345 h 354"/>
                <a:gd name="T44" fmla="*/ 117 w 151"/>
                <a:gd name="T45" fmla="*/ 345 h 354"/>
                <a:gd name="T46" fmla="*/ 126 w 151"/>
                <a:gd name="T47" fmla="*/ 337 h 354"/>
                <a:gd name="T48" fmla="*/ 126 w 151"/>
                <a:gd name="T49" fmla="*/ 320 h 354"/>
                <a:gd name="T50" fmla="*/ 117 w 151"/>
                <a:gd name="T51" fmla="*/ 295 h 354"/>
                <a:gd name="T52" fmla="*/ 117 w 151"/>
                <a:gd name="T53" fmla="*/ 286 h 354"/>
                <a:gd name="T54" fmla="*/ 109 w 151"/>
                <a:gd name="T55" fmla="*/ 261 h 354"/>
                <a:gd name="T56" fmla="*/ 101 w 151"/>
                <a:gd name="T57" fmla="*/ 244 h 354"/>
                <a:gd name="T58" fmla="*/ 101 w 151"/>
                <a:gd name="T59" fmla="*/ 236 h 354"/>
                <a:gd name="T60" fmla="*/ 84 w 151"/>
                <a:gd name="T61" fmla="*/ 219 h 354"/>
                <a:gd name="T62" fmla="*/ 84 w 151"/>
                <a:gd name="T63" fmla="*/ 219 h 354"/>
                <a:gd name="T64" fmla="*/ 75 w 151"/>
                <a:gd name="T65" fmla="*/ 227 h 354"/>
                <a:gd name="T66" fmla="*/ 75 w 151"/>
                <a:gd name="T67" fmla="*/ 236 h 354"/>
                <a:gd name="T68" fmla="*/ 59 w 151"/>
                <a:gd name="T69" fmla="*/ 244 h 354"/>
                <a:gd name="T70" fmla="*/ 50 w 151"/>
                <a:gd name="T71" fmla="*/ 244 h 354"/>
                <a:gd name="T72" fmla="*/ 42 w 151"/>
                <a:gd name="T73" fmla="*/ 244 h 354"/>
                <a:gd name="T74" fmla="*/ 50 w 151"/>
                <a:gd name="T75" fmla="*/ 219 h 354"/>
                <a:gd name="T76" fmla="*/ 42 w 151"/>
                <a:gd name="T77" fmla="*/ 202 h 354"/>
                <a:gd name="T78" fmla="*/ 25 w 151"/>
                <a:gd name="T79" fmla="*/ 177 h 354"/>
                <a:gd name="T80" fmla="*/ 17 w 151"/>
                <a:gd name="T81" fmla="*/ 177 h 354"/>
                <a:gd name="T82" fmla="*/ 25 w 151"/>
                <a:gd name="T83" fmla="*/ 177 h 354"/>
                <a:gd name="T84" fmla="*/ 25 w 151"/>
                <a:gd name="T85" fmla="*/ 169 h 354"/>
                <a:gd name="T86" fmla="*/ 8 w 151"/>
                <a:gd name="T87" fmla="*/ 169 h 354"/>
                <a:gd name="T88" fmla="*/ 8 w 151"/>
                <a:gd name="T89" fmla="*/ 160 h 354"/>
                <a:gd name="T90" fmla="*/ 0 w 151"/>
                <a:gd name="T91" fmla="*/ 143 h 354"/>
                <a:gd name="T92" fmla="*/ 8 w 151"/>
                <a:gd name="T93" fmla="*/ 127 h 354"/>
                <a:gd name="T94" fmla="*/ 17 w 151"/>
                <a:gd name="T95" fmla="*/ 110 h 354"/>
                <a:gd name="T96" fmla="*/ 25 w 151"/>
                <a:gd name="T97" fmla="*/ 93 h 354"/>
                <a:gd name="T98" fmla="*/ 33 w 151"/>
                <a:gd name="T99" fmla="*/ 51 h 354"/>
                <a:gd name="T100" fmla="*/ 50 w 151"/>
                <a:gd name="T101" fmla="*/ 26 h 354"/>
                <a:gd name="T102" fmla="*/ 67 w 151"/>
                <a:gd name="T103" fmla="*/ 17 h 354"/>
                <a:gd name="T104" fmla="*/ 17 w 151"/>
                <a:gd name="T105" fmla="*/ 19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1" h="354">
                  <a:moveTo>
                    <a:pt x="67" y="9"/>
                  </a:moveTo>
                  <a:lnTo>
                    <a:pt x="67" y="0"/>
                  </a:lnTo>
                  <a:lnTo>
                    <a:pt x="75" y="9"/>
                  </a:lnTo>
                  <a:lnTo>
                    <a:pt x="75" y="0"/>
                  </a:lnTo>
                  <a:lnTo>
                    <a:pt x="84" y="0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26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68"/>
                  </a:lnTo>
                  <a:lnTo>
                    <a:pt x="84" y="59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2" y="93"/>
                  </a:lnTo>
                  <a:lnTo>
                    <a:pt x="92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93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10"/>
                  </a:lnTo>
                  <a:lnTo>
                    <a:pt x="126" y="110"/>
                  </a:lnTo>
                  <a:lnTo>
                    <a:pt x="126" y="110"/>
                  </a:lnTo>
                  <a:lnTo>
                    <a:pt x="117" y="118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35"/>
                  </a:lnTo>
                  <a:lnTo>
                    <a:pt x="134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51" y="127"/>
                  </a:lnTo>
                  <a:lnTo>
                    <a:pt x="151" y="135"/>
                  </a:lnTo>
                  <a:lnTo>
                    <a:pt x="151" y="135"/>
                  </a:lnTo>
                  <a:lnTo>
                    <a:pt x="151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34" y="152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09" y="177"/>
                  </a:lnTo>
                  <a:lnTo>
                    <a:pt x="101" y="169"/>
                  </a:lnTo>
                  <a:lnTo>
                    <a:pt x="101" y="17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92" y="194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101" y="202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109" y="211"/>
                  </a:lnTo>
                  <a:lnTo>
                    <a:pt x="109" y="219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44"/>
                  </a:lnTo>
                  <a:lnTo>
                    <a:pt x="117" y="253"/>
                  </a:lnTo>
                  <a:lnTo>
                    <a:pt x="117" y="253"/>
                  </a:lnTo>
                  <a:lnTo>
                    <a:pt x="117" y="253"/>
                  </a:lnTo>
                  <a:lnTo>
                    <a:pt x="117" y="261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26" y="278"/>
                  </a:lnTo>
                  <a:lnTo>
                    <a:pt x="134" y="278"/>
                  </a:lnTo>
                  <a:lnTo>
                    <a:pt x="134" y="286"/>
                  </a:lnTo>
                  <a:lnTo>
                    <a:pt x="134" y="286"/>
                  </a:lnTo>
                  <a:lnTo>
                    <a:pt x="134" y="295"/>
                  </a:lnTo>
                  <a:lnTo>
                    <a:pt x="134" y="295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12"/>
                  </a:lnTo>
                  <a:lnTo>
                    <a:pt x="134" y="312"/>
                  </a:lnTo>
                  <a:lnTo>
                    <a:pt x="143" y="320"/>
                  </a:lnTo>
                  <a:lnTo>
                    <a:pt x="143" y="320"/>
                  </a:lnTo>
                  <a:lnTo>
                    <a:pt x="134" y="328"/>
                  </a:lnTo>
                  <a:lnTo>
                    <a:pt x="134" y="337"/>
                  </a:lnTo>
                  <a:lnTo>
                    <a:pt x="126" y="337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6" y="345"/>
                  </a:lnTo>
                  <a:lnTo>
                    <a:pt x="117" y="345"/>
                  </a:lnTo>
                  <a:lnTo>
                    <a:pt x="117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37"/>
                  </a:lnTo>
                  <a:lnTo>
                    <a:pt x="126" y="337"/>
                  </a:lnTo>
                  <a:lnTo>
                    <a:pt x="126" y="337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03"/>
                  </a:lnTo>
                  <a:lnTo>
                    <a:pt x="126" y="303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09" y="286"/>
                  </a:lnTo>
                  <a:lnTo>
                    <a:pt x="109" y="278"/>
                  </a:lnTo>
                  <a:lnTo>
                    <a:pt x="109" y="270"/>
                  </a:lnTo>
                  <a:lnTo>
                    <a:pt x="109" y="270"/>
                  </a:lnTo>
                  <a:lnTo>
                    <a:pt x="109" y="270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27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92" y="236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36"/>
                  </a:lnTo>
                  <a:lnTo>
                    <a:pt x="75" y="236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36"/>
                  </a:lnTo>
                  <a:lnTo>
                    <a:pt x="42" y="219"/>
                  </a:lnTo>
                  <a:lnTo>
                    <a:pt x="50" y="219"/>
                  </a:lnTo>
                  <a:lnTo>
                    <a:pt x="42" y="219"/>
                  </a:lnTo>
                  <a:lnTo>
                    <a:pt x="42" y="211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25" y="177"/>
                  </a:lnTo>
                  <a:lnTo>
                    <a:pt x="33" y="185"/>
                  </a:lnTo>
                  <a:lnTo>
                    <a:pt x="33" y="194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85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25" y="177"/>
                  </a:lnTo>
                  <a:lnTo>
                    <a:pt x="25" y="185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0"/>
                  </a:lnTo>
                  <a:lnTo>
                    <a:pt x="17" y="169"/>
                  </a:lnTo>
                  <a:lnTo>
                    <a:pt x="8" y="169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0" y="160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8" y="13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8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25" y="93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33" y="68"/>
                  </a:lnTo>
                  <a:lnTo>
                    <a:pt x="25" y="68"/>
                  </a:lnTo>
                  <a:lnTo>
                    <a:pt x="25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26"/>
                  </a:lnTo>
                  <a:lnTo>
                    <a:pt x="50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close/>
                  <a:moveTo>
                    <a:pt x="17" y="194"/>
                  </a:move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17" y="1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636CBBB5-4D63-4DF1-A49E-FFE5A53DAD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0240" y="4829416"/>
              <a:ext cx="49176" cy="78448"/>
            </a:xfrm>
            <a:custGeom>
              <a:avLst/>
              <a:gdLst>
                <a:gd name="T0" fmla="*/ 0 w 42"/>
                <a:gd name="T1" fmla="*/ 25 h 67"/>
                <a:gd name="T2" fmla="*/ 8 w 42"/>
                <a:gd name="T3" fmla="*/ 25 h 67"/>
                <a:gd name="T4" fmla="*/ 0 w 42"/>
                <a:gd name="T5" fmla="*/ 25 h 67"/>
                <a:gd name="T6" fmla="*/ 0 w 42"/>
                <a:gd name="T7" fmla="*/ 34 h 67"/>
                <a:gd name="T8" fmla="*/ 8 w 42"/>
                <a:gd name="T9" fmla="*/ 0 h 67"/>
                <a:gd name="T10" fmla="*/ 8 w 42"/>
                <a:gd name="T11" fmla="*/ 0 h 67"/>
                <a:gd name="T12" fmla="*/ 8 w 42"/>
                <a:gd name="T13" fmla="*/ 0 h 67"/>
                <a:gd name="T14" fmla="*/ 8 w 42"/>
                <a:gd name="T15" fmla="*/ 0 h 67"/>
                <a:gd name="T16" fmla="*/ 8 w 42"/>
                <a:gd name="T17" fmla="*/ 0 h 67"/>
                <a:gd name="T18" fmla="*/ 17 w 42"/>
                <a:gd name="T19" fmla="*/ 0 h 67"/>
                <a:gd name="T20" fmla="*/ 17 w 42"/>
                <a:gd name="T21" fmla="*/ 0 h 67"/>
                <a:gd name="T22" fmla="*/ 17 w 42"/>
                <a:gd name="T23" fmla="*/ 0 h 67"/>
                <a:gd name="T24" fmla="*/ 17 w 42"/>
                <a:gd name="T25" fmla="*/ 0 h 67"/>
                <a:gd name="T26" fmla="*/ 8 w 42"/>
                <a:gd name="T27" fmla="*/ 0 h 67"/>
                <a:gd name="T28" fmla="*/ 17 w 42"/>
                <a:gd name="T29" fmla="*/ 0 h 67"/>
                <a:gd name="T30" fmla="*/ 17 w 42"/>
                <a:gd name="T31" fmla="*/ 0 h 67"/>
                <a:gd name="T32" fmla="*/ 8 w 42"/>
                <a:gd name="T33" fmla="*/ 0 h 67"/>
                <a:gd name="T34" fmla="*/ 8 w 42"/>
                <a:gd name="T35" fmla="*/ 8 h 67"/>
                <a:gd name="T36" fmla="*/ 8 w 42"/>
                <a:gd name="T37" fmla="*/ 8 h 67"/>
                <a:gd name="T38" fmla="*/ 8 w 42"/>
                <a:gd name="T39" fmla="*/ 17 h 67"/>
                <a:gd name="T40" fmla="*/ 8 w 42"/>
                <a:gd name="T41" fmla="*/ 8 h 67"/>
                <a:gd name="T42" fmla="*/ 0 w 42"/>
                <a:gd name="T43" fmla="*/ 8 h 67"/>
                <a:gd name="T44" fmla="*/ 8 w 42"/>
                <a:gd name="T45" fmla="*/ 17 h 67"/>
                <a:gd name="T46" fmla="*/ 8 w 42"/>
                <a:gd name="T47" fmla="*/ 17 h 67"/>
                <a:gd name="T48" fmla="*/ 8 w 42"/>
                <a:gd name="T49" fmla="*/ 25 h 67"/>
                <a:gd name="T50" fmla="*/ 8 w 42"/>
                <a:gd name="T51" fmla="*/ 34 h 67"/>
                <a:gd name="T52" fmla="*/ 8 w 42"/>
                <a:gd name="T53" fmla="*/ 42 h 67"/>
                <a:gd name="T54" fmla="*/ 8 w 42"/>
                <a:gd name="T55" fmla="*/ 51 h 67"/>
                <a:gd name="T56" fmla="*/ 17 w 42"/>
                <a:gd name="T57" fmla="*/ 67 h 67"/>
                <a:gd name="T58" fmla="*/ 17 w 42"/>
                <a:gd name="T59" fmla="*/ 67 h 67"/>
                <a:gd name="T60" fmla="*/ 33 w 42"/>
                <a:gd name="T61" fmla="*/ 67 h 67"/>
                <a:gd name="T62" fmla="*/ 42 w 42"/>
                <a:gd name="T63" fmla="*/ 51 h 67"/>
                <a:gd name="T64" fmla="*/ 42 w 42"/>
                <a:gd name="T65" fmla="*/ 51 h 67"/>
                <a:gd name="T66" fmla="*/ 42 w 42"/>
                <a:gd name="T67" fmla="*/ 42 h 67"/>
                <a:gd name="T68" fmla="*/ 42 w 42"/>
                <a:gd name="T69" fmla="*/ 34 h 67"/>
                <a:gd name="T70" fmla="*/ 33 w 42"/>
                <a:gd name="T71" fmla="*/ 25 h 67"/>
                <a:gd name="T72" fmla="*/ 33 w 42"/>
                <a:gd name="T73" fmla="*/ 25 h 67"/>
                <a:gd name="T74" fmla="*/ 25 w 42"/>
                <a:gd name="T75" fmla="*/ 25 h 67"/>
                <a:gd name="T76" fmla="*/ 33 w 42"/>
                <a:gd name="T77" fmla="*/ 17 h 67"/>
                <a:gd name="T78" fmla="*/ 25 w 42"/>
                <a:gd name="T79" fmla="*/ 17 h 67"/>
                <a:gd name="T80" fmla="*/ 25 w 42"/>
                <a:gd name="T81" fmla="*/ 8 h 67"/>
                <a:gd name="T82" fmla="*/ 25 w 42"/>
                <a:gd name="T83" fmla="*/ 8 h 67"/>
                <a:gd name="T84" fmla="*/ 17 w 42"/>
                <a:gd name="T85" fmla="*/ 8 h 67"/>
                <a:gd name="T86" fmla="*/ 17 w 42"/>
                <a:gd name="T8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67">
                  <a:moveTo>
                    <a:pt x="0" y="34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0" y="34"/>
                  </a:lnTo>
                  <a:lnTo>
                    <a:pt x="0" y="34"/>
                  </a:lnTo>
                  <a:close/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7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8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9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80F2BB4C-9D45-41D1-A06B-9D0A5FB77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23820" y="4297842"/>
              <a:ext cx="580749" cy="560846"/>
            </a:xfrm>
            <a:custGeom>
              <a:avLst/>
              <a:gdLst>
                <a:gd name="T0" fmla="*/ 168 w 496"/>
                <a:gd name="T1" fmla="*/ 42 h 479"/>
                <a:gd name="T2" fmla="*/ 202 w 496"/>
                <a:gd name="T3" fmla="*/ 59 h 479"/>
                <a:gd name="T4" fmla="*/ 202 w 496"/>
                <a:gd name="T5" fmla="*/ 92 h 479"/>
                <a:gd name="T6" fmla="*/ 261 w 496"/>
                <a:gd name="T7" fmla="*/ 118 h 479"/>
                <a:gd name="T8" fmla="*/ 328 w 496"/>
                <a:gd name="T9" fmla="*/ 134 h 479"/>
                <a:gd name="T10" fmla="*/ 353 w 496"/>
                <a:gd name="T11" fmla="*/ 109 h 479"/>
                <a:gd name="T12" fmla="*/ 378 w 496"/>
                <a:gd name="T13" fmla="*/ 126 h 479"/>
                <a:gd name="T14" fmla="*/ 404 w 496"/>
                <a:gd name="T15" fmla="*/ 109 h 479"/>
                <a:gd name="T16" fmla="*/ 429 w 496"/>
                <a:gd name="T17" fmla="*/ 92 h 479"/>
                <a:gd name="T18" fmla="*/ 462 w 496"/>
                <a:gd name="T19" fmla="*/ 76 h 479"/>
                <a:gd name="T20" fmla="*/ 479 w 496"/>
                <a:gd name="T21" fmla="*/ 76 h 479"/>
                <a:gd name="T22" fmla="*/ 496 w 496"/>
                <a:gd name="T23" fmla="*/ 101 h 479"/>
                <a:gd name="T24" fmla="*/ 471 w 496"/>
                <a:gd name="T25" fmla="*/ 126 h 479"/>
                <a:gd name="T26" fmla="*/ 454 w 496"/>
                <a:gd name="T27" fmla="*/ 177 h 479"/>
                <a:gd name="T28" fmla="*/ 437 w 496"/>
                <a:gd name="T29" fmla="*/ 210 h 479"/>
                <a:gd name="T30" fmla="*/ 429 w 496"/>
                <a:gd name="T31" fmla="*/ 219 h 479"/>
                <a:gd name="T32" fmla="*/ 420 w 496"/>
                <a:gd name="T33" fmla="*/ 185 h 479"/>
                <a:gd name="T34" fmla="*/ 404 w 496"/>
                <a:gd name="T35" fmla="*/ 193 h 479"/>
                <a:gd name="T36" fmla="*/ 412 w 496"/>
                <a:gd name="T37" fmla="*/ 177 h 479"/>
                <a:gd name="T38" fmla="*/ 412 w 496"/>
                <a:gd name="T39" fmla="*/ 160 h 479"/>
                <a:gd name="T40" fmla="*/ 370 w 496"/>
                <a:gd name="T41" fmla="*/ 143 h 479"/>
                <a:gd name="T42" fmla="*/ 362 w 496"/>
                <a:gd name="T43" fmla="*/ 134 h 479"/>
                <a:gd name="T44" fmla="*/ 353 w 496"/>
                <a:gd name="T45" fmla="*/ 134 h 479"/>
                <a:gd name="T46" fmla="*/ 353 w 496"/>
                <a:gd name="T47" fmla="*/ 160 h 479"/>
                <a:gd name="T48" fmla="*/ 362 w 496"/>
                <a:gd name="T49" fmla="*/ 193 h 479"/>
                <a:gd name="T50" fmla="*/ 370 w 496"/>
                <a:gd name="T51" fmla="*/ 227 h 479"/>
                <a:gd name="T52" fmla="*/ 353 w 496"/>
                <a:gd name="T53" fmla="*/ 227 h 479"/>
                <a:gd name="T54" fmla="*/ 353 w 496"/>
                <a:gd name="T55" fmla="*/ 227 h 479"/>
                <a:gd name="T56" fmla="*/ 328 w 496"/>
                <a:gd name="T57" fmla="*/ 252 h 479"/>
                <a:gd name="T58" fmla="*/ 311 w 496"/>
                <a:gd name="T59" fmla="*/ 261 h 479"/>
                <a:gd name="T60" fmla="*/ 278 w 496"/>
                <a:gd name="T61" fmla="*/ 303 h 479"/>
                <a:gd name="T62" fmla="*/ 244 w 496"/>
                <a:gd name="T63" fmla="*/ 336 h 479"/>
                <a:gd name="T64" fmla="*/ 227 w 496"/>
                <a:gd name="T65" fmla="*/ 370 h 479"/>
                <a:gd name="T66" fmla="*/ 219 w 496"/>
                <a:gd name="T67" fmla="*/ 446 h 479"/>
                <a:gd name="T68" fmla="*/ 219 w 496"/>
                <a:gd name="T69" fmla="*/ 462 h 479"/>
                <a:gd name="T70" fmla="*/ 194 w 496"/>
                <a:gd name="T71" fmla="*/ 479 h 479"/>
                <a:gd name="T72" fmla="*/ 152 w 496"/>
                <a:gd name="T73" fmla="*/ 437 h 479"/>
                <a:gd name="T74" fmla="*/ 135 w 496"/>
                <a:gd name="T75" fmla="*/ 395 h 479"/>
                <a:gd name="T76" fmla="*/ 109 w 496"/>
                <a:gd name="T77" fmla="*/ 353 h 479"/>
                <a:gd name="T78" fmla="*/ 93 w 496"/>
                <a:gd name="T79" fmla="*/ 294 h 479"/>
                <a:gd name="T80" fmla="*/ 84 w 496"/>
                <a:gd name="T81" fmla="*/ 261 h 479"/>
                <a:gd name="T82" fmla="*/ 84 w 496"/>
                <a:gd name="T83" fmla="*/ 227 h 479"/>
                <a:gd name="T84" fmla="*/ 84 w 496"/>
                <a:gd name="T85" fmla="*/ 219 h 479"/>
                <a:gd name="T86" fmla="*/ 67 w 496"/>
                <a:gd name="T87" fmla="*/ 244 h 479"/>
                <a:gd name="T88" fmla="*/ 17 w 496"/>
                <a:gd name="T89" fmla="*/ 219 h 479"/>
                <a:gd name="T90" fmla="*/ 25 w 496"/>
                <a:gd name="T91" fmla="*/ 219 h 479"/>
                <a:gd name="T92" fmla="*/ 34 w 496"/>
                <a:gd name="T93" fmla="*/ 210 h 479"/>
                <a:gd name="T94" fmla="*/ 0 w 496"/>
                <a:gd name="T95" fmla="*/ 193 h 479"/>
                <a:gd name="T96" fmla="*/ 42 w 496"/>
                <a:gd name="T97" fmla="*/ 177 h 479"/>
                <a:gd name="T98" fmla="*/ 42 w 496"/>
                <a:gd name="T99" fmla="*/ 151 h 479"/>
                <a:gd name="T100" fmla="*/ 17 w 496"/>
                <a:gd name="T101" fmla="*/ 126 h 479"/>
                <a:gd name="T102" fmla="*/ 42 w 496"/>
                <a:gd name="T103" fmla="*/ 109 h 479"/>
                <a:gd name="T104" fmla="*/ 84 w 496"/>
                <a:gd name="T105" fmla="*/ 59 h 479"/>
                <a:gd name="T106" fmla="*/ 101 w 496"/>
                <a:gd name="T107" fmla="*/ 25 h 479"/>
                <a:gd name="T108" fmla="*/ 152 w 496"/>
                <a:gd name="T109" fmla="*/ 8 h 479"/>
                <a:gd name="T110" fmla="*/ 362 w 496"/>
                <a:gd name="T111" fmla="*/ 227 h 479"/>
                <a:gd name="T112" fmla="*/ 353 w 496"/>
                <a:gd name="T113" fmla="*/ 235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96" h="479">
                  <a:moveTo>
                    <a:pt x="160" y="17"/>
                  </a:moveTo>
                  <a:lnTo>
                    <a:pt x="160" y="17"/>
                  </a:lnTo>
                  <a:lnTo>
                    <a:pt x="160" y="17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50"/>
                  </a:lnTo>
                  <a:lnTo>
                    <a:pt x="177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67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194" y="84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19" y="101"/>
                  </a:lnTo>
                  <a:lnTo>
                    <a:pt x="227" y="101"/>
                  </a:lnTo>
                  <a:lnTo>
                    <a:pt x="227" y="109"/>
                  </a:lnTo>
                  <a:lnTo>
                    <a:pt x="236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52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69" y="118"/>
                  </a:lnTo>
                  <a:lnTo>
                    <a:pt x="278" y="118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94" y="126"/>
                  </a:lnTo>
                  <a:lnTo>
                    <a:pt x="303" y="126"/>
                  </a:lnTo>
                  <a:lnTo>
                    <a:pt x="303" y="126"/>
                  </a:lnTo>
                  <a:lnTo>
                    <a:pt x="320" y="134"/>
                  </a:lnTo>
                  <a:lnTo>
                    <a:pt x="328" y="134"/>
                  </a:lnTo>
                  <a:lnTo>
                    <a:pt x="328" y="134"/>
                  </a:lnTo>
                  <a:lnTo>
                    <a:pt x="345" y="134"/>
                  </a:lnTo>
                  <a:lnTo>
                    <a:pt x="345" y="126"/>
                  </a:lnTo>
                  <a:lnTo>
                    <a:pt x="336" y="118"/>
                  </a:lnTo>
                  <a:lnTo>
                    <a:pt x="345" y="109"/>
                  </a:lnTo>
                  <a:lnTo>
                    <a:pt x="336" y="101"/>
                  </a:lnTo>
                  <a:lnTo>
                    <a:pt x="336" y="101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3" y="126"/>
                  </a:lnTo>
                  <a:lnTo>
                    <a:pt x="362" y="126"/>
                  </a:lnTo>
                  <a:lnTo>
                    <a:pt x="362" y="126"/>
                  </a:lnTo>
                  <a:lnTo>
                    <a:pt x="370" y="126"/>
                  </a:lnTo>
                  <a:lnTo>
                    <a:pt x="378" y="126"/>
                  </a:lnTo>
                  <a:lnTo>
                    <a:pt x="378" y="126"/>
                  </a:lnTo>
                  <a:lnTo>
                    <a:pt x="387" y="126"/>
                  </a:lnTo>
                  <a:lnTo>
                    <a:pt x="387" y="126"/>
                  </a:lnTo>
                  <a:lnTo>
                    <a:pt x="395" y="126"/>
                  </a:lnTo>
                  <a:lnTo>
                    <a:pt x="395" y="126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18"/>
                  </a:lnTo>
                  <a:lnTo>
                    <a:pt x="404" y="109"/>
                  </a:lnTo>
                  <a:lnTo>
                    <a:pt x="404" y="109"/>
                  </a:lnTo>
                  <a:lnTo>
                    <a:pt x="404" y="101"/>
                  </a:lnTo>
                  <a:lnTo>
                    <a:pt x="404" y="101"/>
                  </a:lnTo>
                  <a:lnTo>
                    <a:pt x="412" y="101"/>
                  </a:lnTo>
                  <a:lnTo>
                    <a:pt x="412" y="101"/>
                  </a:lnTo>
                  <a:lnTo>
                    <a:pt x="412" y="101"/>
                  </a:lnTo>
                  <a:lnTo>
                    <a:pt x="420" y="92"/>
                  </a:lnTo>
                  <a:lnTo>
                    <a:pt x="420" y="101"/>
                  </a:lnTo>
                  <a:lnTo>
                    <a:pt x="420" y="92"/>
                  </a:lnTo>
                  <a:lnTo>
                    <a:pt x="420" y="92"/>
                  </a:lnTo>
                  <a:lnTo>
                    <a:pt x="429" y="92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37" y="84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54" y="76"/>
                  </a:lnTo>
                  <a:lnTo>
                    <a:pt x="454" y="76"/>
                  </a:lnTo>
                  <a:lnTo>
                    <a:pt x="462" y="76"/>
                  </a:lnTo>
                  <a:lnTo>
                    <a:pt x="462" y="76"/>
                  </a:lnTo>
                  <a:lnTo>
                    <a:pt x="462" y="76"/>
                  </a:lnTo>
                  <a:lnTo>
                    <a:pt x="471" y="67"/>
                  </a:lnTo>
                  <a:lnTo>
                    <a:pt x="471" y="67"/>
                  </a:lnTo>
                  <a:lnTo>
                    <a:pt x="479" y="76"/>
                  </a:lnTo>
                  <a:lnTo>
                    <a:pt x="479" y="67"/>
                  </a:lnTo>
                  <a:lnTo>
                    <a:pt x="479" y="76"/>
                  </a:lnTo>
                  <a:lnTo>
                    <a:pt x="479" y="76"/>
                  </a:lnTo>
                  <a:lnTo>
                    <a:pt x="479" y="84"/>
                  </a:lnTo>
                  <a:lnTo>
                    <a:pt x="479" y="76"/>
                  </a:lnTo>
                  <a:lnTo>
                    <a:pt x="479" y="76"/>
                  </a:lnTo>
                  <a:lnTo>
                    <a:pt x="488" y="84"/>
                  </a:lnTo>
                  <a:lnTo>
                    <a:pt x="488" y="84"/>
                  </a:lnTo>
                  <a:lnTo>
                    <a:pt x="488" y="84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96" y="92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6" y="109"/>
                  </a:lnTo>
                  <a:lnTo>
                    <a:pt x="496" y="109"/>
                  </a:lnTo>
                  <a:lnTo>
                    <a:pt x="488" y="109"/>
                  </a:lnTo>
                  <a:lnTo>
                    <a:pt x="488" y="109"/>
                  </a:lnTo>
                  <a:lnTo>
                    <a:pt x="488" y="109"/>
                  </a:lnTo>
                  <a:lnTo>
                    <a:pt x="479" y="109"/>
                  </a:lnTo>
                  <a:lnTo>
                    <a:pt x="479" y="118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62" y="134"/>
                  </a:lnTo>
                  <a:lnTo>
                    <a:pt x="462" y="134"/>
                  </a:lnTo>
                  <a:lnTo>
                    <a:pt x="462" y="143"/>
                  </a:lnTo>
                  <a:lnTo>
                    <a:pt x="462" y="143"/>
                  </a:lnTo>
                  <a:lnTo>
                    <a:pt x="454" y="151"/>
                  </a:lnTo>
                  <a:lnTo>
                    <a:pt x="454" y="160"/>
                  </a:lnTo>
                  <a:lnTo>
                    <a:pt x="462" y="160"/>
                  </a:lnTo>
                  <a:lnTo>
                    <a:pt x="454" y="168"/>
                  </a:lnTo>
                  <a:lnTo>
                    <a:pt x="454" y="177"/>
                  </a:lnTo>
                  <a:lnTo>
                    <a:pt x="454" y="185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37" y="185"/>
                  </a:lnTo>
                  <a:lnTo>
                    <a:pt x="446" y="193"/>
                  </a:lnTo>
                  <a:lnTo>
                    <a:pt x="446" y="193"/>
                  </a:lnTo>
                  <a:lnTo>
                    <a:pt x="446" y="202"/>
                  </a:lnTo>
                  <a:lnTo>
                    <a:pt x="437" y="202"/>
                  </a:lnTo>
                  <a:lnTo>
                    <a:pt x="437" y="202"/>
                  </a:lnTo>
                  <a:lnTo>
                    <a:pt x="437" y="210"/>
                  </a:lnTo>
                  <a:lnTo>
                    <a:pt x="437" y="21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27"/>
                  </a:lnTo>
                  <a:lnTo>
                    <a:pt x="429" y="227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0"/>
                  </a:lnTo>
                  <a:lnTo>
                    <a:pt x="429" y="202"/>
                  </a:lnTo>
                  <a:lnTo>
                    <a:pt x="429" y="202"/>
                  </a:lnTo>
                  <a:lnTo>
                    <a:pt x="429" y="202"/>
                  </a:lnTo>
                  <a:lnTo>
                    <a:pt x="429" y="193"/>
                  </a:lnTo>
                  <a:lnTo>
                    <a:pt x="420" y="193"/>
                  </a:lnTo>
                  <a:lnTo>
                    <a:pt x="420" y="193"/>
                  </a:lnTo>
                  <a:lnTo>
                    <a:pt x="420" y="193"/>
                  </a:lnTo>
                  <a:lnTo>
                    <a:pt x="420" y="185"/>
                  </a:lnTo>
                  <a:lnTo>
                    <a:pt x="412" y="193"/>
                  </a:lnTo>
                  <a:lnTo>
                    <a:pt x="420" y="193"/>
                  </a:lnTo>
                  <a:lnTo>
                    <a:pt x="412" y="193"/>
                  </a:lnTo>
                  <a:lnTo>
                    <a:pt x="412" y="193"/>
                  </a:lnTo>
                  <a:lnTo>
                    <a:pt x="412" y="193"/>
                  </a:lnTo>
                  <a:lnTo>
                    <a:pt x="412" y="202"/>
                  </a:lnTo>
                  <a:lnTo>
                    <a:pt x="412" y="202"/>
                  </a:lnTo>
                  <a:lnTo>
                    <a:pt x="412" y="202"/>
                  </a:lnTo>
                  <a:lnTo>
                    <a:pt x="412" y="193"/>
                  </a:lnTo>
                  <a:lnTo>
                    <a:pt x="404" y="193"/>
                  </a:lnTo>
                  <a:lnTo>
                    <a:pt x="404" y="193"/>
                  </a:lnTo>
                  <a:lnTo>
                    <a:pt x="404" y="193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20" y="168"/>
                  </a:lnTo>
                  <a:lnTo>
                    <a:pt x="420" y="168"/>
                  </a:lnTo>
                  <a:lnTo>
                    <a:pt x="420" y="160"/>
                  </a:lnTo>
                  <a:lnTo>
                    <a:pt x="420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04" y="160"/>
                  </a:lnTo>
                  <a:lnTo>
                    <a:pt x="395" y="160"/>
                  </a:lnTo>
                  <a:lnTo>
                    <a:pt x="387" y="160"/>
                  </a:lnTo>
                  <a:lnTo>
                    <a:pt x="387" y="160"/>
                  </a:lnTo>
                  <a:lnTo>
                    <a:pt x="378" y="151"/>
                  </a:lnTo>
                  <a:lnTo>
                    <a:pt x="378" y="160"/>
                  </a:lnTo>
                  <a:lnTo>
                    <a:pt x="378" y="151"/>
                  </a:lnTo>
                  <a:lnTo>
                    <a:pt x="378" y="151"/>
                  </a:lnTo>
                  <a:lnTo>
                    <a:pt x="378" y="151"/>
                  </a:lnTo>
                  <a:lnTo>
                    <a:pt x="370" y="143"/>
                  </a:lnTo>
                  <a:lnTo>
                    <a:pt x="370" y="143"/>
                  </a:lnTo>
                  <a:lnTo>
                    <a:pt x="370" y="134"/>
                  </a:lnTo>
                  <a:lnTo>
                    <a:pt x="370" y="134"/>
                  </a:lnTo>
                  <a:lnTo>
                    <a:pt x="370" y="143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53" y="134"/>
                  </a:lnTo>
                  <a:lnTo>
                    <a:pt x="353" y="134"/>
                  </a:lnTo>
                  <a:lnTo>
                    <a:pt x="353" y="134"/>
                  </a:lnTo>
                  <a:lnTo>
                    <a:pt x="353" y="126"/>
                  </a:lnTo>
                  <a:lnTo>
                    <a:pt x="353" y="126"/>
                  </a:lnTo>
                  <a:lnTo>
                    <a:pt x="345" y="134"/>
                  </a:lnTo>
                  <a:lnTo>
                    <a:pt x="345" y="134"/>
                  </a:lnTo>
                  <a:lnTo>
                    <a:pt x="345" y="134"/>
                  </a:lnTo>
                  <a:lnTo>
                    <a:pt x="353" y="134"/>
                  </a:lnTo>
                  <a:lnTo>
                    <a:pt x="345" y="143"/>
                  </a:lnTo>
                  <a:lnTo>
                    <a:pt x="345" y="143"/>
                  </a:lnTo>
                  <a:lnTo>
                    <a:pt x="345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62" y="151"/>
                  </a:lnTo>
                  <a:lnTo>
                    <a:pt x="362" y="151"/>
                  </a:lnTo>
                  <a:lnTo>
                    <a:pt x="362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45" y="168"/>
                  </a:lnTo>
                  <a:lnTo>
                    <a:pt x="345" y="168"/>
                  </a:lnTo>
                  <a:lnTo>
                    <a:pt x="353" y="177"/>
                  </a:lnTo>
                  <a:lnTo>
                    <a:pt x="353" y="177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93"/>
                  </a:lnTo>
                  <a:lnTo>
                    <a:pt x="362" y="193"/>
                  </a:lnTo>
                  <a:lnTo>
                    <a:pt x="362" y="202"/>
                  </a:lnTo>
                  <a:lnTo>
                    <a:pt x="370" y="210"/>
                  </a:lnTo>
                  <a:lnTo>
                    <a:pt x="370" y="210"/>
                  </a:lnTo>
                  <a:lnTo>
                    <a:pt x="370" y="219"/>
                  </a:lnTo>
                  <a:lnTo>
                    <a:pt x="370" y="219"/>
                  </a:lnTo>
                  <a:lnTo>
                    <a:pt x="370" y="219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19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45" y="219"/>
                  </a:lnTo>
                  <a:lnTo>
                    <a:pt x="345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27"/>
                  </a:lnTo>
                  <a:lnTo>
                    <a:pt x="345" y="227"/>
                  </a:lnTo>
                  <a:lnTo>
                    <a:pt x="336" y="235"/>
                  </a:lnTo>
                  <a:lnTo>
                    <a:pt x="336" y="235"/>
                  </a:lnTo>
                  <a:lnTo>
                    <a:pt x="336" y="235"/>
                  </a:lnTo>
                  <a:lnTo>
                    <a:pt x="328" y="235"/>
                  </a:lnTo>
                  <a:lnTo>
                    <a:pt x="328" y="244"/>
                  </a:lnTo>
                  <a:lnTo>
                    <a:pt x="336" y="244"/>
                  </a:lnTo>
                  <a:lnTo>
                    <a:pt x="336" y="244"/>
                  </a:lnTo>
                  <a:lnTo>
                    <a:pt x="336" y="244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0" y="261"/>
                  </a:lnTo>
                  <a:lnTo>
                    <a:pt x="320" y="261"/>
                  </a:lnTo>
                  <a:lnTo>
                    <a:pt x="311" y="269"/>
                  </a:lnTo>
                  <a:lnTo>
                    <a:pt x="311" y="269"/>
                  </a:lnTo>
                  <a:lnTo>
                    <a:pt x="311" y="261"/>
                  </a:lnTo>
                  <a:lnTo>
                    <a:pt x="311" y="261"/>
                  </a:lnTo>
                  <a:lnTo>
                    <a:pt x="311" y="261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11" y="269"/>
                  </a:lnTo>
                  <a:lnTo>
                    <a:pt x="311" y="269"/>
                  </a:lnTo>
                  <a:lnTo>
                    <a:pt x="294" y="277"/>
                  </a:lnTo>
                  <a:lnTo>
                    <a:pt x="294" y="286"/>
                  </a:lnTo>
                  <a:lnTo>
                    <a:pt x="278" y="303"/>
                  </a:lnTo>
                  <a:lnTo>
                    <a:pt x="278" y="303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1" y="319"/>
                  </a:lnTo>
                  <a:lnTo>
                    <a:pt x="261" y="319"/>
                  </a:lnTo>
                  <a:lnTo>
                    <a:pt x="261" y="319"/>
                  </a:lnTo>
                  <a:lnTo>
                    <a:pt x="261" y="328"/>
                  </a:lnTo>
                  <a:lnTo>
                    <a:pt x="252" y="328"/>
                  </a:lnTo>
                  <a:lnTo>
                    <a:pt x="244" y="328"/>
                  </a:lnTo>
                  <a:lnTo>
                    <a:pt x="244" y="328"/>
                  </a:lnTo>
                  <a:lnTo>
                    <a:pt x="244" y="336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36"/>
                  </a:lnTo>
                  <a:lnTo>
                    <a:pt x="236" y="336"/>
                  </a:lnTo>
                  <a:lnTo>
                    <a:pt x="227" y="345"/>
                  </a:lnTo>
                  <a:lnTo>
                    <a:pt x="227" y="345"/>
                  </a:lnTo>
                  <a:lnTo>
                    <a:pt x="227" y="353"/>
                  </a:lnTo>
                  <a:lnTo>
                    <a:pt x="227" y="362"/>
                  </a:lnTo>
                  <a:lnTo>
                    <a:pt x="227" y="370"/>
                  </a:lnTo>
                  <a:lnTo>
                    <a:pt x="227" y="370"/>
                  </a:lnTo>
                  <a:lnTo>
                    <a:pt x="227" y="387"/>
                  </a:lnTo>
                  <a:lnTo>
                    <a:pt x="227" y="387"/>
                  </a:lnTo>
                  <a:lnTo>
                    <a:pt x="227" y="395"/>
                  </a:lnTo>
                  <a:lnTo>
                    <a:pt x="227" y="404"/>
                  </a:lnTo>
                  <a:lnTo>
                    <a:pt x="219" y="412"/>
                  </a:lnTo>
                  <a:lnTo>
                    <a:pt x="219" y="420"/>
                  </a:lnTo>
                  <a:lnTo>
                    <a:pt x="227" y="420"/>
                  </a:lnTo>
                  <a:lnTo>
                    <a:pt x="227" y="437"/>
                  </a:lnTo>
                  <a:lnTo>
                    <a:pt x="227" y="446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10" y="44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62"/>
                  </a:lnTo>
                  <a:lnTo>
                    <a:pt x="210" y="462"/>
                  </a:lnTo>
                  <a:lnTo>
                    <a:pt x="219" y="462"/>
                  </a:lnTo>
                  <a:lnTo>
                    <a:pt x="219" y="462"/>
                  </a:lnTo>
                  <a:lnTo>
                    <a:pt x="210" y="462"/>
                  </a:lnTo>
                  <a:lnTo>
                    <a:pt x="210" y="462"/>
                  </a:lnTo>
                  <a:lnTo>
                    <a:pt x="202" y="462"/>
                  </a:lnTo>
                  <a:lnTo>
                    <a:pt x="202" y="462"/>
                  </a:lnTo>
                  <a:lnTo>
                    <a:pt x="194" y="462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9"/>
                  </a:lnTo>
                  <a:lnTo>
                    <a:pt x="185" y="479"/>
                  </a:lnTo>
                  <a:lnTo>
                    <a:pt x="177" y="479"/>
                  </a:lnTo>
                  <a:lnTo>
                    <a:pt x="177" y="479"/>
                  </a:lnTo>
                  <a:lnTo>
                    <a:pt x="168" y="471"/>
                  </a:lnTo>
                  <a:lnTo>
                    <a:pt x="160" y="462"/>
                  </a:lnTo>
                  <a:lnTo>
                    <a:pt x="160" y="454"/>
                  </a:lnTo>
                  <a:lnTo>
                    <a:pt x="160" y="446"/>
                  </a:lnTo>
                  <a:lnTo>
                    <a:pt x="160" y="437"/>
                  </a:lnTo>
                  <a:lnTo>
                    <a:pt x="160" y="437"/>
                  </a:lnTo>
                  <a:lnTo>
                    <a:pt x="152" y="437"/>
                  </a:lnTo>
                  <a:lnTo>
                    <a:pt x="152" y="429"/>
                  </a:lnTo>
                  <a:lnTo>
                    <a:pt x="152" y="420"/>
                  </a:lnTo>
                  <a:lnTo>
                    <a:pt x="143" y="420"/>
                  </a:lnTo>
                  <a:lnTo>
                    <a:pt x="143" y="412"/>
                  </a:lnTo>
                  <a:lnTo>
                    <a:pt x="143" y="412"/>
                  </a:lnTo>
                  <a:lnTo>
                    <a:pt x="135" y="404"/>
                  </a:lnTo>
                  <a:lnTo>
                    <a:pt x="135" y="404"/>
                  </a:lnTo>
                  <a:lnTo>
                    <a:pt x="135" y="404"/>
                  </a:lnTo>
                  <a:lnTo>
                    <a:pt x="135" y="395"/>
                  </a:lnTo>
                  <a:lnTo>
                    <a:pt x="135" y="395"/>
                  </a:lnTo>
                  <a:lnTo>
                    <a:pt x="126" y="387"/>
                  </a:lnTo>
                  <a:lnTo>
                    <a:pt x="126" y="378"/>
                  </a:lnTo>
                  <a:lnTo>
                    <a:pt x="126" y="370"/>
                  </a:lnTo>
                  <a:lnTo>
                    <a:pt x="126" y="370"/>
                  </a:lnTo>
                  <a:lnTo>
                    <a:pt x="126" y="362"/>
                  </a:lnTo>
                  <a:lnTo>
                    <a:pt x="126" y="362"/>
                  </a:lnTo>
                  <a:lnTo>
                    <a:pt x="118" y="362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09" y="353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36"/>
                  </a:lnTo>
                  <a:lnTo>
                    <a:pt x="101" y="328"/>
                  </a:lnTo>
                  <a:lnTo>
                    <a:pt x="101" y="319"/>
                  </a:lnTo>
                  <a:lnTo>
                    <a:pt x="93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77"/>
                  </a:lnTo>
                  <a:lnTo>
                    <a:pt x="84" y="269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52"/>
                  </a:lnTo>
                  <a:lnTo>
                    <a:pt x="84" y="252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27"/>
                  </a:lnTo>
                  <a:lnTo>
                    <a:pt x="93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76" y="227"/>
                  </a:lnTo>
                  <a:lnTo>
                    <a:pt x="76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76" y="219"/>
                  </a:lnTo>
                  <a:lnTo>
                    <a:pt x="76" y="210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44"/>
                  </a:lnTo>
                  <a:lnTo>
                    <a:pt x="67" y="244"/>
                  </a:lnTo>
                  <a:lnTo>
                    <a:pt x="59" y="252"/>
                  </a:lnTo>
                  <a:lnTo>
                    <a:pt x="51" y="252"/>
                  </a:lnTo>
                  <a:lnTo>
                    <a:pt x="51" y="252"/>
                  </a:lnTo>
                  <a:lnTo>
                    <a:pt x="34" y="235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10"/>
                  </a:lnTo>
                  <a:lnTo>
                    <a:pt x="34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17" y="210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193"/>
                  </a:lnTo>
                  <a:lnTo>
                    <a:pt x="9" y="193"/>
                  </a:lnTo>
                  <a:lnTo>
                    <a:pt x="17" y="193"/>
                  </a:lnTo>
                  <a:lnTo>
                    <a:pt x="9" y="193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17" y="185"/>
                  </a:lnTo>
                  <a:lnTo>
                    <a:pt x="17" y="177"/>
                  </a:lnTo>
                  <a:lnTo>
                    <a:pt x="25" y="185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25" y="143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42" y="109"/>
                  </a:lnTo>
                  <a:lnTo>
                    <a:pt x="51" y="109"/>
                  </a:lnTo>
                  <a:lnTo>
                    <a:pt x="59" y="101"/>
                  </a:lnTo>
                  <a:lnTo>
                    <a:pt x="59" y="92"/>
                  </a:lnTo>
                  <a:lnTo>
                    <a:pt x="67" y="84"/>
                  </a:lnTo>
                  <a:lnTo>
                    <a:pt x="76" y="84"/>
                  </a:lnTo>
                  <a:lnTo>
                    <a:pt x="76" y="76"/>
                  </a:lnTo>
                  <a:lnTo>
                    <a:pt x="76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42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9" y="17"/>
                  </a:lnTo>
                  <a:lnTo>
                    <a:pt x="109" y="8"/>
                  </a:lnTo>
                  <a:lnTo>
                    <a:pt x="118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35" y="8"/>
                  </a:lnTo>
                  <a:lnTo>
                    <a:pt x="143" y="0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60" y="17"/>
                  </a:lnTo>
                  <a:close/>
                  <a:moveTo>
                    <a:pt x="362" y="227"/>
                  </a:move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close/>
                  <a:moveTo>
                    <a:pt x="362" y="227"/>
                  </a:move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close/>
                  <a:moveTo>
                    <a:pt x="353" y="227"/>
                  </a:moveTo>
                  <a:lnTo>
                    <a:pt x="353" y="227"/>
                  </a:lnTo>
                  <a:lnTo>
                    <a:pt x="353" y="235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close/>
                  <a:moveTo>
                    <a:pt x="353" y="227"/>
                  </a:move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Freeform 36">
              <a:extLst>
                <a:ext uri="{FF2B5EF4-FFF2-40B4-BE49-F238E27FC236}">
                  <a16:creationId xmlns:a16="http://schemas.microsoft.com/office/drawing/2014/main" id="{770AA2F4-26C4-4D7F-9219-C3CB2DF90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27769" y="4445372"/>
              <a:ext cx="107720" cy="138162"/>
            </a:xfrm>
            <a:custGeom>
              <a:avLst/>
              <a:gdLst>
                <a:gd name="T0" fmla="*/ 10 w 11"/>
                <a:gd name="T1" fmla="*/ 13 h 14"/>
                <a:gd name="T2" fmla="*/ 10 w 11"/>
                <a:gd name="T3" fmla="*/ 13 h 14"/>
                <a:gd name="T4" fmla="*/ 10 w 11"/>
                <a:gd name="T5" fmla="*/ 14 h 14"/>
                <a:gd name="T6" fmla="*/ 9 w 11"/>
                <a:gd name="T7" fmla="*/ 13 h 14"/>
                <a:gd name="T8" fmla="*/ 9 w 11"/>
                <a:gd name="T9" fmla="*/ 12 h 14"/>
                <a:gd name="T10" fmla="*/ 9 w 11"/>
                <a:gd name="T11" fmla="*/ 12 h 14"/>
                <a:gd name="T12" fmla="*/ 9 w 11"/>
                <a:gd name="T13" fmla="*/ 11 h 14"/>
                <a:gd name="T14" fmla="*/ 8 w 11"/>
                <a:gd name="T15" fmla="*/ 9 h 14"/>
                <a:gd name="T16" fmla="*/ 7 w 11"/>
                <a:gd name="T17" fmla="*/ 9 h 14"/>
                <a:gd name="T18" fmla="*/ 6 w 11"/>
                <a:gd name="T19" fmla="*/ 9 h 14"/>
                <a:gd name="T20" fmla="*/ 5 w 11"/>
                <a:gd name="T21" fmla="*/ 8 h 14"/>
                <a:gd name="T22" fmla="*/ 6 w 11"/>
                <a:gd name="T23" fmla="*/ 10 h 14"/>
                <a:gd name="T24" fmla="*/ 6 w 11"/>
                <a:gd name="T25" fmla="*/ 10 h 14"/>
                <a:gd name="T26" fmla="*/ 5 w 11"/>
                <a:gd name="T27" fmla="*/ 12 h 14"/>
                <a:gd name="T28" fmla="*/ 5 w 11"/>
                <a:gd name="T29" fmla="*/ 11 h 14"/>
                <a:gd name="T30" fmla="*/ 5 w 11"/>
                <a:gd name="T31" fmla="*/ 11 h 14"/>
                <a:gd name="T32" fmla="*/ 5 w 11"/>
                <a:gd name="T33" fmla="*/ 10 h 14"/>
                <a:gd name="T34" fmla="*/ 4 w 11"/>
                <a:gd name="T35" fmla="*/ 10 h 14"/>
                <a:gd name="T36" fmla="*/ 4 w 11"/>
                <a:gd name="T37" fmla="*/ 11 h 14"/>
                <a:gd name="T38" fmla="*/ 4 w 11"/>
                <a:gd name="T39" fmla="*/ 12 h 14"/>
                <a:gd name="T40" fmla="*/ 4 w 11"/>
                <a:gd name="T41" fmla="*/ 12 h 14"/>
                <a:gd name="T42" fmla="*/ 3 w 11"/>
                <a:gd name="T43" fmla="*/ 11 h 14"/>
                <a:gd name="T44" fmla="*/ 3 w 11"/>
                <a:gd name="T45" fmla="*/ 10 h 14"/>
                <a:gd name="T46" fmla="*/ 2 w 11"/>
                <a:gd name="T47" fmla="*/ 8 h 14"/>
                <a:gd name="T48" fmla="*/ 2 w 11"/>
                <a:gd name="T49" fmla="*/ 7 h 14"/>
                <a:gd name="T50" fmla="*/ 0 w 11"/>
                <a:gd name="T51" fmla="*/ 5 h 14"/>
                <a:gd name="T52" fmla="*/ 1 w 11"/>
                <a:gd name="T53" fmla="*/ 4 h 14"/>
                <a:gd name="T54" fmla="*/ 2 w 11"/>
                <a:gd name="T55" fmla="*/ 4 h 14"/>
                <a:gd name="T56" fmla="*/ 1 w 11"/>
                <a:gd name="T57" fmla="*/ 3 h 14"/>
                <a:gd name="T58" fmla="*/ 0 w 11"/>
                <a:gd name="T59" fmla="*/ 2 h 14"/>
                <a:gd name="T60" fmla="*/ 0 w 11"/>
                <a:gd name="T61" fmla="*/ 1 h 14"/>
                <a:gd name="T62" fmla="*/ 1 w 11"/>
                <a:gd name="T63" fmla="*/ 0 h 14"/>
                <a:gd name="T64" fmla="*/ 1 w 11"/>
                <a:gd name="T65" fmla="*/ 1 h 14"/>
                <a:gd name="T66" fmla="*/ 2 w 11"/>
                <a:gd name="T67" fmla="*/ 1 h 14"/>
                <a:gd name="T68" fmla="*/ 2 w 11"/>
                <a:gd name="T69" fmla="*/ 1 h 14"/>
                <a:gd name="T70" fmla="*/ 3 w 11"/>
                <a:gd name="T71" fmla="*/ 2 h 14"/>
                <a:gd name="T72" fmla="*/ 3 w 11"/>
                <a:gd name="T73" fmla="*/ 2 h 14"/>
                <a:gd name="T74" fmla="*/ 4 w 11"/>
                <a:gd name="T75" fmla="*/ 3 h 14"/>
                <a:gd name="T76" fmla="*/ 4 w 11"/>
                <a:gd name="T77" fmla="*/ 3 h 14"/>
                <a:gd name="T78" fmla="*/ 6 w 11"/>
                <a:gd name="T79" fmla="*/ 4 h 14"/>
                <a:gd name="T80" fmla="*/ 8 w 11"/>
                <a:gd name="T81" fmla="*/ 4 h 14"/>
                <a:gd name="T82" fmla="*/ 9 w 11"/>
                <a:gd name="T83" fmla="*/ 4 h 14"/>
                <a:gd name="T84" fmla="*/ 9 w 11"/>
                <a:gd name="T85" fmla="*/ 5 h 14"/>
                <a:gd name="T86" fmla="*/ 8 w 11"/>
                <a:gd name="T87" fmla="*/ 6 h 14"/>
                <a:gd name="T88" fmla="*/ 8 w 11"/>
                <a:gd name="T89" fmla="*/ 6 h 14"/>
                <a:gd name="T90" fmla="*/ 7 w 11"/>
                <a:gd name="T91" fmla="*/ 7 h 14"/>
                <a:gd name="T92" fmla="*/ 7 w 11"/>
                <a:gd name="T93" fmla="*/ 8 h 14"/>
                <a:gd name="T94" fmla="*/ 8 w 11"/>
                <a:gd name="T95" fmla="*/ 9 h 14"/>
                <a:gd name="T96" fmla="*/ 8 w 11"/>
                <a:gd name="T97" fmla="*/ 8 h 14"/>
                <a:gd name="T98" fmla="*/ 9 w 11"/>
                <a:gd name="T99" fmla="*/ 8 h 14"/>
                <a:gd name="T100" fmla="*/ 9 w 11"/>
                <a:gd name="T101" fmla="*/ 8 h 14"/>
                <a:gd name="T102" fmla="*/ 10 w 11"/>
                <a:gd name="T103" fmla="*/ 8 h 14"/>
                <a:gd name="T104" fmla="*/ 10 w 11"/>
                <a:gd name="T105" fmla="*/ 9 h 14"/>
                <a:gd name="T106" fmla="*/ 10 w 11"/>
                <a:gd name="T107" fmla="*/ 11 h 14"/>
                <a:gd name="T108" fmla="*/ 10 w 11"/>
                <a:gd name="T109" fmla="*/ 12 h 14"/>
                <a:gd name="T110" fmla="*/ 8 w 11"/>
                <a:gd name="T111" fmla="*/ 10 h 14"/>
                <a:gd name="T112" fmla="*/ 8 w 11"/>
                <a:gd name="T113" fmla="*/ 10 h 14"/>
                <a:gd name="T114" fmla="*/ 7 w 11"/>
                <a:gd name="T115" fmla="*/ 10 h 14"/>
                <a:gd name="T116" fmla="*/ 7 w 11"/>
                <a:gd name="T117" fmla="*/ 10 h 14"/>
                <a:gd name="T118" fmla="*/ 7 w 11"/>
                <a:gd name="T119" fmla="*/ 10 h 14"/>
                <a:gd name="T120" fmla="*/ 6 w 11"/>
                <a:gd name="T121" fmla="*/ 10 h 14"/>
                <a:gd name="T122" fmla="*/ 6 w 11"/>
                <a:gd name="T12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" h="14">
                  <a:moveTo>
                    <a:pt x="11" y="12"/>
                  </a:moveTo>
                  <a:cubicBezTo>
                    <a:pt x="11" y="12"/>
                    <a:pt x="11" y="12"/>
                    <a:pt x="11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lose/>
                  <a:moveTo>
                    <a:pt x="8" y="1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lose/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lose/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0"/>
                    <a:pt x="6" y="10"/>
                    <a:pt x="6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4AFDFA15-80C9-4279-9330-2B01EC25C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136" y="4416100"/>
              <a:ext cx="59714" cy="29272"/>
            </a:xfrm>
            <a:custGeom>
              <a:avLst/>
              <a:gdLst>
                <a:gd name="T0" fmla="*/ 0 w 51"/>
                <a:gd name="T1" fmla="*/ 8 h 25"/>
                <a:gd name="T2" fmla="*/ 0 w 51"/>
                <a:gd name="T3" fmla="*/ 8 h 25"/>
                <a:gd name="T4" fmla="*/ 9 w 51"/>
                <a:gd name="T5" fmla="*/ 0 h 25"/>
                <a:gd name="T6" fmla="*/ 17 w 51"/>
                <a:gd name="T7" fmla="*/ 0 h 25"/>
                <a:gd name="T8" fmla="*/ 25 w 51"/>
                <a:gd name="T9" fmla="*/ 0 h 25"/>
                <a:gd name="T10" fmla="*/ 25 w 51"/>
                <a:gd name="T11" fmla="*/ 0 h 25"/>
                <a:gd name="T12" fmla="*/ 34 w 51"/>
                <a:gd name="T13" fmla="*/ 0 h 25"/>
                <a:gd name="T14" fmla="*/ 34 w 51"/>
                <a:gd name="T15" fmla="*/ 0 h 25"/>
                <a:gd name="T16" fmla="*/ 42 w 51"/>
                <a:gd name="T17" fmla="*/ 0 h 25"/>
                <a:gd name="T18" fmla="*/ 42 w 51"/>
                <a:gd name="T19" fmla="*/ 0 h 25"/>
                <a:gd name="T20" fmla="*/ 51 w 51"/>
                <a:gd name="T21" fmla="*/ 0 h 25"/>
                <a:gd name="T22" fmla="*/ 51 w 51"/>
                <a:gd name="T23" fmla="*/ 0 h 25"/>
                <a:gd name="T24" fmla="*/ 51 w 51"/>
                <a:gd name="T25" fmla="*/ 8 h 25"/>
                <a:gd name="T26" fmla="*/ 51 w 51"/>
                <a:gd name="T27" fmla="*/ 8 h 25"/>
                <a:gd name="T28" fmla="*/ 51 w 51"/>
                <a:gd name="T29" fmla="*/ 17 h 25"/>
                <a:gd name="T30" fmla="*/ 51 w 51"/>
                <a:gd name="T31" fmla="*/ 17 h 25"/>
                <a:gd name="T32" fmla="*/ 51 w 51"/>
                <a:gd name="T33" fmla="*/ 25 h 25"/>
                <a:gd name="T34" fmla="*/ 42 w 51"/>
                <a:gd name="T35" fmla="*/ 25 h 25"/>
                <a:gd name="T36" fmla="*/ 42 w 51"/>
                <a:gd name="T37" fmla="*/ 25 h 25"/>
                <a:gd name="T38" fmla="*/ 34 w 51"/>
                <a:gd name="T39" fmla="*/ 25 h 25"/>
                <a:gd name="T40" fmla="*/ 34 w 51"/>
                <a:gd name="T41" fmla="*/ 25 h 25"/>
                <a:gd name="T42" fmla="*/ 25 w 51"/>
                <a:gd name="T43" fmla="*/ 25 h 25"/>
                <a:gd name="T44" fmla="*/ 25 w 51"/>
                <a:gd name="T45" fmla="*/ 25 h 25"/>
                <a:gd name="T46" fmla="*/ 17 w 51"/>
                <a:gd name="T47" fmla="*/ 25 h 25"/>
                <a:gd name="T48" fmla="*/ 9 w 51"/>
                <a:gd name="T49" fmla="*/ 25 h 25"/>
                <a:gd name="T50" fmla="*/ 9 w 51"/>
                <a:gd name="T51" fmla="*/ 25 h 25"/>
                <a:gd name="T52" fmla="*/ 0 w 51"/>
                <a:gd name="T53" fmla="*/ 25 h 25"/>
                <a:gd name="T54" fmla="*/ 0 w 51"/>
                <a:gd name="T55" fmla="*/ 17 h 25"/>
                <a:gd name="T56" fmla="*/ 0 w 51"/>
                <a:gd name="T57" fmla="*/ 17 h 25"/>
                <a:gd name="T58" fmla="*/ 0 w 51"/>
                <a:gd name="T5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25">
                  <a:moveTo>
                    <a:pt x="0" y="8"/>
                  </a:moveTo>
                  <a:lnTo>
                    <a:pt x="0" y="8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Freeform 38">
              <a:extLst>
                <a:ext uri="{FF2B5EF4-FFF2-40B4-BE49-F238E27FC236}">
                  <a16:creationId xmlns:a16="http://schemas.microsoft.com/office/drawing/2014/main" id="{5DE01AAE-3DBA-4564-895F-94DF5978E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968" y="4366924"/>
              <a:ext cx="176801" cy="87815"/>
            </a:xfrm>
            <a:custGeom>
              <a:avLst/>
              <a:gdLst>
                <a:gd name="T0" fmla="*/ 8 w 151"/>
                <a:gd name="T1" fmla="*/ 0 h 75"/>
                <a:gd name="T2" fmla="*/ 16 w 151"/>
                <a:gd name="T3" fmla="*/ 0 h 75"/>
                <a:gd name="T4" fmla="*/ 25 w 151"/>
                <a:gd name="T5" fmla="*/ 0 h 75"/>
                <a:gd name="T6" fmla="*/ 25 w 151"/>
                <a:gd name="T7" fmla="*/ 0 h 75"/>
                <a:gd name="T8" fmla="*/ 33 w 151"/>
                <a:gd name="T9" fmla="*/ 8 h 75"/>
                <a:gd name="T10" fmla="*/ 42 w 151"/>
                <a:gd name="T11" fmla="*/ 8 h 75"/>
                <a:gd name="T12" fmla="*/ 50 w 151"/>
                <a:gd name="T13" fmla="*/ 8 h 75"/>
                <a:gd name="T14" fmla="*/ 58 w 151"/>
                <a:gd name="T15" fmla="*/ 17 h 75"/>
                <a:gd name="T16" fmla="*/ 58 w 151"/>
                <a:gd name="T17" fmla="*/ 25 h 75"/>
                <a:gd name="T18" fmla="*/ 67 w 151"/>
                <a:gd name="T19" fmla="*/ 17 h 75"/>
                <a:gd name="T20" fmla="*/ 67 w 151"/>
                <a:gd name="T21" fmla="*/ 17 h 75"/>
                <a:gd name="T22" fmla="*/ 75 w 151"/>
                <a:gd name="T23" fmla="*/ 17 h 75"/>
                <a:gd name="T24" fmla="*/ 84 w 151"/>
                <a:gd name="T25" fmla="*/ 25 h 75"/>
                <a:gd name="T26" fmla="*/ 92 w 151"/>
                <a:gd name="T27" fmla="*/ 25 h 75"/>
                <a:gd name="T28" fmla="*/ 92 w 151"/>
                <a:gd name="T29" fmla="*/ 42 h 75"/>
                <a:gd name="T30" fmla="*/ 100 w 151"/>
                <a:gd name="T31" fmla="*/ 42 h 75"/>
                <a:gd name="T32" fmla="*/ 109 w 151"/>
                <a:gd name="T33" fmla="*/ 33 h 75"/>
                <a:gd name="T34" fmla="*/ 117 w 151"/>
                <a:gd name="T35" fmla="*/ 33 h 75"/>
                <a:gd name="T36" fmla="*/ 117 w 151"/>
                <a:gd name="T37" fmla="*/ 42 h 75"/>
                <a:gd name="T38" fmla="*/ 126 w 151"/>
                <a:gd name="T39" fmla="*/ 50 h 75"/>
                <a:gd name="T40" fmla="*/ 134 w 151"/>
                <a:gd name="T41" fmla="*/ 50 h 75"/>
                <a:gd name="T42" fmla="*/ 142 w 151"/>
                <a:gd name="T43" fmla="*/ 42 h 75"/>
                <a:gd name="T44" fmla="*/ 151 w 151"/>
                <a:gd name="T45" fmla="*/ 50 h 75"/>
                <a:gd name="T46" fmla="*/ 151 w 151"/>
                <a:gd name="T47" fmla="*/ 67 h 75"/>
                <a:gd name="T48" fmla="*/ 134 w 151"/>
                <a:gd name="T49" fmla="*/ 75 h 75"/>
                <a:gd name="T50" fmla="*/ 126 w 151"/>
                <a:gd name="T51" fmla="*/ 75 h 75"/>
                <a:gd name="T52" fmla="*/ 109 w 151"/>
                <a:gd name="T53" fmla="*/ 67 h 75"/>
                <a:gd name="T54" fmla="*/ 92 w 151"/>
                <a:gd name="T55" fmla="*/ 67 h 75"/>
                <a:gd name="T56" fmla="*/ 84 w 151"/>
                <a:gd name="T57" fmla="*/ 59 h 75"/>
                <a:gd name="T58" fmla="*/ 67 w 151"/>
                <a:gd name="T59" fmla="*/ 59 h 75"/>
                <a:gd name="T60" fmla="*/ 58 w 151"/>
                <a:gd name="T61" fmla="*/ 59 h 75"/>
                <a:gd name="T62" fmla="*/ 50 w 151"/>
                <a:gd name="T63" fmla="*/ 50 h 75"/>
                <a:gd name="T64" fmla="*/ 33 w 151"/>
                <a:gd name="T65" fmla="*/ 50 h 75"/>
                <a:gd name="T66" fmla="*/ 25 w 151"/>
                <a:gd name="T67" fmla="*/ 42 h 75"/>
                <a:gd name="T68" fmla="*/ 16 w 151"/>
                <a:gd name="T69" fmla="*/ 33 h 75"/>
                <a:gd name="T70" fmla="*/ 8 w 151"/>
                <a:gd name="T71" fmla="*/ 33 h 75"/>
                <a:gd name="T72" fmla="*/ 0 w 151"/>
                <a:gd name="T73" fmla="*/ 25 h 75"/>
                <a:gd name="T74" fmla="*/ 8 w 151"/>
                <a:gd name="T75" fmla="*/ 17 h 75"/>
                <a:gd name="T76" fmla="*/ 8 w 15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75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25"/>
                  </a:lnTo>
                  <a:lnTo>
                    <a:pt x="67" y="2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17" y="33"/>
                  </a:lnTo>
                  <a:lnTo>
                    <a:pt x="117" y="33"/>
                  </a:lnTo>
                  <a:lnTo>
                    <a:pt x="117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51" y="50"/>
                  </a:lnTo>
                  <a:lnTo>
                    <a:pt x="142" y="59"/>
                  </a:lnTo>
                  <a:lnTo>
                    <a:pt x="151" y="67"/>
                  </a:lnTo>
                  <a:lnTo>
                    <a:pt x="151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0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84" y="59"/>
                  </a:lnTo>
                  <a:lnTo>
                    <a:pt x="75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8" y="59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25" y="4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0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Freeform 39">
              <a:extLst>
                <a:ext uri="{FF2B5EF4-FFF2-40B4-BE49-F238E27FC236}">
                  <a16:creationId xmlns:a16="http://schemas.microsoft.com/office/drawing/2014/main" id="{59459721-0977-4252-BB59-EDE04750F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6924" y="4208856"/>
              <a:ext cx="284520" cy="314963"/>
            </a:xfrm>
            <a:custGeom>
              <a:avLst/>
              <a:gdLst>
                <a:gd name="T0" fmla="*/ 143 w 243"/>
                <a:gd name="T1" fmla="*/ 261 h 269"/>
                <a:gd name="T2" fmla="*/ 159 w 243"/>
                <a:gd name="T3" fmla="*/ 261 h 269"/>
                <a:gd name="T4" fmla="*/ 176 w 243"/>
                <a:gd name="T5" fmla="*/ 253 h 269"/>
                <a:gd name="T6" fmla="*/ 185 w 243"/>
                <a:gd name="T7" fmla="*/ 253 h 269"/>
                <a:gd name="T8" fmla="*/ 176 w 243"/>
                <a:gd name="T9" fmla="*/ 227 h 269"/>
                <a:gd name="T10" fmla="*/ 159 w 243"/>
                <a:gd name="T11" fmla="*/ 219 h 269"/>
                <a:gd name="T12" fmla="*/ 159 w 243"/>
                <a:gd name="T13" fmla="*/ 210 h 269"/>
                <a:gd name="T14" fmla="*/ 151 w 243"/>
                <a:gd name="T15" fmla="*/ 194 h 269"/>
                <a:gd name="T16" fmla="*/ 159 w 243"/>
                <a:gd name="T17" fmla="*/ 185 h 269"/>
                <a:gd name="T18" fmla="*/ 168 w 243"/>
                <a:gd name="T19" fmla="*/ 185 h 269"/>
                <a:gd name="T20" fmla="*/ 193 w 243"/>
                <a:gd name="T21" fmla="*/ 168 h 269"/>
                <a:gd name="T22" fmla="*/ 210 w 243"/>
                <a:gd name="T23" fmla="*/ 143 h 269"/>
                <a:gd name="T24" fmla="*/ 218 w 243"/>
                <a:gd name="T25" fmla="*/ 135 h 269"/>
                <a:gd name="T26" fmla="*/ 227 w 243"/>
                <a:gd name="T27" fmla="*/ 118 h 269"/>
                <a:gd name="T28" fmla="*/ 235 w 243"/>
                <a:gd name="T29" fmla="*/ 101 h 269"/>
                <a:gd name="T30" fmla="*/ 243 w 243"/>
                <a:gd name="T31" fmla="*/ 93 h 269"/>
                <a:gd name="T32" fmla="*/ 227 w 243"/>
                <a:gd name="T33" fmla="*/ 84 h 269"/>
                <a:gd name="T34" fmla="*/ 201 w 243"/>
                <a:gd name="T35" fmla="*/ 67 h 269"/>
                <a:gd name="T36" fmla="*/ 201 w 243"/>
                <a:gd name="T37" fmla="*/ 42 h 269"/>
                <a:gd name="T38" fmla="*/ 201 w 243"/>
                <a:gd name="T39" fmla="*/ 34 h 269"/>
                <a:gd name="T40" fmla="*/ 185 w 243"/>
                <a:gd name="T41" fmla="*/ 17 h 269"/>
                <a:gd name="T42" fmla="*/ 176 w 243"/>
                <a:gd name="T43" fmla="*/ 9 h 269"/>
                <a:gd name="T44" fmla="*/ 176 w 243"/>
                <a:gd name="T45" fmla="*/ 0 h 269"/>
                <a:gd name="T46" fmla="*/ 159 w 243"/>
                <a:gd name="T47" fmla="*/ 17 h 269"/>
                <a:gd name="T48" fmla="*/ 151 w 243"/>
                <a:gd name="T49" fmla="*/ 42 h 269"/>
                <a:gd name="T50" fmla="*/ 151 w 243"/>
                <a:gd name="T51" fmla="*/ 59 h 269"/>
                <a:gd name="T52" fmla="*/ 143 w 243"/>
                <a:gd name="T53" fmla="*/ 67 h 269"/>
                <a:gd name="T54" fmla="*/ 134 w 243"/>
                <a:gd name="T55" fmla="*/ 76 h 269"/>
                <a:gd name="T56" fmla="*/ 134 w 243"/>
                <a:gd name="T57" fmla="*/ 93 h 269"/>
                <a:gd name="T58" fmla="*/ 126 w 243"/>
                <a:gd name="T59" fmla="*/ 101 h 269"/>
                <a:gd name="T60" fmla="*/ 117 w 243"/>
                <a:gd name="T61" fmla="*/ 110 h 269"/>
                <a:gd name="T62" fmla="*/ 109 w 243"/>
                <a:gd name="T63" fmla="*/ 118 h 269"/>
                <a:gd name="T64" fmla="*/ 92 w 243"/>
                <a:gd name="T65" fmla="*/ 118 h 269"/>
                <a:gd name="T66" fmla="*/ 84 w 243"/>
                <a:gd name="T67" fmla="*/ 126 h 269"/>
                <a:gd name="T68" fmla="*/ 92 w 243"/>
                <a:gd name="T69" fmla="*/ 143 h 269"/>
                <a:gd name="T70" fmla="*/ 67 w 243"/>
                <a:gd name="T71" fmla="*/ 152 h 269"/>
                <a:gd name="T72" fmla="*/ 50 w 243"/>
                <a:gd name="T73" fmla="*/ 160 h 269"/>
                <a:gd name="T74" fmla="*/ 0 w 243"/>
                <a:gd name="T75" fmla="*/ 152 h 269"/>
                <a:gd name="T76" fmla="*/ 17 w 243"/>
                <a:gd name="T77" fmla="*/ 177 h 269"/>
                <a:gd name="T78" fmla="*/ 25 w 243"/>
                <a:gd name="T79" fmla="*/ 185 h 269"/>
                <a:gd name="T80" fmla="*/ 33 w 243"/>
                <a:gd name="T81" fmla="*/ 194 h 269"/>
                <a:gd name="T82" fmla="*/ 42 w 243"/>
                <a:gd name="T83" fmla="*/ 210 h 269"/>
                <a:gd name="T84" fmla="*/ 25 w 243"/>
                <a:gd name="T85" fmla="*/ 210 h 269"/>
                <a:gd name="T86" fmla="*/ 17 w 243"/>
                <a:gd name="T87" fmla="*/ 227 h 269"/>
                <a:gd name="T88" fmla="*/ 17 w 243"/>
                <a:gd name="T89" fmla="*/ 244 h 269"/>
                <a:gd name="T90" fmla="*/ 33 w 243"/>
                <a:gd name="T91" fmla="*/ 244 h 269"/>
                <a:gd name="T92" fmla="*/ 42 w 243"/>
                <a:gd name="T93" fmla="*/ 236 h 269"/>
                <a:gd name="T94" fmla="*/ 50 w 243"/>
                <a:gd name="T95" fmla="*/ 236 h 269"/>
                <a:gd name="T96" fmla="*/ 59 w 243"/>
                <a:gd name="T97" fmla="*/ 236 h 269"/>
                <a:gd name="T98" fmla="*/ 59 w 243"/>
                <a:gd name="T99" fmla="*/ 236 h 269"/>
                <a:gd name="T100" fmla="*/ 75 w 243"/>
                <a:gd name="T101" fmla="*/ 236 h 269"/>
                <a:gd name="T102" fmla="*/ 84 w 243"/>
                <a:gd name="T103" fmla="*/ 236 h 269"/>
                <a:gd name="T104" fmla="*/ 101 w 243"/>
                <a:gd name="T105" fmla="*/ 236 h 269"/>
                <a:gd name="T106" fmla="*/ 109 w 243"/>
                <a:gd name="T107" fmla="*/ 244 h 269"/>
                <a:gd name="T108" fmla="*/ 109 w 243"/>
                <a:gd name="T109" fmla="*/ 244 h 269"/>
                <a:gd name="T110" fmla="*/ 117 w 243"/>
                <a:gd name="T111" fmla="*/ 261 h 269"/>
                <a:gd name="T112" fmla="*/ 117 w 243"/>
                <a:gd name="T113" fmla="*/ 261 h 269"/>
                <a:gd name="T114" fmla="*/ 134 w 243"/>
                <a:gd name="T11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3" h="269">
                  <a:moveTo>
                    <a:pt x="134" y="269"/>
                  </a:moveTo>
                  <a:lnTo>
                    <a:pt x="134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51" y="261"/>
                  </a:lnTo>
                  <a:lnTo>
                    <a:pt x="151" y="253"/>
                  </a:lnTo>
                  <a:lnTo>
                    <a:pt x="159" y="261"/>
                  </a:lnTo>
                  <a:lnTo>
                    <a:pt x="168" y="253"/>
                  </a:lnTo>
                  <a:lnTo>
                    <a:pt x="168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85" y="253"/>
                  </a:lnTo>
                  <a:lnTo>
                    <a:pt x="185" y="253"/>
                  </a:lnTo>
                  <a:lnTo>
                    <a:pt x="185" y="253"/>
                  </a:lnTo>
                  <a:lnTo>
                    <a:pt x="176" y="236"/>
                  </a:lnTo>
                  <a:lnTo>
                    <a:pt x="176" y="236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59" y="219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1" y="210"/>
                  </a:lnTo>
                  <a:lnTo>
                    <a:pt x="151" y="210"/>
                  </a:lnTo>
                  <a:lnTo>
                    <a:pt x="151" y="202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76" y="185"/>
                  </a:lnTo>
                  <a:lnTo>
                    <a:pt x="185" y="185"/>
                  </a:lnTo>
                  <a:lnTo>
                    <a:pt x="193" y="177"/>
                  </a:lnTo>
                  <a:lnTo>
                    <a:pt x="193" y="168"/>
                  </a:lnTo>
                  <a:lnTo>
                    <a:pt x="201" y="160"/>
                  </a:lnTo>
                  <a:lnTo>
                    <a:pt x="210" y="160"/>
                  </a:lnTo>
                  <a:lnTo>
                    <a:pt x="210" y="152"/>
                  </a:lnTo>
                  <a:lnTo>
                    <a:pt x="210" y="143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18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01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35" y="93"/>
                  </a:lnTo>
                  <a:lnTo>
                    <a:pt x="235" y="93"/>
                  </a:lnTo>
                  <a:lnTo>
                    <a:pt x="227" y="93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01" y="76"/>
                  </a:lnTo>
                  <a:lnTo>
                    <a:pt x="201" y="67"/>
                  </a:lnTo>
                  <a:lnTo>
                    <a:pt x="201" y="59"/>
                  </a:lnTo>
                  <a:lnTo>
                    <a:pt x="201" y="51"/>
                  </a:lnTo>
                  <a:lnTo>
                    <a:pt x="201" y="51"/>
                  </a:lnTo>
                  <a:lnTo>
                    <a:pt x="201" y="42"/>
                  </a:lnTo>
                  <a:lnTo>
                    <a:pt x="201" y="42"/>
                  </a:lnTo>
                  <a:lnTo>
                    <a:pt x="210" y="42"/>
                  </a:lnTo>
                  <a:lnTo>
                    <a:pt x="210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25"/>
                  </a:lnTo>
                  <a:lnTo>
                    <a:pt x="176" y="17"/>
                  </a:lnTo>
                  <a:lnTo>
                    <a:pt x="176" y="9"/>
                  </a:lnTo>
                  <a:lnTo>
                    <a:pt x="185" y="9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76" y="0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59" y="9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9" y="25"/>
                  </a:lnTo>
                  <a:lnTo>
                    <a:pt x="159" y="34"/>
                  </a:lnTo>
                  <a:lnTo>
                    <a:pt x="151" y="42"/>
                  </a:lnTo>
                  <a:lnTo>
                    <a:pt x="159" y="51"/>
                  </a:lnTo>
                  <a:lnTo>
                    <a:pt x="159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43" y="59"/>
                  </a:lnTo>
                  <a:lnTo>
                    <a:pt x="134" y="59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4" y="76"/>
                  </a:lnTo>
                  <a:lnTo>
                    <a:pt x="134" y="84"/>
                  </a:lnTo>
                  <a:lnTo>
                    <a:pt x="134" y="84"/>
                  </a:lnTo>
                  <a:lnTo>
                    <a:pt x="134" y="93"/>
                  </a:lnTo>
                  <a:lnTo>
                    <a:pt x="134" y="93"/>
                  </a:lnTo>
                  <a:lnTo>
                    <a:pt x="134" y="93"/>
                  </a:lnTo>
                  <a:lnTo>
                    <a:pt x="134" y="101"/>
                  </a:lnTo>
                  <a:lnTo>
                    <a:pt x="126" y="11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84" y="126"/>
                  </a:lnTo>
                  <a:lnTo>
                    <a:pt x="84" y="135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92" y="143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75" y="152"/>
                  </a:lnTo>
                  <a:lnTo>
                    <a:pt x="67" y="152"/>
                  </a:lnTo>
                  <a:lnTo>
                    <a:pt x="59" y="152"/>
                  </a:lnTo>
                  <a:lnTo>
                    <a:pt x="50" y="152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42" y="160"/>
                  </a:lnTo>
                  <a:lnTo>
                    <a:pt x="17" y="160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85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33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19"/>
                  </a:lnTo>
                  <a:lnTo>
                    <a:pt x="17" y="219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7" y="236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17" y="253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34" y="2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Freeform 40">
              <a:extLst>
                <a:ext uri="{FF2B5EF4-FFF2-40B4-BE49-F238E27FC236}">
                  <a16:creationId xmlns:a16="http://schemas.microsoft.com/office/drawing/2014/main" id="{24B0B2DD-4877-4EC7-9B74-B6378FE86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997" y="4199490"/>
              <a:ext cx="158067" cy="118258"/>
            </a:xfrm>
            <a:custGeom>
              <a:avLst/>
              <a:gdLst>
                <a:gd name="T0" fmla="*/ 67 w 135"/>
                <a:gd name="T1" fmla="*/ 101 h 101"/>
                <a:gd name="T2" fmla="*/ 76 w 135"/>
                <a:gd name="T3" fmla="*/ 84 h 101"/>
                <a:gd name="T4" fmla="*/ 84 w 135"/>
                <a:gd name="T5" fmla="*/ 84 h 101"/>
                <a:gd name="T6" fmla="*/ 93 w 135"/>
                <a:gd name="T7" fmla="*/ 92 h 101"/>
                <a:gd name="T8" fmla="*/ 110 w 135"/>
                <a:gd name="T9" fmla="*/ 92 h 101"/>
                <a:gd name="T10" fmla="*/ 110 w 135"/>
                <a:gd name="T11" fmla="*/ 92 h 101"/>
                <a:gd name="T12" fmla="*/ 126 w 135"/>
                <a:gd name="T13" fmla="*/ 92 h 101"/>
                <a:gd name="T14" fmla="*/ 126 w 135"/>
                <a:gd name="T15" fmla="*/ 92 h 101"/>
                <a:gd name="T16" fmla="*/ 126 w 135"/>
                <a:gd name="T17" fmla="*/ 84 h 101"/>
                <a:gd name="T18" fmla="*/ 126 w 135"/>
                <a:gd name="T19" fmla="*/ 75 h 101"/>
                <a:gd name="T20" fmla="*/ 118 w 135"/>
                <a:gd name="T21" fmla="*/ 59 h 101"/>
                <a:gd name="T22" fmla="*/ 110 w 135"/>
                <a:gd name="T23" fmla="*/ 50 h 101"/>
                <a:gd name="T24" fmla="*/ 101 w 135"/>
                <a:gd name="T25" fmla="*/ 42 h 101"/>
                <a:gd name="T26" fmla="*/ 93 w 135"/>
                <a:gd name="T27" fmla="*/ 33 h 101"/>
                <a:gd name="T28" fmla="*/ 84 w 135"/>
                <a:gd name="T29" fmla="*/ 25 h 101"/>
                <a:gd name="T30" fmla="*/ 76 w 135"/>
                <a:gd name="T31" fmla="*/ 25 h 101"/>
                <a:gd name="T32" fmla="*/ 67 w 135"/>
                <a:gd name="T33" fmla="*/ 25 h 101"/>
                <a:gd name="T34" fmla="*/ 67 w 135"/>
                <a:gd name="T35" fmla="*/ 17 h 101"/>
                <a:gd name="T36" fmla="*/ 51 w 135"/>
                <a:gd name="T37" fmla="*/ 0 h 101"/>
                <a:gd name="T38" fmla="*/ 51 w 135"/>
                <a:gd name="T39" fmla="*/ 0 h 101"/>
                <a:gd name="T40" fmla="*/ 42 w 135"/>
                <a:gd name="T41" fmla="*/ 0 h 101"/>
                <a:gd name="T42" fmla="*/ 42 w 135"/>
                <a:gd name="T43" fmla="*/ 0 h 101"/>
                <a:gd name="T44" fmla="*/ 34 w 135"/>
                <a:gd name="T45" fmla="*/ 0 h 101"/>
                <a:gd name="T46" fmla="*/ 34 w 135"/>
                <a:gd name="T47" fmla="*/ 0 h 101"/>
                <a:gd name="T48" fmla="*/ 25 w 135"/>
                <a:gd name="T49" fmla="*/ 8 h 101"/>
                <a:gd name="T50" fmla="*/ 9 w 135"/>
                <a:gd name="T51" fmla="*/ 17 h 101"/>
                <a:gd name="T52" fmla="*/ 0 w 135"/>
                <a:gd name="T53" fmla="*/ 25 h 101"/>
                <a:gd name="T54" fmla="*/ 9 w 135"/>
                <a:gd name="T55" fmla="*/ 25 h 101"/>
                <a:gd name="T56" fmla="*/ 17 w 135"/>
                <a:gd name="T57" fmla="*/ 33 h 101"/>
                <a:gd name="T58" fmla="*/ 25 w 135"/>
                <a:gd name="T59" fmla="*/ 42 h 101"/>
                <a:gd name="T60" fmla="*/ 34 w 135"/>
                <a:gd name="T61" fmla="*/ 42 h 101"/>
                <a:gd name="T62" fmla="*/ 25 w 135"/>
                <a:gd name="T63" fmla="*/ 50 h 101"/>
                <a:gd name="T64" fmla="*/ 25 w 135"/>
                <a:gd name="T65" fmla="*/ 59 h 101"/>
                <a:gd name="T66" fmla="*/ 25 w 135"/>
                <a:gd name="T67" fmla="*/ 67 h 101"/>
                <a:gd name="T68" fmla="*/ 25 w 135"/>
                <a:gd name="T69" fmla="*/ 84 h 101"/>
                <a:gd name="T70" fmla="*/ 42 w 135"/>
                <a:gd name="T71" fmla="*/ 92 h 101"/>
                <a:gd name="T72" fmla="*/ 51 w 135"/>
                <a:gd name="T73" fmla="*/ 101 h 101"/>
                <a:gd name="T74" fmla="*/ 59 w 135"/>
                <a:gd name="T75" fmla="*/ 101 h 101"/>
                <a:gd name="T76" fmla="*/ 67 w 135"/>
                <a:gd name="T7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5" h="101">
                  <a:moveTo>
                    <a:pt x="67" y="101"/>
                  </a:moveTo>
                  <a:lnTo>
                    <a:pt x="67" y="101"/>
                  </a:lnTo>
                  <a:lnTo>
                    <a:pt x="67" y="92"/>
                  </a:lnTo>
                  <a:lnTo>
                    <a:pt x="76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3" y="92"/>
                  </a:lnTo>
                  <a:lnTo>
                    <a:pt x="101" y="84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8" y="101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35" y="92"/>
                  </a:lnTo>
                  <a:lnTo>
                    <a:pt x="126" y="84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18" y="67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01" y="42"/>
                  </a:lnTo>
                  <a:lnTo>
                    <a:pt x="101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84" y="25"/>
                  </a:lnTo>
                  <a:lnTo>
                    <a:pt x="84" y="33"/>
                  </a:lnTo>
                  <a:lnTo>
                    <a:pt x="7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25" y="8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34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84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51" y="92"/>
                  </a:lnTo>
                  <a:lnTo>
                    <a:pt x="5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67" y="101"/>
                  </a:lnTo>
                  <a:lnTo>
                    <a:pt x="67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" name="Freeform 41">
              <a:extLst>
                <a:ext uri="{FF2B5EF4-FFF2-40B4-BE49-F238E27FC236}">
                  <a16:creationId xmlns:a16="http://schemas.microsoft.com/office/drawing/2014/main" id="{630F1B5E-71D3-40CD-8DBE-C1EFE11B6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653" y="4170218"/>
              <a:ext cx="275153" cy="225977"/>
            </a:xfrm>
            <a:custGeom>
              <a:avLst/>
              <a:gdLst>
                <a:gd name="T0" fmla="*/ 218 w 235"/>
                <a:gd name="T1" fmla="*/ 16 h 193"/>
                <a:gd name="T2" fmla="*/ 226 w 235"/>
                <a:gd name="T3" fmla="*/ 16 h 193"/>
                <a:gd name="T4" fmla="*/ 235 w 235"/>
                <a:gd name="T5" fmla="*/ 25 h 193"/>
                <a:gd name="T6" fmla="*/ 226 w 235"/>
                <a:gd name="T7" fmla="*/ 33 h 193"/>
                <a:gd name="T8" fmla="*/ 193 w 235"/>
                <a:gd name="T9" fmla="*/ 42 h 193"/>
                <a:gd name="T10" fmla="*/ 184 w 235"/>
                <a:gd name="T11" fmla="*/ 50 h 193"/>
                <a:gd name="T12" fmla="*/ 184 w 235"/>
                <a:gd name="T13" fmla="*/ 67 h 193"/>
                <a:gd name="T14" fmla="*/ 184 w 235"/>
                <a:gd name="T15" fmla="*/ 92 h 193"/>
                <a:gd name="T16" fmla="*/ 168 w 235"/>
                <a:gd name="T17" fmla="*/ 92 h 193"/>
                <a:gd name="T18" fmla="*/ 168 w 235"/>
                <a:gd name="T19" fmla="*/ 100 h 193"/>
                <a:gd name="T20" fmla="*/ 168 w 235"/>
                <a:gd name="T21" fmla="*/ 109 h 193"/>
                <a:gd name="T22" fmla="*/ 159 w 235"/>
                <a:gd name="T23" fmla="*/ 117 h 193"/>
                <a:gd name="T24" fmla="*/ 159 w 235"/>
                <a:gd name="T25" fmla="*/ 126 h 193"/>
                <a:gd name="T26" fmla="*/ 151 w 235"/>
                <a:gd name="T27" fmla="*/ 134 h 193"/>
                <a:gd name="T28" fmla="*/ 142 w 235"/>
                <a:gd name="T29" fmla="*/ 143 h 193"/>
                <a:gd name="T30" fmla="*/ 134 w 235"/>
                <a:gd name="T31" fmla="*/ 143 h 193"/>
                <a:gd name="T32" fmla="*/ 134 w 235"/>
                <a:gd name="T33" fmla="*/ 151 h 193"/>
                <a:gd name="T34" fmla="*/ 117 w 235"/>
                <a:gd name="T35" fmla="*/ 151 h 193"/>
                <a:gd name="T36" fmla="*/ 117 w 235"/>
                <a:gd name="T37" fmla="*/ 159 h 193"/>
                <a:gd name="T38" fmla="*/ 109 w 235"/>
                <a:gd name="T39" fmla="*/ 176 h 193"/>
                <a:gd name="T40" fmla="*/ 109 w 235"/>
                <a:gd name="T41" fmla="*/ 185 h 193"/>
                <a:gd name="T42" fmla="*/ 92 w 235"/>
                <a:gd name="T43" fmla="*/ 185 h 193"/>
                <a:gd name="T44" fmla="*/ 75 w 235"/>
                <a:gd name="T45" fmla="*/ 193 h 193"/>
                <a:gd name="T46" fmla="*/ 42 w 235"/>
                <a:gd name="T47" fmla="*/ 193 h 193"/>
                <a:gd name="T48" fmla="*/ 33 w 235"/>
                <a:gd name="T49" fmla="*/ 168 h 193"/>
                <a:gd name="T50" fmla="*/ 33 w 235"/>
                <a:gd name="T51" fmla="*/ 151 h 193"/>
                <a:gd name="T52" fmla="*/ 16 w 235"/>
                <a:gd name="T53" fmla="*/ 134 h 193"/>
                <a:gd name="T54" fmla="*/ 8 w 235"/>
                <a:gd name="T55" fmla="*/ 117 h 193"/>
                <a:gd name="T56" fmla="*/ 16 w 235"/>
                <a:gd name="T57" fmla="*/ 109 h 193"/>
                <a:gd name="T58" fmla="*/ 8 w 235"/>
                <a:gd name="T59" fmla="*/ 92 h 193"/>
                <a:gd name="T60" fmla="*/ 8 w 235"/>
                <a:gd name="T61" fmla="*/ 84 h 193"/>
                <a:gd name="T62" fmla="*/ 8 w 235"/>
                <a:gd name="T63" fmla="*/ 84 h 193"/>
                <a:gd name="T64" fmla="*/ 8 w 235"/>
                <a:gd name="T65" fmla="*/ 75 h 193"/>
                <a:gd name="T66" fmla="*/ 8 w 235"/>
                <a:gd name="T67" fmla="*/ 67 h 193"/>
                <a:gd name="T68" fmla="*/ 16 w 235"/>
                <a:gd name="T69" fmla="*/ 67 h 193"/>
                <a:gd name="T70" fmla="*/ 25 w 235"/>
                <a:gd name="T71" fmla="*/ 67 h 193"/>
                <a:gd name="T72" fmla="*/ 33 w 235"/>
                <a:gd name="T73" fmla="*/ 67 h 193"/>
                <a:gd name="T74" fmla="*/ 42 w 235"/>
                <a:gd name="T75" fmla="*/ 67 h 193"/>
                <a:gd name="T76" fmla="*/ 50 w 235"/>
                <a:gd name="T77" fmla="*/ 58 h 193"/>
                <a:gd name="T78" fmla="*/ 58 w 235"/>
                <a:gd name="T79" fmla="*/ 58 h 193"/>
                <a:gd name="T80" fmla="*/ 67 w 235"/>
                <a:gd name="T81" fmla="*/ 50 h 193"/>
                <a:gd name="T82" fmla="*/ 67 w 235"/>
                <a:gd name="T83" fmla="*/ 33 h 193"/>
                <a:gd name="T84" fmla="*/ 67 w 235"/>
                <a:gd name="T85" fmla="*/ 33 h 193"/>
                <a:gd name="T86" fmla="*/ 75 w 235"/>
                <a:gd name="T87" fmla="*/ 25 h 193"/>
                <a:gd name="T88" fmla="*/ 84 w 235"/>
                <a:gd name="T89" fmla="*/ 25 h 193"/>
                <a:gd name="T90" fmla="*/ 92 w 235"/>
                <a:gd name="T91" fmla="*/ 25 h 193"/>
                <a:gd name="T92" fmla="*/ 109 w 235"/>
                <a:gd name="T93" fmla="*/ 25 h 193"/>
                <a:gd name="T94" fmla="*/ 117 w 235"/>
                <a:gd name="T95" fmla="*/ 25 h 193"/>
                <a:gd name="T96" fmla="*/ 126 w 235"/>
                <a:gd name="T97" fmla="*/ 33 h 193"/>
                <a:gd name="T98" fmla="*/ 134 w 235"/>
                <a:gd name="T99" fmla="*/ 25 h 193"/>
                <a:gd name="T100" fmla="*/ 142 w 235"/>
                <a:gd name="T101" fmla="*/ 25 h 193"/>
                <a:gd name="T102" fmla="*/ 142 w 235"/>
                <a:gd name="T103" fmla="*/ 25 h 193"/>
                <a:gd name="T104" fmla="*/ 151 w 235"/>
                <a:gd name="T105" fmla="*/ 16 h 193"/>
                <a:gd name="T106" fmla="*/ 159 w 235"/>
                <a:gd name="T107" fmla="*/ 16 h 193"/>
                <a:gd name="T108" fmla="*/ 159 w 235"/>
                <a:gd name="T109" fmla="*/ 8 h 193"/>
                <a:gd name="T110" fmla="*/ 168 w 235"/>
                <a:gd name="T111" fmla="*/ 0 h 193"/>
                <a:gd name="T112" fmla="*/ 176 w 235"/>
                <a:gd name="T113" fmla="*/ 0 h 193"/>
                <a:gd name="T114" fmla="*/ 176 w 235"/>
                <a:gd name="T115" fmla="*/ 8 h 193"/>
                <a:gd name="T116" fmla="*/ 176 w 235"/>
                <a:gd name="T117" fmla="*/ 16 h 193"/>
                <a:gd name="T118" fmla="*/ 184 w 235"/>
                <a:gd name="T119" fmla="*/ 33 h 193"/>
                <a:gd name="T120" fmla="*/ 193 w 235"/>
                <a:gd name="T121" fmla="*/ 33 h 193"/>
                <a:gd name="T122" fmla="*/ 201 w 235"/>
                <a:gd name="T123" fmla="*/ 33 h 193"/>
                <a:gd name="T124" fmla="*/ 210 w 235"/>
                <a:gd name="T125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5" h="193">
                  <a:moveTo>
                    <a:pt x="210" y="25"/>
                  </a:move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5" y="33"/>
                  </a:lnTo>
                  <a:lnTo>
                    <a:pt x="226" y="33"/>
                  </a:lnTo>
                  <a:lnTo>
                    <a:pt x="210" y="33"/>
                  </a:lnTo>
                  <a:lnTo>
                    <a:pt x="201" y="33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4" y="42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8"/>
                  </a:lnTo>
                  <a:lnTo>
                    <a:pt x="184" y="67"/>
                  </a:lnTo>
                  <a:lnTo>
                    <a:pt x="176" y="75"/>
                  </a:lnTo>
                  <a:lnTo>
                    <a:pt x="184" y="84"/>
                  </a:lnTo>
                  <a:lnTo>
                    <a:pt x="184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8" y="92"/>
                  </a:lnTo>
                  <a:lnTo>
                    <a:pt x="159" y="92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59" y="109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34"/>
                  </a:lnTo>
                  <a:lnTo>
                    <a:pt x="151" y="143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51" y="143"/>
                  </a:lnTo>
                  <a:lnTo>
                    <a:pt x="142" y="143"/>
                  </a:lnTo>
                  <a:lnTo>
                    <a:pt x="142" y="143"/>
                  </a:lnTo>
                  <a:lnTo>
                    <a:pt x="142" y="143"/>
                  </a:lnTo>
                  <a:lnTo>
                    <a:pt x="134" y="143"/>
                  </a:lnTo>
                  <a:lnTo>
                    <a:pt x="134" y="143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26" y="151"/>
                  </a:lnTo>
                  <a:lnTo>
                    <a:pt x="126" y="151"/>
                  </a:lnTo>
                  <a:lnTo>
                    <a:pt x="117" y="151"/>
                  </a:lnTo>
                  <a:lnTo>
                    <a:pt x="117" y="151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09" y="159"/>
                  </a:lnTo>
                  <a:lnTo>
                    <a:pt x="109" y="168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7" y="176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0" y="185"/>
                  </a:lnTo>
                  <a:lnTo>
                    <a:pt x="92" y="185"/>
                  </a:lnTo>
                  <a:lnTo>
                    <a:pt x="84" y="185"/>
                  </a:lnTo>
                  <a:lnTo>
                    <a:pt x="75" y="185"/>
                  </a:lnTo>
                  <a:lnTo>
                    <a:pt x="75" y="193"/>
                  </a:lnTo>
                  <a:lnTo>
                    <a:pt x="75" y="193"/>
                  </a:lnTo>
                  <a:lnTo>
                    <a:pt x="67" y="193"/>
                  </a:lnTo>
                  <a:lnTo>
                    <a:pt x="42" y="193"/>
                  </a:lnTo>
                  <a:lnTo>
                    <a:pt x="25" y="185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59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16" y="151"/>
                  </a:lnTo>
                  <a:lnTo>
                    <a:pt x="16" y="143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26"/>
                  </a:lnTo>
                  <a:lnTo>
                    <a:pt x="8" y="117"/>
                  </a:lnTo>
                  <a:lnTo>
                    <a:pt x="8" y="117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8" y="109"/>
                  </a:lnTo>
                  <a:lnTo>
                    <a:pt x="8" y="100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75"/>
                  </a:lnTo>
                  <a:lnTo>
                    <a:pt x="16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75"/>
                  </a:lnTo>
                  <a:lnTo>
                    <a:pt x="33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0" y="58"/>
                  </a:lnTo>
                  <a:lnTo>
                    <a:pt x="42" y="58"/>
                  </a:lnTo>
                  <a:lnTo>
                    <a:pt x="50" y="58"/>
                  </a:lnTo>
                  <a:lnTo>
                    <a:pt x="58" y="5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100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2" y="25"/>
                  </a:lnTo>
                  <a:lnTo>
                    <a:pt x="142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6" y="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76" y="25"/>
                  </a:lnTo>
                  <a:lnTo>
                    <a:pt x="176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201" y="33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1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Freeform 42">
              <a:extLst>
                <a:ext uri="{FF2B5EF4-FFF2-40B4-BE49-F238E27FC236}">
                  <a16:creationId xmlns:a16="http://schemas.microsoft.com/office/drawing/2014/main" id="{99C9EE55-F051-4FC3-B7FB-653C1694D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507" y="3677283"/>
              <a:ext cx="127624" cy="98353"/>
            </a:xfrm>
            <a:custGeom>
              <a:avLst/>
              <a:gdLst>
                <a:gd name="T0" fmla="*/ 10 w 13"/>
                <a:gd name="T1" fmla="*/ 10 h 10"/>
                <a:gd name="T2" fmla="*/ 10 w 13"/>
                <a:gd name="T3" fmla="*/ 9 h 10"/>
                <a:gd name="T4" fmla="*/ 9 w 13"/>
                <a:gd name="T5" fmla="*/ 9 h 10"/>
                <a:gd name="T6" fmla="*/ 9 w 13"/>
                <a:gd name="T7" fmla="*/ 10 h 10"/>
                <a:gd name="T8" fmla="*/ 12 w 13"/>
                <a:gd name="T9" fmla="*/ 8 h 10"/>
                <a:gd name="T10" fmla="*/ 12 w 13"/>
                <a:gd name="T11" fmla="*/ 7 h 10"/>
                <a:gd name="T12" fmla="*/ 8 w 13"/>
                <a:gd name="T13" fmla="*/ 6 h 10"/>
                <a:gd name="T14" fmla="*/ 7 w 13"/>
                <a:gd name="T15" fmla="*/ 8 h 10"/>
                <a:gd name="T16" fmla="*/ 6 w 13"/>
                <a:gd name="T17" fmla="*/ 7 h 10"/>
                <a:gd name="T18" fmla="*/ 6 w 13"/>
                <a:gd name="T19" fmla="*/ 6 h 10"/>
                <a:gd name="T20" fmla="*/ 6 w 13"/>
                <a:gd name="T21" fmla="*/ 6 h 10"/>
                <a:gd name="T22" fmla="*/ 7 w 13"/>
                <a:gd name="T23" fmla="*/ 6 h 10"/>
                <a:gd name="T24" fmla="*/ 7 w 13"/>
                <a:gd name="T25" fmla="*/ 5 h 10"/>
                <a:gd name="T26" fmla="*/ 8 w 13"/>
                <a:gd name="T27" fmla="*/ 7 h 10"/>
                <a:gd name="T28" fmla="*/ 8 w 13"/>
                <a:gd name="T29" fmla="*/ 7 h 10"/>
                <a:gd name="T30" fmla="*/ 7 w 13"/>
                <a:gd name="T31" fmla="*/ 8 h 10"/>
                <a:gd name="T32" fmla="*/ 8 w 13"/>
                <a:gd name="T33" fmla="*/ 8 h 10"/>
                <a:gd name="T34" fmla="*/ 6 w 13"/>
                <a:gd name="T35" fmla="*/ 8 h 10"/>
                <a:gd name="T36" fmla="*/ 7 w 13"/>
                <a:gd name="T37" fmla="*/ 9 h 10"/>
                <a:gd name="T38" fmla="*/ 7 w 13"/>
                <a:gd name="T39" fmla="*/ 9 h 10"/>
                <a:gd name="T40" fmla="*/ 7 w 13"/>
                <a:gd name="T41" fmla="*/ 9 h 10"/>
                <a:gd name="T42" fmla="*/ 6 w 13"/>
                <a:gd name="T43" fmla="*/ 9 h 10"/>
                <a:gd name="T44" fmla="*/ 4 w 13"/>
                <a:gd name="T45" fmla="*/ 6 h 10"/>
                <a:gd name="T46" fmla="*/ 5 w 13"/>
                <a:gd name="T47" fmla="*/ 6 h 10"/>
                <a:gd name="T48" fmla="*/ 5 w 13"/>
                <a:gd name="T49" fmla="*/ 9 h 10"/>
                <a:gd name="T50" fmla="*/ 5 w 13"/>
                <a:gd name="T51" fmla="*/ 9 h 10"/>
                <a:gd name="T52" fmla="*/ 5 w 13"/>
                <a:gd name="T53" fmla="*/ 8 h 10"/>
                <a:gd name="T54" fmla="*/ 5 w 13"/>
                <a:gd name="T55" fmla="*/ 7 h 10"/>
                <a:gd name="T56" fmla="*/ 4 w 13"/>
                <a:gd name="T57" fmla="*/ 8 h 10"/>
                <a:gd name="T58" fmla="*/ 3 w 13"/>
                <a:gd name="T59" fmla="*/ 7 h 10"/>
                <a:gd name="T60" fmla="*/ 6 w 13"/>
                <a:gd name="T61" fmla="*/ 1 h 10"/>
                <a:gd name="T62" fmla="*/ 1 w 13"/>
                <a:gd name="T63" fmla="*/ 3 h 10"/>
                <a:gd name="T64" fmla="*/ 1 w 13"/>
                <a:gd name="T65" fmla="*/ 3 h 10"/>
                <a:gd name="T66" fmla="*/ 1 w 13"/>
                <a:gd name="T67" fmla="*/ 3 h 10"/>
                <a:gd name="T68" fmla="*/ 3 w 13"/>
                <a:gd name="T69" fmla="*/ 3 h 10"/>
                <a:gd name="T70" fmla="*/ 4 w 13"/>
                <a:gd name="T71" fmla="*/ 3 h 10"/>
                <a:gd name="T72" fmla="*/ 4 w 13"/>
                <a:gd name="T73" fmla="*/ 1 h 10"/>
                <a:gd name="T74" fmla="*/ 3 w 13"/>
                <a:gd name="T75" fmla="*/ 1 h 10"/>
                <a:gd name="T76" fmla="*/ 2 w 13"/>
                <a:gd name="T77" fmla="*/ 2 h 10"/>
                <a:gd name="T78" fmla="*/ 1 w 13"/>
                <a:gd name="T79" fmla="*/ 2 h 10"/>
                <a:gd name="T80" fmla="*/ 1 w 13"/>
                <a:gd name="T81" fmla="*/ 3 h 10"/>
                <a:gd name="T82" fmla="*/ 3 w 13"/>
                <a:gd name="T83" fmla="*/ 8 h 10"/>
                <a:gd name="T84" fmla="*/ 3 w 13"/>
                <a:gd name="T85" fmla="*/ 8 h 10"/>
                <a:gd name="T86" fmla="*/ 3 w 13"/>
                <a:gd name="T87" fmla="*/ 7 h 10"/>
                <a:gd name="T88" fmla="*/ 4 w 13"/>
                <a:gd name="T89" fmla="*/ 6 h 10"/>
                <a:gd name="T90" fmla="*/ 5 w 13"/>
                <a:gd name="T91" fmla="*/ 5 h 10"/>
                <a:gd name="T92" fmla="*/ 5 w 13"/>
                <a:gd name="T93" fmla="*/ 5 h 10"/>
                <a:gd name="T94" fmla="*/ 4 w 13"/>
                <a:gd name="T95" fmla="*/ 4 h 10"/>
                <a:gd name="T96" fmla="*/ 4 w 13"/>
                <a:gd name="T97" fmla="*/ 3 h 10"/>
                <a:gd name="T98" fmla="*/ 2 w 13"/>
                <a:gd name="T99" fmla="*/ 3 h 10"/>
                <a:gd name="T100" fmla="*/ 2 w 13"/>
                <a:gd name="T101" fmla="*/ 4 h 10"/>
                <a:gd name="T102" fmla="*/ 2 w 13"/>
                <a:gd name="T103" fmla="*/ 4 h 10"/>
                <a:gd name="T104" fmla="*/ 2 w 13"/>
                <a:gd name="T105" fmla="*/ 3 h 10"/>
                <a:gd name="T106" fmla="*/ 1 w 13"/>
                <a:gd name="T107" fmla="*/ 4 h 10"/>
                <a:gd name="T108" fmla="*/ 1 w 13"/>
                <a:gd name="T109" fmla="*/ 4 h 10"/>
                <a:gd name="T110" fmla="*/ 0 w 13"/>
                <a:gd name="T111" fmla="*/ 5 h 10"/>
                <a:gd name="T112" fmla="*/ 0 w 13"/>
                <a:gd name="T113" fmla="*/ 6 h 10"/>
                <a:gd name="T114" fmla="*/ 1 w 13"/>
                <a:gd name="T115" fmla="*/ 7 h 10"/>
                <a:gd name="T116" fmla="*/ 1 w 13"/>
                <a:gd name="T1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" h="10">
                  <a:moveTo>
                    <a:pt x="9" y="1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lose/>
                  <a:moveTo>
                    <a:pt x="12" y="7"/>
                  </a:move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lose/>
                  <a:moveTo>
                    <a:pt x="8" y="6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7" y="8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6" y="8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4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lose/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lose/>
                  <a:moveTo>
                    <a:pt x="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lose/>
                  <a:moveTo>
                    <a:pt x="5" y="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1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1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3" name="Freeform 43">
              <a:extLst>
                <a:ext uri="{FF2B5EF4-FFF2-40B4-BE49-F238E27FC236}">
                  <a16:creationId xmlns:a16="http://schemas.microsoft.com/office/drawing/2014/main" id="{DFA05CFB-50A9-4906-866F-8F50EC0196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426" y="3194885"/>
              <a:ext cx="423853" cy="482398"/>
            </a:xfrm>
            <a:custGeom>
              <a:avLst/>
              <a:gdLst>
                <a:gd name="T0" fmla="*/ 41 w 43"/>
                <a:gd name="T1" fmla="*/ 6 h 49"/>
                <a:gd name="T2" fmla="*/ 42 w 43"/>
                <a:gd name="T3" fmla="*/ 3 h 49"/>
                <a:gd name="T4" fmla="*/ 39 w 43"/>
                <a:gd name="T5" fmla="*/ 2 h 49"/>
                <a:gd name="T6" fmla="*/ 37 w 43"/>
                <a:gd name="T7" fmla="*/ 2 h 49"/>
                <a:gd name="T8" fmla="*/ 36 w 43"/>
                <a:gd name="T9" fmla="*/ 0 h 49"/>
                <a:gd name="T10" fmla="*/ 35 w 43"/>
                <a:gd name="T11" fmla="*/ 3 h 49"/>
                <a:gd name="T12" fmla="*/ 32 w 43"/>
                <a:gd name="T13" fmla="*/ 4 h 49"/>
                <a:gd name="T14" fmla="*/ 31 w 43"/>
                <a:gd name="T15" fmla="*/ 1 h 49"/>
                <a:gd name="T16" fmla="*/ 30 w 43"/>
                <a:gd name="T17" fmla="*/ 5 h 49"/>
                <a:gd name="T18" fmla="*/ 27 w 43"/>
                <a:gd name="T19" fmla="*/ 5 h 49"/>
                <a:gd name="T20" fmla="*/ 24 w 43"/>
                <a:gd name="T21" fmla="*/ 8 h 49"/>
                <a:gd name="T22" fmla="*/ 23 w 43"/>
                <a:gd name="T23" fmla="*/ 9 h 49"/>
                <a:gd name="T24" fmla="*/ 21 w 43"/>
                <a:gd name="T25" fmla="*/ 9 h 49"/>
                <a:gd name="T26" fmla="*/ 19 w 43"/>
                <a:gd name="T27" fmla="*/ 12 h 49"/>
                <a:gd name="T28" fmla="*/ 19 w 43"/>
                <a:gd name="T29" fmla="*/ 13 h 49"/>
                <a:gd name="T30" fmla="*/ 17 w 43"/>
                <a:gd name="T31" fmla="*/ 15 h 49"/>
                <a:gd name="T32" fmla="*/ 17 w 43"/>
                <a:gd name="T33" fmla="*/ 16 h 49"/>
                <a:gd name="T34" fmla="*/ 15 w 43"/>
                <a:gd name="T35" fmla="*/ 19 h 49"/>
                <a:gd name="T36" fmla="*/ 15 w 43"/>
                <a:gd name="T37" fmla="*/ 20 h 49"/>
                <a:gd name="T38" fmla="*/ 14 w 43"/>
                <a:gd name="T39" fmla="*/ 23 h 49"/>
                <a:gd name="T40" fmla="*/ 11 w 43"/>
                <a:gd name="T41" fmla="*/ 26 h 49"/>
                <a:gd name="T42" fmla="*/ 9 w 43"/>
                <a:gd name="T43" fmla="*/ 29 h 49"/>
                <a:gd name="T44" fmla="*/ 12 w 43"/>
                <a:gd name="T45" fmla="*/ 29 h 49"/>
                <a:gd name="T46" fmla="*/ 8 w 43"/>
                <a:gd name="T47" fmla="*/ 30 h 49"/>
                <a:gd name="T48" fmla="*/ 7 w 43"/>
                <a:gd name="T49" fmla="*/ 32 h 49"/>
                <a:gd name="T50" fmla="*/ 5 w 43"/>
                <a:gd name="T51" fmla="*/ 33 h 49"/>
                <a:gd name="T52" fmla="*/ 4 w 43"/>
                <a:gd name="T53" fmla="*/ 34 h 49"/>
                <a:gd name="T54" fmla="*/ 1 w 43"/>
                <a:gd name="T55" fmla="*/ 35 h 49"/>
                <a:gd name="T56" fmla="*/ 1 w 43"/>
                <a:gd name="T57" fmla="*/ 37 h 49"/>
                <a:gd name="T58" fmla="*/ 3 w 43"/>
                <a:gd name="T59" fmla="*/ 38 h 49"/>
                <a:gd name="T60" fmla="*/ 4 w 43"/>
                <a:gd name="T61" fmla="*/ 39 h 49"/>
                <a:gd name="T62" fmla="*/ 1 w 43"/>
                <a:gd name="T63" fmla="*/ 40 h 49"/>
                <a:gd name="T64" fmla="*/ 4 w 43"/>
                <a:gd name="T65" fmla="*/ 40 h 49"/>
                <a:gd name="T66" fmla="*/ 2 w 43"/>
                <a:gd name="T67" fmla="*/ 43 h 49"/>
                <a:gd name="T68" fmla="*/ 3 w 43"/>
                <a:gd name="T69" fmla="*/ 46 h 49"/>
                <a:gd name="T70" fmla="*/ 5 w 43"/>
                <a:gd name="T71" fmla="*/ 49 h 49"/>
                <a:gd name="T72" fmla="*/ 9 w 43"/>
                <a:gd name="T73" fmla="*/ 45 h 49"/>
                <a:gd name="T74" fmla="*/ 11 w 43"/>
                <a:gd name="T75" fmla="*/ 44 h 49"/>
                <a:gd name="T76" fmla="*/ 13 w 43"/>
                <a:gd name="T77" fmla="*/ 45 h 49"/>
                <a:gd name="T78" fmla="*/ 14 w 43"/>
                <a:gd name="T79" fmla="*/ 34 h 49"/>
                <a:gd name="T80" fmla="*/ 16 w 43"/>
                <a:gd name="T81" fmla="*/ 20 h 49"/>
                <a:gd name="T82" fmla="*/ 22 w 43"/>
                <a:gd name="T83" fmla="*/ 12 h 49"/>
                <a:gd name="T84" fmla="*/ 25 w 43"/>
                <a:gd name="T85" fmla="*/ 9 h 49"/>
                <a:gd name="T86" fmla="*/ 33 w 43"/>
                <a:gd name="T87" fmla="*/ 10 h 49"/>
                <a:gd name="T88" fmla="*/ 38 w 43"/>
                <a:gd name="T89" fmla="*/ 5 h 49"/>
                <a:gd name="T90" fmla="*/ 2 w 43"/>
                <a:gd name="T91" fmla="*/ 42 h 49"/>
                <a:gd name="T92" fmla="*/ 1 w 43"/>
                <a:gd name="T93" fmla="*/ 41 h 49"/>
                <a:gd name="T94" fmla="*/ 2 w 43"/>
                <a:gd name="T95" fmla="*/ 34 h 49"/>
                <a:gd name="T96" fmla="*/ 8 w 43"/>
                <a:gd name="T97" fmla="*/ 30 h 49"/>
                <a:gd name="T98" fmla="*/ 13 w 43"/>
                <a:gd name="T99" fmla="*/ 22 h 49"/>
                <a:gd name="T100" fmla="*/ 13 w 43"/>
                <a:gd name="T101" fmla="*/ 15 h 49"/>
                <a:gd name="T102" fmla="*/ 16 w 43"/>
                <a:gd name="T103" fmla="*/ 11 h 49"/>
                <a:gd name="T104" fmla="*/ 17 w 43"/>
                <a:gd name="T105" fmla="*/ 10 h 49"/>
                <a:gd name="T106" fmla="*/ 17 w 43"/>
                <a:gd name="T107" fmla="*/ 11 h 49"/>
                <a:gd name="T108" fmla="*/ 21 w 43"/>
                <a:gd name="T109" fmla="*/ 8 h 49"/>
                <a:gd name="T110" fmla="*/ 21 w 43"/>
                <a:gd name="T111" fmla="*/ 8 h 49"/>
                <a:gd name="T112" fmla="*/ 23 w 43"/>
                <a:gd name="T113" fmla="*/ 6 h 49"/>
                <a:gd name="T114" fmla="*/ 24 w 43"/>
                <a:gd name="T115" fmla="*/ 5 h 49"/>
                <a:gd name="T116" fmla="*/ 30 w 43"/>
                <a:gd name="T117" fmla="*/ 3 h 49"/>
                <a:gd name="T118" fmla="*/ 30 w 43"/>
                <a:gd name="T119" fmla="*/ 2 h 49"/>
                <a:gd name="T120" fmla="*/ 34 w 43"/>
                <a:gd name="T12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" h="49">
                  <a:moveTo>
                    <a:pt x="40" y="8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lose/>
                  <a:moveTo>
                    <a:pt x="2" y="45"/>
                  </a:move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lose/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2"/>
                    <a:pt x="1" y="42"/>
                    <a:pt x="1" y="42"/>
                  </a:cubicBezTo>
                  <a:close/>
                  <a:moveTo>
                    <a:pt x="2" y="42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lose/>
                  <a:moveTo>
                    <a:pt x="2" y="41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1"/>
                    <a:pt x="2" y="41"/>
                  </a:cubicBezTo>
                  <a:close/>
                  <a:moveTo>
                    <a:pt x="1" y="40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40"/>
                    <a:pt x="1" y="40"/>
                  </a:cubicBezTo>
                  <a:close/>
                  <a:moveTo>
                    <a:pt x="1" y="4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lose/>
                  <a:moveTo>
                    <a:pt x="1" y="41"/>
                  </a:moveTo>
                  <a:cubicBezTo>
                    <a:pt x="1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1" y="41"/>
                    <a:pt x="1" y="41"/>
                  </a:cubicBezTo>
                  <a:close/>
                  <a:moveTo>
                    <a:pt x="1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lose/>
                  <a:moveTo>
                    <a:pt x="1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lose/>
                  <a:moveTo>
                    <a:pt x="0" y="36"/>
                  </a:move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6"/>
                    <a:pt x="0" y="36"/>
                    <a:pt x="0" y="36"/>
                  </a:cubicBezTo>
                  <a:close/>
                  <a:moveTo>
                    <a:pt x="1" y="35"/>
                  </a:move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6" y="30"/>
                  </a:move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6" y="30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12" y="25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lose/>
                  <a:moveTo>
                    <a:pt x="11" y="26"/>
                  </a:move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12" y="22"/>
                  </a:move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lose/>
                  <a:moveTo>
                    <a:pt x="13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lose/>
                  <a:moveTo>
                    <a:pt x="13" y="2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3" y="20"/>
                    <a:pt x="13" y="20"/>
                  </a:cubicBezTo>
                  <a:close/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lose/>
                  <a:moveTo>
                    <a:pt x="13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lose/>
                  <a:moveTo>
                    <a:pt x="14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14" y="13"/>
                  </a:move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lose/>
                  <a:moveTo>
                    <a:pt x="15" y="12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6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lose/>
                  <a:moveTo>
                    <a:pt x="17" y="9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9"/>
                    <a:pt x="17" y="9"/>
                    <a:pt x="17" y="9"/>
                  </a:cubicBezTo>
                  <a:close/>
                  <a:moveTo>
                    <a:pt x="17" y="10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0"/>
                  </a:cubicBezTo>
                  <a:close/>
                  <a:moveTo>
                    <a:pt x="19" y="10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lose/>
                  <a:moveTo>
                    <a:pt x="19" y="9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9"/>
                    <a:pt x="19" y="9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lose/>
                  <a:moveTo>
                    <a:pt x="21" y="8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lose/>
                  <a:moveTo>
                    <a:pt x="21" y="7"/>
                  </a:moveTo>
                  <a:cubicBezTo>
                    <a:pt x="22" y="7"/>
                    <a:pt x="22" y="7"/>
                    <a:pt x="22" y="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lose/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lose/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2" y="5"/>
                    <a:pt x="22" y="5"/>
                  </a:cubicBezTo>
                  <a:close/>
                  <a:moveTo>
                    <a:pt x="23" y="6"/>
                  </a:moveTo>
                  <a:cubicBezTo>
                    <a:pt x="24" y="5"/>
                    <a:pt x="24" y="5"/>
                    <a:pt x="24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lose/>
                  <a:moveTo>
                    <a:pt x="23" y="6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lose/>
                  <a:moveTo>
                    <a:pt x="24" y="5"/>
                  </a:move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lose/>
                  <a:moveTo>
                    <a:pt x="25" y="5"/>
                  </a:move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5" y="5"/>
                    <a:pt x="25" y="5"/>
                  </a:cubicBezTo>
                  <a:close/>
                  <a:moveTo>
                    <a:pt x="29" y="4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4"/>
                    <a:pt x="29" y="4"/>
                    <a:pt x="29" y="4"/>
                  </a:cubicBezTo>
                  <a:close/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lose/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lose/>
                  <a:moveTo>
                    <a:pt x="30" y="2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lose/>
                  <a:moveTo>
                    <a:pt x="31" y="1"/>
                  </a:moveTo>
                  <a:cubicBezTo>
                    <a:pt x="31" y="1"/>
                    <a:pt x="31" y="1"/>
                    <a:pt x="31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lose/>
                  <a:moveTo>
                    <a:pt x="32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lose/>
                  <a:moveTo>
                    <a:pt x="3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" name="Freeform 44">
              <a:extLst>
                <a:ext uri="{FF2B5EF4-FFF2-40B4-BE49-F238E27FC236}">
                  <a16:creationId xmlns:a16="http://schemas.microsoft.com/office/drawing/2014/main" id="{48A44B38-1603-4529-B40D-3FEA65C957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3683" y="3283871"/>
              <a:ext cx="207243" cy="462493"/>
            </a:xfrm>
            <a:custGeom>
              <a:avLst/>
              <a:gdLst>
                <a:gd name="T0" fmla="*/ 9 w 177"/>
                <a:gd name="T1" fmla="*/ 286 h 395"/>
                <a:gd name="T2" fmla="*/ 17 w 177"/>
                <a:gd name="T3" fmla="*/ 269 h 395"/>
                <a:gd name="T4" fmla="*/ 25 w 177"/>
                <a:gd name="T5" fmla="*/ 235 h 395"/>
                <a:gd name="T6" fmla="*/ 9 w 177"/>
                <a:gd name="T7" fmla="*/ 193 h 395"/>
                <a:gd name="T8" fmla="*/ 25 w 177"/>
                <a:gd name="T9" fmla="*/ 159 h 395"/>
                <a:gd name="T10" fmla="*/ 34 w 177"/>
                <a:gd name="T11" fmla="*/ 109 h 395"/>
                <a:gd name="T12" fmla="*/ 51 w 177"/>
                <a:gd name="T13" fmla="*/ 84 h 395"/>
                <a:gd name="T14" fmla="*/ 59 w 177"/>
                <a:gd name="T15" fmla="*/ 50 h 395"/>
                <a:gd name="T16" fmla="*/ 76 w 177"/>
                <a:gd name="T17" fmla="*/ 33 h 395"/>
                <a:gd name="T18" fmla="*/ 84 w 177"/>
                <a:gd name="T19" fmla="*/ 25 h 395"/>
                <a:gd name="T20" fmla="*/ 109 w 177"/>
                <a:gd name="T21" fmla="*/ 16 h 395"/>
                <a:gd name="T22" fmla="*/ 109 w 177"/>
                <a:gd name="T23" fmla="*/ 8 h 395"/>
                <a:gd name="T24" fmla="*/ 118 w 177"/>
                <a:gd name="T25" fmla="*/ 0 h 395"/>
                <a:gd name="T26" fmla="*/ 151 w 177"/>
                <a:gd name="T27" fmla="*/ 25 h 395"/>
                <a:gd name="T28" fmla="*/ 160 w 177"/>
                <a:gd name="T29" fmla="*/ 33 h 395"/>
                <a:gd name="T30" fmla="*/ 168 w 177"/>
                <a:gd name="T31" fmla="*/ 58 h 395"/>
                <a:gd name="T32" fmla="*/ 168 w 177"/>
                <a:gd name="T33" fmla="*/ 92 h 395"/>
                <a:gd name="T34" fmla="*/ 168 w 177"/>
                <a:gd name="T35" fmla="*/ 100 h 395"/>
                <a:gd name="T36" fmla="*/ 151 w 177"/>
                <a:gd name="T37" fmla="*/ 100 h 395"/>
                <a:gd name="T38" fmla="*/ 143 w 177"/>
                <a:gd name="T39" fmla="*/ 109 h 395"/>
                <a:gd name="T40" fmla="*/ 143 w 177"/>
                <a:gd name="T41" fmla="*/ 117 h 395"/>
                <a:gd name="T42" fmla="*/ 143 w 177"/>
                <a:gd name="T43" fmla="*/ 126 h 395"/>
                <a:gd name="T44" fmla="*/ 143 w 177"/>
                <a:gd name="T45" fmla="*/ 143 h 395"/>
                <a:gd name="T46" fmla="*/ 135 w 177"/>
                <a:gd name="T47" fmla="*/ 159 h 395"/>
                <a:gd name="T48" fmla="*/ 126 w 177"/>
                <a:gd name="T49" fmla="*/ 176 h 395"/>
                <a:gd name="T50" fmla="*/ 109 w 177"/>
                <a:gd name="T51" fmla="*/ 185 h 395"/>
                <a:gd name="T52" fmla="*/ 101 w 177"/>
                <a:gd name="T53" fmla="*/ 185 h 395"/>
                <a:gd name="T54" fmla="*/ 93 w 177"/>
                <a:gd name="T55" fmla="*/ 201 h 395"/>
                <a:gd name="T56" fmla="*/ 93 w 177"/>
                <a:gd name="T57" fmla="*/ 227 h 395"/>
                <a:gd name="T58" fmla="*/ 93 w 177"/>
                <a:gd name="T59" fmla="*/ 235 h 395"/>
                <a:gd name="T60" fmla="*/ 93 w 177"/>
                <a:gd name="T61" fmla="*/ 252 h 395"/>
                <a:gd name="T62" fmla="*/ 109 w 177"/>
                <a:gd name="T63" fmla="*/ 269 h 395"/>
                <a:gd name="T64" fmla="*/ 109 w 177"/>
                <a:gd name="T65" fmla="*/ 294 h 395"/>
                <a:gd name="T66" fmla="*/ 93 w 177"/>
                <a:gd name="T67" fmla="*/ 286 h 395"/>
                <a:gd name="T68" fmla="*/ 76 w 177"/>
                <a:gd name="T69" fmla="*/ 286 h 395"/>
                <a:gd name="T70" fmla="*/ 93 w 177"/>
                <a:gd name="T71" fmla="*/ 294 h 395"/>
                <a:gd name="T72" fmla="*/ 109 w 177"/>
                <a:gd name="T73" fmla="*/ 294 h 395"/>
                <a:gd name="T74" fmla="*/ 101 w 177"/>
                <a:gd name="T75" fmla="*/ 302 h 395"/>
                <a:gd name="T76" fmla="*/ 93 w 177"/>
                <a:gd name="T77" fmla="*/ 311 h 395"/>
                <a:gd name="T78" fmla="*/ 84 w 177"/>
                <a:gd name="T79" fmla="*/ 319 h 395"/>
                <a:gd name="T80" fmla="*/ 84 w 177"/>
                <a:gd name="T81" fmla="*/ 336 h 395"/>
                <a:gd name="T82" fmla="*/ 84 w 177"/>
                <a:gd name="T83" fmla="*/ 353 h 395"/>
                <a:gd name="T84" fmla="*/ 76 w 177"/>
                <a:gd name="T85" fmla="*/ 378 h 395"/>
                <a:gd name="T86" fmla="*/ 51 w 177"/>
                <a:gd name="T87" fmla="*/ 386 h 395"/>
                <a:gd name="T88" fmla="*/ 34 w 177"/>
                <a:gd name="T89" fmla="*/ 395 h 395"/>
                <a:gd name="T90" fmla="*/ 34 w 177"/>
                <a:gd name="T91" fmla="*/ 370 h 395"/>
                <a:gd name="T92" fmla="*/ 17 w 177"/>
                <a:gd name="T93" fmla="*/ 344 h 395"/>
                <a:gd name="T94" fmla="*/ 9 w 177"/>
                <a:gd name="T95" fmla="*/ 328 h 395"/>
                <a:gd name="T96" fmla="*/ 9 w 177"/>
                <a:gd name="T97" fmla="*/ 319 h 395"/>
                <a:gd name="T98" fmla="*/ 0 w 177"/>
                <a:gd name="T99" fmla="*/ 311 h 395"/>
                <a:gd name="T100" fmla="*/ 109 w 177"/>
                <a:gd name="T101" fmla="*/ 294 h 395"/>
                <a:gd name="T102" fmla="*/ 9 w 177"/>
                <a:gd name="T103" fmla="*/ 328 h 395"/>
                <a:gd name="T104" fmla="*/ 126 w 177"/>
                <a:gd name="T105" fmla="*/ 319 h 395"/>
                <a:gd name="T106" fmla="*/ 126 w 177"/>
                <a:gd name="T107" fmla="*/ 336 h 395"/>
                <a:gd name="T108" fmla="*/ 118 w 177"/>
                <a:gd name="T109" fmla="*/ 361 h 395"/>
                <a:gd name="T110" fmla="*/ 126 w 177"/>
                <a:gd name="T111" fmla="*/ 344 h 395"/>
                <a:gd name="T112" fmla="*/ 118 w 177"/>
                <a:gd name="T113" fmla="*/ 336 h 395"/>
                <a:gd name="T114" fmla="*/ 118 w 177"/>
                <a:gd name="T115" fmla="*/ 353 h 395"/>
                <a:gd name="T116" fmla="*/ 84 w 177"/>
                <a:gd name="T117" fmla="*/ 378 h 395"/>
                <a:gd name="T118" fmla="*/ 93 w 177"/>
                <a:gd name="T119" fmla="*/ 353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7" h="395">
                  <a:moveTo>
                    <a:pt x="9" y="302"/>
                  </a:moveTo>
                  <a:lnTo>
                    <a:pt x="9" y="302"/>
                  </a:lnTo>
                  <a:lnTo>
                    <a:pt x="9" y="311"/>
                  </a:lnTo>
                  <a:lnTo>
                    <a:pt x="9" y="302"/>
                  </a:lnTo>
                  <a:lnTo>
                    <a:pt x="9" y="294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0"/>
                  </a:lnTo>
                  <a:lnTo>
                    <a:pt x="17" y="252"/>
                  </a:lnTo>
                  <a:lnTo>
                    <a:pt x="17" y="252"/>
                  </a:lnTo>
                  <a:lnTo>
                    <a:pt x="17" y="243"/>
                  </a:lnTo>
                  <a:lnTo>
                    <a:pt x="25" y="243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17" y="227"/>
                  </a:lnTo>
                  <a:lnTo>
                    <a:pt x="9" y="227"/>
                  </a:lnTo>
                  <a:lnTo>
                    <a:pt x="9" y="218"/>
                  </a:lnTo>
                  <a:lnTo>
                    <a:pt x="17" y="210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9" y="193"/>
                  </a:lnTo>
                  <a:lnTo>
                    <a:pt x="9" y="185"/>
                  </a:lnTo>
                  <a:lnTo>
                    <a:pt x="9" y="176"/>
                  </a:lnTo>
                  <a:lnTo>
                    <a:pt x="9" y="168"/>
                  </a:lnTo>
                  <a:lnTo>
                    <a:pt x="17" y="159"/>
                  </a:lnTo>
                  <a:lnTo>
                    <a:pt x="17" y="159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26"/>
                  </a:lnTo>
                  <a:lnTo>
                    <a:pt x="34" y="117"/>
                  </a:lnTo>
                  <a:lnTo>
                    <a:pt x="34" y="109"/>
                  </a:lnTo>
                  <a:lnTo>
                    <a:pt x="42" y="109"/>
                  </a:lnTo>
                  <a:lnTo>
                    <a:pt x="42" y="100"/>
                  </a:lnTo>
                  <a:lnTo>
                    <a:pt x="34" y="100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51" y="92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9" y="75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9" y="16"/>
                  </a:lnTo>
                  <a:lnTo>
                    <a:pt x="109" y="25"/>
                  </a:lnTo>
                  <a:lnTo>
                    <a:pt x="109" y="16"/>
                  </a:lnTo>
                  <a:lnTo>
                    <a:pt x="109" y="2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26" y="8"/>
                  </a:lnTo>
                  <a:lnTo>
                    <a:pt x="135" y="8"/>
                  </a:lnTo>
                  <a:lnTo>
                    <a:pt x="135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51" y="16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60" y="25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67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92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0" y="100"/>
                  </a:lnTo>
                  <a:lnTo>
                    <a:pt x="160" y="109"/>
                  </a:lnTo>
                  <a:lnTo>
                    <a:pt x="160" y="100"/>
                  </a:lnTo>
                  <a:lnTo>
                    <a:pt x="160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35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43" y="117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35" y="151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93" y="193"/>
                  </a:lnTo>
                  <a:lnTo>
                    <a:pt x="93" y="193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84" y="201"/>
                  </a:lnTo>
                  <a:lnTo>
                    <a:pt x="84" y="201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3" y="218"/>
                  </a:lnTo>
                  <a:lnTo>
                    <a:pt x="93" y="218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84" y="227"/>
                  </a:lnTo>
                  <a:lnTo>
                    <a:pt x="93" y="235"/>
                  </a:lnTo>
                  <a:lnTo>
                    <a:pt x="84" y="235"/>
                  </a:lnTo>
                  <a:lnTo>
                    <a:pt x="93" y="235"/>
                  </a:lnTo>
                  <a:lnTo>
                    <a:pt x="93" y="243"/>
                  </a:lnTo>
                  <a:lnTo>
                    <a:pt x="84" y="243"/>
                  </a:lnTo>
                  <a:lnTo>
                    <a:pt x="93" y="243"/>
                  </a:lnTo>
                  <a:lnTo>
                    <a:pt x="84" y="252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60"/>
                  </a:lnTo>
                  <a:lnTo>
                    <a:pt x="93" y="252"/>
                  </a:lnTo>
                  <a:lnTo>
                    <a:pt x="93" y="260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77"/>
                  </a:lnTo>
                  <a:lnTo>
                    <a:pt x="118" y="277"/>
                  </a:lnTo>
                  <a:lnTo>
                    <a:pt x="118" y="286"/>
                  </a:lnTo>
                  <a:lnTo>
                    <a:pt x="109" y="286"/>
                  </a:lnTo>
                  <a:lnTo>
                    <a:pt x="109" y="294"/>
                  </a:lnTo>
                  <a:lnTo>
                    <a:pt x="101" y="294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09" y="302"/>
                  </a:lnTo>
                  <a:lnTo>
                    <a:pt x="109" y="302"/>
                  </a:lnTo>
                  <a:lnTo>
                    <a:pt x="109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93" y="30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9"/>
                  </a:lnTo>
                  <a:lnTo>
                    <a:pt x="93" y="319"/>
                  </a:lnTo>
                  <a:lnTo>
                    <a:pt x="84" y="319"/>
                  </a:lnTo>
                  <a:lnTo>
                    <a:pt x="93" y="319"/>
                  </a:lnTo>
                  <a:lnTo>
                    <a:pt x="93" y="319"/>
                  </a:lnTo>
                  <a:lnTo>
                    <a:pt x="84" y="328"/>
                  </a:lnTo>
                  <a:lnTo>
                    <a:pt x="93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44"/>
                  </a:lnTo>
                  <a:lnTo>
                    <a:pt x="84" y="344"/>
                  </a:lnTo>
                  <a:lnTo>
                    <a:pt x="84" y="344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61"/>
                  </a:lnTo>
                  <a:lnTo>
                    <a:pt x="84" y="370"/>
                  </a:lnTo>
                  <a:lnTo>
                    <a:pt x="84" y="370"/>
                  </a:lnTo>
                  <a:lnTo>
                    <a:pt x="84" y="378"/>
                  </a:lnTo>
                  <a:lnTo>
                    <a:pt x="76" y="378"/>
                  </a:lnTo>
                  <a:lnTo>
                    <a:pt x="76" y="378"/>
                  </a:lnTo>
                  <a:lnTo>
                    <a:pt x="76" y="378"/>
                  </a:lnTo>
                  <a:lnTo>
                    <a:pt x="67" y="378"/>
                  </a:lnTo>
                  <a:lnTo>
                    <a:pt x="59" y="378"/>
                  </a:lnTo>
                  <a:lnTo>
                    <a:pt x="59" y="378"/>
                  </a:lnTo>
                  <a:lnTo>
                    <a:pt x="59" y="378"/>
                  </a:lnTo>
                  <a:lnTo>
                    <a:pt x="51" y="378"/>
                  </a:lnTo>
                  <a:lnTo>
                    <a:pt x="51" y="386"/>
                  </a:lnTo>
                  <a:lnTo>
                    <a:pt x="51" y="386"/>
                  </a:lnTo>
                  <a:lnTo>
                    <a:pt x="51" y="395"/>
                  </a:lnTo>
                  <a:lnTo>
                    <a:pt x="51" y="395"/>
                  </a:lnTo>
                  <a:lnTo>
                    <a:pt x="51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86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34" y="378"/>
                  </a:lnTo>
                  <a:lnTo>
                    <a:pt x="34" y="370"/>
                  </a:lnTo>
                  <a:lnTo>
                    <a:pt x="34" y="361"/>
                  </a:lnTo>
                  <a:lnTo>
                    <a:pt x="25" y="370"/>
                  </a:lnTo>
                  <a:lnTo>
                    <a:pt x="25" y="361"/>
                  </a:lnTo>
                  <a:lnTo>
                    <a:pt x="25" y="361"/>
                  </a:lnTo>
                  <a:lnTo>
                    <a:pt x="17" y="361"/>
                  </a:lnTo>
                  <a:lnTo>
                    <a:pt x="17" y="353"/>
                  </a:lnTo>
                  <a:lnTo>
                    <a:pt x="17" y="344"/>
                  </a:lnTo>
                  <a:lnTo>
                    <a:pt x="17" y="344"/>
                  </a:lnTo>
                  <a:lnTo>
                    <a:pt x="17" y="344"/>
                  </a:lnTo>
                  <a:lnTo>
                    <a:pt x="9" y="344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17" y="328"/>
                  </a:lnTo>
                  <a:lnTo>
                    <a:pt x="17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1"/>
                  </a:lnTo>
                  <a:lnTo>
                    <a:pt x="0" y="311"/>
                  </a:lnTo>
                  <a:lnTo>
                    <a:pt x="0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close/>
                  <a:moveTo>
                    <a:pt x="109" y="294"/>
                  </a:moveTo>
                  <a:lnTo>
                    <a:pt x="109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18" y="294"/>
                  </a:lnTo>
                  <a:lnTo>
                    <a:pt x="118" y="286"/>
                  </a:lnTo>
                  <a:lnTo>
                    <a:pt x="109" y="286"/>
                  </a:lnTo>
                  <a:lnTo>
                    <a:pt x="109" y="294"/>
                  </a:lnTo>
                  <a:lnTo>
                    <a:pt x="109" y="294"/>
                  </a:lnTo>
                  <a:close/>
                  <a:moveTo>
                    <a:pt x="9" y="328"/>
                  </a:move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close/>
                  <a:moveTo>
                    <a:pt x="126" y="319"/>
                  </a:move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close/>
                  <a:moveTo>
                    <a:pt x="126" y="336"/>
                  </a:moveTo>
                  <a:lnTo>
                    <a:pt x="126" y="336"/>
                  </a:lnTo>
                  <a:lnTo>
                    <a:pt x="126" y="336"/>
                  </a:lnTo>
                  <a:lnTo>
                    <a:pt x="135" y="328"/>
                  </a:lnTo>
                  <a:lnTo>
                    <a:pt x="135" y="328"/>
                  </a:lnTo>
                  <a:lnTo>
                    <a:pt x="126" y="328"/>
                  </a:lnTo>
                  <a:lnTo>
                    <a:pt x="126" y="336"/>
                  </a:lnTo>
                  <a:lnTo>
                    <a:pt x="126" y="336"/>
                  </a:lnTo>
                  <a:close/>
                  <a:moveTo>
                    <a:pt x="109" y="361"/>
                  </a:moveTo>
                  <a:lnTo>
                    <a:pt x="118" y="361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18" y="344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09" y="361"/>
                  </a:lnTo>
                  <a:lnTo>
                    <a:pt x="109" y="361"/>
                  </a:lnTo>
                  <a:lnTo>
                    <a:pt x="109" y="361"/>
                  </a:lnTo>
                  <a:close/>
                  <a:moveTo>
                    <a:pt x="84" y="370"/>
                  </a:moveTo>
                  <a:lnTo>
                    <a:pt x="84" y="370"/>
                  </a:lnTo>
                  <a:lnTo>
                    <a:pt x="84" y="378"/>
                  </a:lnTo>
                  <a:lnTo>
                    <a:pt x="93" y="378"/>
                  </a:lnTo>
                  <a:lnTo>
                    <a:pt x="93" y="378"/>
                  </a:lnTo>
                  <a:lnTo>
                    <a:pt x="93" y="370"/>
                  </a:lnTo>
                  <a:lnTo>
                    <a:pt x="93" y="361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61"/>
                  </a:lnTo>
                  <a:lnTo>
                    <a:pt x="84" y="361"/>
                  </a:lnTo>
                  <a:lnTo>
                    <a:pt x="84" y="3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5" name="Freeform 45">
              <a:extLst>
                <a:ext uri="{FF2B5EF4-FFF2-40B4-BE49-F238E27FC236}">
                  <a16:creationId xmlns:a16="http://schemas.microsoft.com/office/drawing/2014/main" id="{55048DCD-8325-4007-A76B-B3CC0E597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1845" y="3233524"/>
              <a:ext cx="206072" cy="374678"/>
            </a:xfrm>
            <a:custGeom>
              <a:avLst/>
              <a:gdLst>
                <a:gd name="T0" fmla="*/ 19 w 21"/>
                <a:gd name="T1" fmla="*/ 31 h 38"/>
                <a:gd name="T2" fmla="*/ 19 w 21"/>
                <a:gd name="T3" fmla="*/ 26 h 38"/>
                <a:gd name="T4" fmla="*/ 18 w 21"/>
                <a:gd name="T5" fmla="*/ 22 h 38"/>
                <a:gd name="T6" fmla="*/ 17 w 21"/>
                <a:gd name="T7" fmla="*/ 19 h 38"/>
                <a:gd name="T8" fmla="*/ 17 w 21"/>
                <a:gd name="T9" fmla="*/ 15 h 38"/>
                <a:gd name="T10" fmla="*/ 16 w 21"/>
                <a:gd name="T11" fmla="*/ 10 h 38"/>
                <a:gd name="T12" fmla="*/ 14 w 21"/>
                <a:gd name="T13" fmla="*/ 8 h 38"/>
                <a:gd name="T14" fmla="*/ 13 w 21"/>
                <a:gd name="T15" fmla="*/ 5 h 38"/>
                <a:gd name="T16" fmla="*/ 14 w 21"/>
                <a:gd name="T17" fmla="*/ 2 h 38"/>
                <a:gd name="T18" fmla="*/ 10 w 21"/>
                <a:gd name="T19" fmla="*/ 0 h 38"/>
                <a:gd name="T20" fmla="*/ 9 w 21"/>
                <a:gd name="T21" fmla="*/ 1 h 38"/>
                <a:gd name="T22" fmla="*/ 8 w 21"/>
                <a:gd name="T23" fmla="*/ 4 h 38"/>
                <a:gd name="T24" fmla="*/ 7 w 21"/>
                <a:gd name="T25" fmla="*/ 6 h 38"/>
                <a:gd name="T26" fmla="*/ 4 w 21"/>
                <a:gd name="T27" fmla="*/ 6 h 38"/>
                <a:gd name="T28" fmla="*/ 1 w 21"/>
                <a:gd name="T29" fmla="*/ 4 h 38"/>
                <a:gd name="T30" fmla="*/ 0 w 21"/>
                <a:gd name="T31" fmla="*/ 5 h 38"/>
                <a:gd name="T32" fmla="*/ 3 w 21"/>
                <a:gd name="T33" fmla="*/ 7 h 38"/>
                <a:gd name="T34" fmla="*/ 5 w 21"/>
                <a:gd name="T35" fmla="*/ 8 h 38"/>
                <a:gd name="T36" fmla="*/ 5 w 21"/>
                <a:gd name="T37" fmla="*/ 10 h 38"/>
                <a:gd name="T38" fmla="*/ 6 w 21"/>
                <a:gd name="T39" fmla="*/ 12 h 38"/>
                <a:gd name="T40" fmla="*/ 6 w 21"/>
                <a:gd name="T41" fmla="*/ 16 h 38"/>
                <a:gd name="T42" fmla="*/ 8 w 21"/>
                <a:gd name="T43" fmla="*/ 17 h 38"/>
                <a:gd name="T44" fmla="*/ 9 w 21"/>
                <a:gd name="T45" fmla="*/ 19 h 38"/>
                <a:gd name="T46" fmla="*/ 10 w 21"/>
                <a:gd name="T47" fmla="*/ 21 h 38"/>
                <a:gd name="T48" fmla="*/ 8 w 21"/>
                <a:gd name="T49" fmla="*/ 22 h 38"/>
                <a:gd name="T50" fmla="*/ 6 w 21"/>
                <a:gd name="T51" fmla="*/ 23 h 38"/>
                <a:gd name="T52" fmla="*/ 6 w 21"/>
                <a:gd name="T53" fmla="*/ 25 h 38"/>
                <a:gd name="T54" fmla="*/ 5 w 21"/>
                <a:gd name="T55" fmla="*/ 25 h 38"/>
                <a:gd name="T56" fmla="*/ 4 w 21"/>
                <a:gd name="T57" fmla="*/ 27 h 38"/>
                <a:gd name="T58" fmla="*/ 3 w 21"/>
                <a:gd name="T59" fmla="*/ 27 h 38"/>
                <a:gd name="T60" fmla="*/ 3 w 21"/>
                <a:gd name="T61" fmla="*/ 29 h 38"/>
                <a:gd name="T62" fmla="*/ 3 w 21"/>
                <a:gd name="T63" fmla="*/ 30 h 38"/>
                <a:gd name="T64" fmla="*/ 4 w 21"/>
                <a:gd name="T65" fmla="*/ 32 h 38"/>
                <a:gd name="T66" fmla="*/ 4 w 21"/>
                <a:gd name="T67" fmla="*/ 35 h 38"/>
                <a:gd name="T68" fmla="*/ 5 w 21"/>
                <a:gd name="T69" fmla="*/ 36 h 38"/>
                <a:gd name="T70" fmla="*/ 7 w 21"/>
                <a:gd name="T71" fmla="*/ 36 h 38"/>
                <a:gd name="T72" fmla="*/ 7 w 21"/>
                <a:gd name="T73" fmla="*/ 38 h 38"/>
                <a:gd name="T74" fmla="*/ 9 w 21"/>
                <a:gd name="T75" fmla="*/ 37 h 38"/>
                <a:gd name="T76" fmla="*/ 12 w 21"/>
                <a:gd name="T77" fmla="*/ 36 h 38"/>
                <a:gd name="T78" fmla="*/ 13 w 21"/>
                <a:gd name="T79" fmla="*/ 36 h 38"/>
                <a:gd name="T80" fmla="*/ 13 w 21"/>
                <a:gd name="T81" fmla="*/ 36 h 38"/>
                <a:gd name="T82" fmla="*/ 15 w 21"/>
                <a:gd name="T83" fmla="*/ 35 h 38"/>
                <a:gd name="T84" fmla="*/ 16 w 21"/>
                <a:gd name="T85" fmla="*/ 35 h 38"/>
                <a:gd name="T86" fmla="*/ 8 w 21"/>
                <a:gd name="T87" fmla="*/ 20 h 38"/>
                <a:gd name="T88" fmla="*/ 9 w 21"/>
                <a:gd name="T89" fmla="*/ 20 h 38"/>
                <a:gd name="T90" fmla="*/ 3 w 21"/>
                <a:gd name="T91" fmla="*/ 26 h 38"/>
                <a:gd name="T92" fmla="*/ 3 w 21"/>
                <a:gd name="T93" fmla="*/ 26 h 38"/>
                <a:gd name="T94" fmla="*/ 7 w 21"/>
                <a:gd name="T95" fmla="*/ 37 h 38"/>
                <a:gd name="T96" fmla="*/ 6 w 21"/>
                <a:gd name="T97" fmla="*/ 36 h 38"/>
                <a:gd name="T98" fmla="*/ 5 w 21"/>
                <a:gd name="T99" fmla="*/ 36 h 38"/>
                <a:gd name="T100" fmla="*/ 4 w 21"/>
                <a:gd name="T101" fmla="*/ 36 h 38"/>
                <a:gd name="T102" fmla="*/ 1 w 21"/>
                <a:gd name="T103" fmla="*/ 36 h 38"/>
                <a:gd name="T104" fmla="*/ 2 w 21"/>
                <a:gd name="T105" fmla="*/ 37 h 38"/>
                <a:gd name="T106" fmla="*/ 1 w 21"/>
                <a:gd name="T107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" h="38">
                  <a:moveTo>
                    <a:pt x="17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5"/>
                    <a:pt x="17" y="35"/>
                  </a:cubicBezTo>
                  <a:close/>
                  <a:moveTo>
                    <a:pt x="9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lose/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lose/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lose/>
                  <a:moveTo>
                    <a:pt x="7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lose/>
                  <a:moveTo>
                    <a:pt x="7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7"/>
                    <a:pt x="7" y="37"/>
                    <a:pt x="7" y="37"/>
                  </a:cubicBezTo>
                  <a:close/>
                  <a:moveTo>
                    <a:pt x="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lose/>
                  <a:moveTo>
                    <a:pt x="5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lose/>
                  <a:moveTo>
                    <a:pt x="4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lose/>
                  <a:moveTo>
                    <a:pt x="1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lnTo>
                    <a:pt x="1" y="3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6" name="Freeform 46">
              <a:extLst>
                <a:ext uri="{FF2B5EF4-FFF2-40B4-BE49-F238E27FC236}">
                  <a16:creationId xmlns:a16="http://schemas.microsoft.com/office/drawing/2014/main" id="{A8D4801D-B54D-4CFC-A892-D4B1FE6C25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389" y="3608201"/>
              <a:ext cx="108891" cy="78448"/>
            </a:xfrm>
            <a:custGeom>
              <a:avLst/>
              <a:gdLst>
                <a:gd name="T0" fmla="*/ 93 w 93"/>
                <a:gd name="T1" fmla="*/ 59 h 67"/>
                <a:gd name="T2" fmla="*/ 93 w 93"/>
                <a:gd name="T3" fmla="*/ 51 h 67"/>
                <a:gd name="T4" fmla="*/ 84 w 93"/>
                <a:gd name="T5" fmla="*/ 34 h 67"/>
                <a:gd name="T6" fmla="*/ 84 w 93"/>
                <a:gd name="T7" fmla="*/ 25 h 67"/>
                <a:gd name="T8" fmla="*/ 93 w 93"/>
                <a:gd name="T9" fmla="*/ 9 h 67"/>
                <a:gd name="T10" fmla="*/ 93 w 93"/>
                <a:gd name="T11" fmla="*/ 9 h 67"/>
                <a:gd name="T12" fmla="*/ 93 w 93"/>
                <a:gd name="T13" fmla="*/ 9 h 67"/>
                <a:gd name="T14" fmla="*/ 67 w 93"/>
                <a:gd name="T15" fmla="*/ 9 h 67"/>
                <a:gd name="T16" fmla="*/ 59 w 93"/>
                <a:gd name="T17" fmla="*/ 0 h 67"/>
                <a:gd name="T18" fmla="*/ 51 w 93"/>
                <a:gd name="T19" fmla="*/ 0 h 67"/>
                <a:gd name="T20" fmla="*/ 51 w 93"/>
                <a:gd name="T21" fmla="*/ 0 h 67"/>
                <a:gd name="T22" fmla="*/ 51 w 93"/>
                <a:gd name="T23" fmla="*/ 9 h 67"/>
                <a:gd name="T24" fmla="*/ 51 w 93"/>
                <a:gd name="T25" fmla="*/ 9 h 67"/>
                <a:gd name="T26" fmla="*/ 42 w 93"/>
                <a:gd name="T27" fmla="*/ 9 h 67"/>
                <a:gd name="T28" fmla="*/ 34 w 93"/>
                <a:gd name="T29" fmla="*/ 9 h 67"/>
                <a:gd name="T30" fmla="*/ 34 w 93"/>
                <a:gd name="T31" fmla="*/ 17 h 67"/>
                <a:gd name="T32" fmla="*/ 25 w 93"/>
                <a:gd name="T33" fmla="*/ 17 h 67"/>
                <a:gd name="T34" fmla="*/ 25 w 93"/>
                <a:gd name="T35" fmla="*/ 25 h 67"/>
                <a:gd name="T36" fmla="*/ 25 w 93"/>
                <a:gd name="T37" fmla="*/ 25 h 67"/>
                <a:gd name="T38" fmla="*/ 25 w 93"/>
                <a:gd name="T39" fmla="*/ 34 h 67"/>
                <a:gd name="T40" fmla="*/ 25 w 93"/>
                <a:gd name="T41" fmla="*/ 34 h 67"/>
                <a:gd name="T42" fmla="*/ 34 w 93"/>
                <a:gd name="T43" fmla="*/ 42 h 67"/>
                <a:gd name="T44" fmla="*/ 34 w 93"/>
                <a:gd name="T45" fmla="*/ 42 h 67"/>
                <a:gd name="T46" fmla="*/ 42 w 93"/>
                <a:gd name="T47" fmla="*/ 42 h 67"/>
                <a:gd name="T48" fmla="*/ 34 w 93"/>
                <a:gd name="T49" fmla="*/ 51 h 67"/>
                <a:gd name="T50" fmla="*/ 42 w 93"/>
                <a:gd name="T51" fmla="*/ 51 h 67"/>
                <a:gd name="T52" fmla="*/ 51 w 93"/>
                <a:gd name="T53" fmla="*/ 51 h 67"/>
                <a:gd name="T54" fmla="*/ 59 w 93"/>
                <a:gd name="T55" fmla="*/ 51 h 67"/>
                <a:gd name="T56" fmla="*/ 59 w 93"/>
                <a:gd name="T57" fmla="*/ 51 h 67"/>
                <a:gd name="T58" fmla="*/ 67 w 93"/>
                <a:gd name="T59" fmla="*/ 59 h 67"/>
                <a:gd name="T60" fmla="*/ 76 w 93"/>
                <a:gd name="T61" fmla="*/ 59 h 67"/>
                <a:gd name="T62" fmla="*/ 84 w 93"/>
                <a:gd name="T63" fmla="*/ 59 h 67"/>
                <a:gd name="T64" fmla="*/ 84 w 93"/>
                <a:gd name="T65" fmla="*/ 67 h 67"/>
                <a:gd name="T66" fmla="*/ 17 w 93"/>
                <a:gd name="T67" fmla="*/ 25 h 67"/>
                <a:gd name="T68" fmla="*/ 17 w 93"/>
                <a:gd name="T69" fmla="*/ 25 h 67"/>
                <a:gd name="T70" fmla="*/ 17 w 93"/>
                <a:gd name="T71" fmla="*/ 25 h 67"/>
                <a:gd name="T72" fmla="*/ 9 w 93"/>
                <a:gd name="T73" fmla="*/ 25 h 67"/>
                <a:gd name="T74" fmla="*/ 0 w 93"/>
                <a:gd name="T75" fmla="*/ 25 h 67"/>
                <a:gd name="T76" fmla="*/ 9 w 93"/>
                <a:gd name="T77" fmla="*/ 25 h 67"/>
                <a:gd name="T78" fmla="*/ 9 w 93"/>
                <a:gd name="T79" fmla="*/ 25 h 67"/>
                <a:gd name="T80" fmla="*/ 9 w 93"/>
                <a:gd name="T81" fmla="*/ 25 h 67"/>
                <a:gd name="T82" fmla="*/ 17 w 93"/>
                <a:gd name="T83" fmla="*/ 25 h 67"/>
                <a:gd name="T84" fmla="*/ 9 w 93"/>
                <a:gd name="T85" fmla="*/ 25 h 67"/>
                <a:gd name="T86" fmla="*/ 9 w 93"/>
                <a:gd name="T87" fmla="*/ 34 h 67"/>
                <a:gd name="T88" fmla="*/ 17 w 93"/>
                <a:gd name="T89" fmla="*/ 34 h 67"/>
                <a:gd name="T90" fmla="*/ 25 w 93"/>
                <a:gd name="T91" fmla="*/ 34 h 67"/>
                <a:gd name="T92" fmla="*/ 17 w 93"/>
                <a:gd name="T93" fmla="*/ 34 h 67"/>
                <a:gd name="T94" fmla="*/ 0 w 93"/>
                <a:gd name="T95" fmla="*/ 51 h 67"/>
                <a:gd name="T96" fmla="*/ 9 w 93"/>
                <a:gd name="T97" fmla="*/ 51 h 67"/>
                <a:gd name="T98" fmla="*/ 9 w 93"/>
                <a:gd name="T99" fmla="*/ 42 h 67"/>
                <a:gd name="T100" fmla="*/ 17 w 93"/>
                <a:gd name="T101" fmla="*/ 42 h 67"/>
                <a:gd name="T102" fmla="*/ 17 w 93"/>
                <a:gd name="T103" fmla="*/ 42 h 67"/>
                <a:gd name="T104" fmla="*/ 17 w 93"/>
                <a:gd name="T105" fmla="*/ 34 h 67"/>
                <a:gd name="T106" fmla="*/ 17 w 93"/>
                <a:gd name="T107" fmla="*/ 34 h 67"/>
                <a:gd name="T108" fmla="*/ 9 w 93"/>
                <a:gd name="T109" fmla="*/ 34 h 67"/>
                <a:gd name="T110" fmla="*/ 0 w 93"/>
                <a:gd name="T111" fmla="*/ 34 h 67"/>
                <a:gd name="T112" fmla="*/ 0 w 93"/>
                <a:gd name="T113" fmla="*/ 34 h 67"/>
                <a:gd name="T114" fmla="*/ 0 w 93"/>
                <a:gd name="T115" fmla="*/ 34 h 67"/>
                <a:gd name="T116" fmla="*/ 0 w 93"/>
                <a:gd name="T117" fmla="*/ 42 h 67"/>
                <a:gd name="T118" fmla="*/ 0 w 93"/>
                <a:gd name="T119" fmla="*/ 42 h 67"/>
                <a:gd name="T120" fmla="*/ 0 w 93"/>
                <a:gd name="T121" fmla="*/ 42 h 67"/>
                <a:gd name="T122" fmla="*/ 0 w 93"/>
                <a:gd name="T123" fmla="*/ 51 h 67"/>
                <a:gd name="T124" fmla="*/ 0 w 93"/>
                <a:gd name="T125" fmla="*/ 51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" h="67">
                  <a:moveTo>
                    <a:pt x="84" y="67"/>
                  </a:moveTo>
                  <a:lnTo>
                    <a:pt x="93" y="59"/>
                  </a:lnTo>
                  <a:lnTo>
                    <a:pt x="93" y="59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84" y="34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17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76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0"/>
                  </a:lnTo>
                  <a:lnTo>
                    <a:pt x="59" y="9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42" y="42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84" y="67"/>
                  </a:lnTo>
                  <a:close/>
                  <a:moveTo>
                    <a:pt x="17" y="25"/>
                  </a:move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close/>
                  <a:moveTo>
                    <a:pt x="9" y="34"/>
                  </a:move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34"/>
                  </a:lnTo>
                  <a:lnTo>
                    <a:pt x="9" y="34"/>
                  </a:lnTo>
                  <a:close/>
                  <a:moveTo>
                    <a:pt x="17" y="34"/>
                  </a:moveTo>
                  <a:lnTo>
                    <a:pt x="17" y="34"/>
                  </a:lnTo>
                  <a:lnTo>
                    <a:pt x="17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Freeform 47">
              <a:extLst>
                <a:ext uri="{FF2B5EF4-FFF2-40B4-BE49-F238E27FC236}">
                  <a16:creationId xmlns:a16="http://schemas.microsoft.com/office/drawing/2014/main" id="{96D8D9C5-5C8A-42E0-836B-9A88CB073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022" y="3667916"/>
              <a:ext cx="127624" cy="67910"/>
            </a:xfrm>
            <a:custGeom>
              <a:avLst/>
              <a:gdLst>
                <a:gd name="T0" fmla="*/ 109 w 109"/>
                <a:gd name="T1" fmla="*/ 42 h 58"/>
                <a:gd name="T2" fmla="*/ 101 w 109"/>
                <a:gd name="T3" fmla="*/ 33 h 58"/>
                <a:gd name="T4" fmla="*/ 101 w 109"/>
                <a:gd name="T5" fmla="*/ 25 h 58"/>
                <a:gd name="T6" fmla="*/ 101 w 109"/>
                <a:gd name="T7" fmla="*/ 16 h 58"/>
                <a:gd name="T8" fmla="*/ 101 w 109"/>
                <a:gd name="T9" fmla="*/ 16 h 58"/>
                <a:gd name="T10" fmla="*/ 92 w 109"/>
                <a:gd name="T11" fmla="*/ 8 h 58"/>
                <a:gd name="T12" fmla="*/ 84 w 109"/>
                <a:gd name="T13" fmla="*/ 8 h 58"/>
                <a:gd name="T14" fmla="*/ 75 w 109"/>
                <a:gd name="T15" fmla="*/ 8 h 58"/>
                <a:gd name="T16" fmla="*/ 67 w 109"/>
                <a:gd name="T17" fmla="*/ 0 h 58"/>
                <a:gd name="T18" fmla="*/ 67 w 109"/>
                <a:gd name="T19" fmla="*/ 0 h 58"/>
                <a:gd name="T20" fmla="*/ 59 w 109"/>
                <a:gd name="T21" fmla="*/ 0 h 58"/>
                <a:gd name="T22" fmla="*/ 50 w 109"/>
                <a:gd name="T23" fmla="*/ 0 h 58"/>
                <a:gd name="T24" fmla="*/ 42 w 109"/>
                <a:gd name="T25" fmla="*/ 0 h 58"/>
                <a:gd name="T26" fmla="*/ 50 w 109"/>
                <a:gd name="T27" fmla="*/ 16 h 58"/>
                <a:gd name="T28" fmla="*/ 42 w 109"/>
                <a:gd name="T29" fmla="*/ 25 h 58"/>
                <a:gd name="T30" fmla="*/ 33 w 109"/>
                <a:gd name="T31" fmla="*/ 25 h 58"/>
                <a:gd name="T32" fmla="*/ 25 w 109"/>
                <a:gd name="T33" fmla="*/ 8 h 58"/>
                <a:gd name="T34" fmla="*/ 17 w 109"/>
                <a:gd name="T35" fmla="*/ 8 h 58"/>
                <a:gd name="T36" fmla="*/ 17 w 109"/>
                <a:gd name="T37" fmla="*/ 8 h 58"/>
                <a:gd name="T38" fmla="*/ 8 w 109"/>
                <a:gd name="T39" fmla="*/ 8 h 58"/>
                <a:gd name="T40" fmla="*/ 8 w 109"/>
                <a:gd name="T41" fmla="*/ 16 h 58"/>
                <a:gd name="T42" fmla="*/ 0 w 109"/>
                <a:gd name="T43" fmla="*/ 25 h 58"/>
                <a:gd name="T44" fmla="*/ 0 w 109"/>
                <a:gd name="T45" fmla="*/ 33 h 58"/>
                <a:gd name="T46" fmla="*/ 0 w 109"/>
                <a:gd name="T47" fmla="*/ 42 h 58"/>
                <a:gd name="T48" fmla="*/ 0 w 109"/>
                <a:gd name="T49" fmla="*/ 50 h 58"/>
                <a:gd name="T50" fmla="*/ 0 w 109"/>
                <a:gd name="T51" fmla="*/ 50 h 58"/>
                <a:gd name="T52" fmla="*/ 8 w 109"/>
                <a:gd name="T53" fmla="*/ 42 h 58"/>
                <a:gd name="T54" fmla="*/ 25 w 109"/>
                <a:gd name="T55" fmla="*/ 42 h 58"/>
                <a:gd name="T56" fmla="*/ 33 w 109"/>
                <a:gd name="T57" fmla="*/ 42 h 58"/>
                <a:gd name="T58" fmla="*/ 33 w 109"/>
                <a:gd name="T59" fmla="*/ 42 h 58"/>
                <a:gd name="T60" fmla="*/ 42 w 109"/>
                <a:gd name="T61" fmla="*/ 42 h 58"/>
                <a:gd name="T62" fmla="*/ 50 w 109"/>
                <a:gd name="T63" fmla="*/ 42 h 58"/>
                <a:gd name="T64" fmla="*/ 59 w 109"/>
                <a:gd name="T65" fmla="*/ 42 h 58"/>
                <a:gd name="T66" fmla="*/ 67 w 109"/>
                <a:gd name="T67" fmla="*/ 42 h 58"/>
                <a:gd name="T68" fmla="*/ 75 w 109"/>
                <a:gd name="T69" fmla="*/ 50 h 58"/>
                <a:gd name="T70" fmla="*/ 84 w 109"/>
                <a:gd name="T71" fmla="*/ 58 h 58"/>
                <a:gd name="T72" fmla="*/ 84 w 109"/>
                <a:gd name="T73" fmla="*/ 58 h 58"/>
                <a:gd name="T74" fmla="*/ 101 w 109"/>
                <a:gd name="T75" fmla="*/ 50 h 58"/>
                <a:gd name="T76" fmla="*/ 101 w 109"/>
                <a:gd name="T77" fmla="*/ 50 h 58"/>
                <a:gd name="T78" fmla="*/ 109 w 109"/>
                <a:gd name="T7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9" h="58">
                  <a:moveTo>
                    <a:pt x="109" y="42"/>
                  </a:moveTo>
                  <a:lnTo>
                    <a:pt x="109" y="42"/>
                  </a:lnTo>
                  <a:lnTo>
                    <a:pt x="109" y="33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2" y="8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16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9" y="42"/>
                  </a:lnTo>
                  <a:lnTo>
                    <a:pt x="109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8" name="Freeform 48">
              <a:extLst>
                <a:ext uri="{FF2B5EF4-FFF2-40B4-BE49-F238E27FC236}">
                  <a16:creationId xmlns:a16="http://schemas.microsoft.com/office/drawing/2014/main" id="{2C27B342-A790-4E4D-9AAF-407B83D68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022" y="3717092"/>
              <a:ext cx="98353" cy="69081"/>
            </a:xfrm>
            <a:custGeom>
              <a:avLst/>
              <a:gdLst>
                <a:gd name="T0" fmla="*/ 25 w 84"/>
                <a:gd name="T1" fmla="*/ 42 h 59"/>
                <a:gd name="T2" fmla="*/ 25 w 84"/>
                <a:gd name="T3" fmla="*/ 33 h 59"/>
                <a:gd name="T4" fmla="*/ 33 w 84"/>
                <a:gd name="T5" fmla="*/ 33 h 59"/>
                <a:gd name="T6" fmla="*/ 25 w 84"/>
                <a:gd name="T7" fmla="*/ 33 h 59"/>
                <a:gd name="T8" fmla="*/ 25 w 84"/>
                <a:gd name="T9" fmla="*/ 33 h 59"/>
                <a:gd name="T10" fmla="*/ 25 w 84"/>
                <a:gd name="T11" fmla="*/ 25 h 59"/>
                <a:gd name="T12" fmla="*/ 25 w 84"/>
                <a:gd name="T13" fmla="*/ 25 h 59"/>
                <a:gd name="T14" fmla="*/ 17 w 84"/>
                <a:gd name="T15" fmla="*/ 25 h 59"/>
                <a:gd name="T16" fmla="*/ 8 w 84"/>
                <a:gd name="T17" fmla="*/ 25 h 59"/>
                <a:gd name="T18" fmla="*/ 8 w 84"/>
                <a:gd name="T19" fmla="*/ 16 h 59"/>
                <a:gd name="T20" fmla="*/ 0 w 84"/>
                <a:gd name="T21" fmla="*/ 25 h 59"/>
                <a:gd name="T22" fmla="*/ 0 w 84"/>
                <a:gd name="T23" fmla="*/ 16 h 59"/>
                <a:gd name="T24" fmla="*/ 0 w 84"/>
                <a:gd name="T25" fmla="*/ 16 h 59"/>
                <a:gd name="T26" fmla="*/ 0 w 84"/>
                <a:gd name="T27" fmla="*/ 16 h 59"/>
                <a:gd name="T28" fmla="*/ 0 w 84"/>
                <a:gd name="T29" fmla="*/ 8 h 59"/>
                <a:gd name="T30" fmla="*/ 0 w 84"/>
                <a:gd name="T31" fmla="*/ 8 h 59"/>
                <a:gd name="T32" fmla="*/ 8 w 84"/>
                <a:gd name="T33" fmla="*/ 0 h 59"/>
                <a:gd name="T34" fmla="*/ 8 w 84"/>
                <a:gd name="T35" fmla="*/ 0 h 59"/>
                <a:gd name="T36" fmla="*/ 17 w 84"/>
                <a:gd name="T37" fmla="*/ 0 h 59"/>
                <a:gd name="T38" fmla="*/ 25 w 84"/>
                <a:gd name="T39" fmla="*/ 0 h 59"/>
                <a:gd name="T40" fmla="*/ 25 w 84"/>
                <a:gd name="T41" fmla="*/ 0 h 59"/>
                <a:gd name="T42" fmla="*/ 33 w 84"/>
                <a:gd name="T43" fmla="*/ 0 h 59"/>
                <a:gd name="T44" fmla="*/ 33 w 84"/>
                <a:gd name="T45" fmla="*/ 0 h 59"/>
                <a:gd name="T46" fmla="*/ 33 w 84"/>
                <a:gd name="T47" fmla="*/ 0 h 59"/>
                <a:gd name="T48" fmla="*/ 42 w 84"/>
                <a:gd name="T49" fmla="*/ 0 h 59"/>
                <a:gd name="T50" fmla="*/ 42 w 84"/>
                <a:gd name="T51" fmla="*/ 0 h 59"/>
                <a:gd name="T52" fmla="*/ 42 w 84"/>
                <a:gd name="T53" fmla="*/ 0 h 59"/>
                <a:gd name="T54" fmla="*/ 50 w 84"/>
                <a:gd name="T55" fmla="*/ 0 h 59"/>
                <a:gd name="T56" fmla="*/ 50 w 84"/>
                <a:gd name="T57" fmla="*/ 0 h 59"/>
                <a:gd name="T58" fmla="*/ 59 w 84"/>
                <a:gd name="T59" fmla="*/ 0 h 59"/>
                <a:gd name="T60" fmla="*/ 67 w 84"/>
                <a:gd name="T61" fmla="*/ 0 h 59"/>
                <a:gd name="T62" fmla="*/ 67 w 84"/>
                <a:gd name="T63" fmla="*/ 0 h 59"/>
                <a:gd name="T64" fmla="*/ 75 w 84"/>
                <a:gd name="T65" fmla="*/ 8 h 59"/>
                <a:gd name="T66" fmla="*/ 75 w 84"/>
                <a:gd name="T67" fmla="*/ 8 h 59"/>
                <a:gd name="T68" fmla="*/ 84 w 84"/>
                <a:gd name="T69" fmla="*/ 16 h 59"/>
                <a:gd name="T70" fmla="*/ 84 w 84"/>
                <a:gd name="T71" fmla="*/ 16 h 59"/>
                <a:gd name="T72" fmla="*/ 84 w 84"/>
                <a:gd name="T73" fmla="*/ 16 h 59"/>
                <a:gd name="T74" fmla="*/ 84 w 84"/>
                <a:gd name="T75" fmla="*/ 25 h 59"/>
                <a:gd name="T76" fmla="*/ 84 w 84"/>
                <a:gd name="T77" fmla="*/ 25 h 59"/>
                <a:gd name="T78" fmla="*/ 84 w 84"/>
                <a:gd name="T79" fmla="*/ 25 h 59"/>
                <a:gd name="T80" fmla="*/ 84 w 84"/>
                <a:gd name="T81" fmla="*/ 25 h 59"/>
                <a:gd name="T82" fmla="*/ 75 w 84"/>
                <a:gd name="T83" fmla="*/ 33 h 59"/>
                <a:gd name="T84" fmla="*/ 75 w 84"/>
                <a:gd name="T85" fmla="*/ 33 h 59"/>
                <a:gd name="T86" fmla="*/ 75 w 84"/>
                <a:gd name="T87" fmla="*/ 42 h 59"/>
                <a:gd name="T88" fmla="*/ 75 w 84"/>
                <a:gd name="T89" fmla="*/ 42 h 59"/>
                <a:gd name="T90" fmla="*/ 75 w 84"/>
                <a:gd name="T91" fmla="*/ 50 h 59"/>
                <a:gd name="T92" fmla="*/ 75 w 84"/>
                <a:gd name="T93" fmla="*/ 50 h 59"/>
                <a:gd name="T94" fmla="*/ 75 w 84"/>
                <a:gd name="T95" fmla="*/ 42 h 59"/>
                <a:gd name="T96" fmla="*/ 67 w 84"/>
                <a:gd name="T97" fmla="*/ 42 h 59"/>
                <a:gd name="T98" fmla="*/ 67 w 84"/>
                <a:gd name="T99" fmla="*/ 50 h 59"/>
                <a:gd name="T100" fmla="*/ 67 w 84"/>
                <a:gd name="T101" fmla="*/ 50 h 59"/>
                <a:gd name="T102" fmla="*/ 67 w 84"/>
                <a:gd name="T103" fmla="*/ 59 h 59"/>
                <a:gd name="T104" fmla="*/ 59 w 84"/>
                <a:gd name="T105" fmla="*/ 59 h 59"/>
                <a:gd name="T106" fmla="*/ 59 w 84"/>
                <a:gd name="T107" fmla="*/ 59 h 59"/>
                <a:gd name="T108" fmla="*/ 50 w 84"/>
                <a:gd name="T109" fmla="*/ 59 h 59"/>
                <a:gd name="T110" fmla="*/ 50 w 84"/>
                <a:gd name="T111" fmla="*/ 59 h 59"/>
                <a:gd name="T112" fmla="*/ 42 w 84"/>
                <a:gd name="T113" fmla="*/ 59 h 59"/>
                <a:gd name="T114" fmla="*/ 42 w 84"/>
                <a:gd name="T115" fmla="*/ 59 h 59"/>
                <a:gd name="T116" fmla="*/ 42 w 84"/>
                <a:gd name="T117" fmla="*/ 50 h 59"/>
                <a:gd name="T118" fmla="*/ 42 w 84"/>
                <a:gd name="T119" fmla="*/ 50 h 59"/>
                <a:gd name="T120" fmla="*/ 33 w 84"/>
                <a:gd name="T121" fmla="*/ 42 h 59"/>
                <a:gd name="T122" fmla="*/ 33 w 84"/>
                <a:gd name="T123" fmla="*/ 42 h 59"/>
                <a:gd name="T124" fmla="*/ 25 w 84"/>
                <a:gd name="T125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" h="59">
                  <a:moveTo>
                    <a:pt x="25" y="42"/>
                  </a:moveTo>
                  <a:lnTo>
                    <a:pt x="25" y="33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25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9" name="Freeform 49">
              <a:extLst>
                <a:ext uri="{FF2B5EF4-FFF2-40B4-BE49-F238E27FC236}">
                  <a16:creationId xmlns:a16="http://schemas.microsoft.com/office/drawing/2014/main" id="{E1E1C273-E79B-4C42-89F0-3107A11E9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198" y="3717092"/>
              <a:ext cx="176801" cy="136992"/>
            </a:xfrm>
            <a:custGeom>
              <a:avLst/>
              <a:gdLst>
                <a:gd name="T0" fmla="*/ 8 w 151"/>
                <a:gd name="T1" fmla="*/ 59 h 117"/>
                <a:gd name="T2" fmla="*/ 17 w 151"/>
                <a:gd name="T3" fmla="*/ 59 h 117"/>
                <a:gd name="T4" fmla="*/ 25 w 151"/>
                <a:gd name="T5" fmla="*/ 59 h 117"/>
                <a:gd name="T6" fmla="*/ 25 w 151"/>
                <a:gd name="T7" fmla="*/ 50 h 117"/>
                <a:gd name="T8" fmla="*/ 33 w 151"/>
                <a:gd name="T9" fmla="*/ 42 h 117"/>
                <a:gd name="T10" fmla="*/ 33 w 151"/>
                <a:gd name="T11" fmla="*/ 50 h 117"/>
                <a:gd name="T12" fmla="*/ 33 w 151"/>
                <a:gd name="T13" fmla="*/ 42 h 117"/>
                <a:gd name="T14" fmla="*/ 33 w 151"/>
                <a:gd name="T15" fmla="*/ 33 h 117"/>
                <a:gd name="T16" fmla="*/ 42 w 151"/>
                <a:gd name="T17" fmla="*/ 25 h 117"/>
                <a:gd name="T18" fmla="*/ 42 w 151"/>
                <a:gd name="T19" fmla="*/ 25 h 117"/>
                <a:gd name="T20" fmla="*/ 50 w 151"/>
                <a:gd name="T21" fmla="*/ 16 h 117"/>
                <a:gd name="T22" fmla="*/ 59 w 151"/>
                <a:gd name="T23" fmla="*/ 8 h 117"/>
                <a:gd name="T24" fmla="*/ 67 w 151"/>
                <a:gd name="T25" fmla="*/ 0 h 117"/>
                <a:gd name="T26" fmla="*/ 67 w 151"/>
                <a:gd name="T27" fmla="*/ 0 h 117"/>
                <a:gd name="T28" fmla="*/ 76 w 151"/>
                <a:gd name="T29" fmla="*/ 8 h 117"/>
                <a:gd name="T30" fmla="*/ 84 w 151"/>
                <a:gd name="T31" fmla="*/ 8 h 117"/>
                <a:gd name="T32" fmla="*/ 92 w 151"/>
                <a:gd name="T33" fmla="*/ 8 h 117"/>
                <a:gd name="T34" fmla="*/ 101 w 151"/>
                <a:gd name="T35" fmla="*/ 8 h 117"/>
                <a:gd name="T36" fmla="*/ 109 w 151"/>
                <a:gd name="T37" fmla="*/ 8 h 117"/>
                <a:gd name="T38" fmla="*/ 109 w 151"/>
                <a:gd name="T39" fmla="*/ 16 h 117"/>
                <a:gd name="T40" fmla="*/ 118 w 151"/>
                <a:gd name="T41" fmla="*/ 25 h 117"/>
                <a:gd name="T42" fmla="*/ 118 w 151"/>
                <a:gd name="T43" fmla="*/ 42 h 117"/>
                <a:gd name="T44" fmla="*/ 126 w 151"/>
                <a:gd name="T45" fmla="*/ 50 h 117"/>
                <a:gd name="T46" fmla="*/ 134 w 151"/>
                <a:gd name="T47" fmla="*/ 59 h 117"/>
                <a:gd name="T48" fmla="*/ 143 w 151"/>
                <a:gd name="T49" fmla="*/ 67 h 117"/>
                <a:gd name="T50" fmla="*/ 143 w 151"/>
                <a:gd name="T51" fmla="*/ 67 h 117"/>
                <a:gd name="T52" fmla="*/ 134 w 151"/>
                <a:gd name="T53" fmla="*/ 75 h 117"/>
                <a:gd name="T54" fmla="*/ 126 w 151"/>
                <a:gd name="T55" fmla="*/ 75 h 117"/>
                <a:gd name="T56" fmla="*/ 134 w 151"/>
                <a:gd name="T57" fmla="*/ 84 h 117"/>
                <a:gd name="T58" fmla="*/ 134 w 151"/>
                <a:gd name="T59" fmla="*/ 92 h 117"/>
                <a:gd name="T60" fmla="*/ 134 w 151"/>
                <a:gd name="T61" fmla="*/ 101 h 117"/>
                <a:gd name="T62" fmla="*/ 126 w 151"/>
                <a:gd name="T63" fmla="*/ 101 h 117"/>
                <a:gd name="T64" fmla="*/ 118 w 151"/>
                <a:gd name="T65" fmla="*/ 117 h 117"/>
                <a:gd name="T66" fmla="*/ 109 w 151"/>
                <a:gd name="T67" fmla="*/ 109 h 117"/>
                <a:gd name="T68" fmla="*/ 101 w 151"/>
                <a:gd name="T69" fmla="*/ 109 h 117"/>
                <a:gd name="T70" fmla="*/ 101 w 151"/>
                <a:gd name="T71" fmla="*/ 117 h 117"/>
                <a:gd name="T72" fmla="*/ 92 w 151"/>
                <a:gd name="T73" fmla="*/ 109 h 117"/>
                <a:gd name="T74" fmla="*/ 84 w 151"/>
                <a:gd name="T75" fmla="*/ 117 h 117"/>
                <a:gd name="T76" fmla="*/ 76 w 151"/>
                <a:gd name="T77" fmla="*/ 109 h 117"/>
                <a:gd name="T78" fmla="*/ 76 w 151"/>
                <a:gd name="T79" fmla="*/ 109 h 117"/>
                <a:gd name="T80" fmla="*/ 59 w 151"/>
                <a:gd name="T81" fmla="*/ 109 h 117"/>
                <a:gd name="T82" fmla="*/ 59 w 151"/>
                <a:gd name="T83" fmla="*/ 109 h 117"/>
                <a:gd name="T84" fmla="*/ 42 w 151"/>
                <a:gd name="T85" fmla="*/ 101 h 117"/>
                <a:gd name="T86" fmla="*/ 33 w 151"/>
                <a:gd name="T87" fmla="*/ 109 h 117"/>
                <a:gd name="T88" fmla="*/ 17 w 151"/>
                <a:gd name="T89" fmla="*/ 109 h 117"/>
                <a:gd name="T90" fmla="*/ 8 w 151"/>
                <a:gd name="T91" fmla="*/ 109 h 117"/>
                <a:gd name="T92" fmla="*/ 8 w 151"/>
                <a:gd name="T93" fmla="*/ 109 h 117"/>
                <a:gd name="T94" fmla="*/ 0 w 151"/>
                <a:gd name="T95" fmla="*/ 92 h 117"/>
                <a:gd name="T96" fmla="*/ 8 w 151"/>
                <a:gd name="T97" fmla="*/ 92 h 117"/>
                <a:gd name="T98" fmla="*/ 8 w 151"/>
                <a:gd name="T99" fmla="*/ 75 h 117"/>
                <a:gd name="T100" fmla="*/ 0 w 151"/>
                <a:gd name="T101" fmla="*/ 67 h 117"/>
                <a:gd name="T102" fmla="*/ 0 w 151"/>
                <a:gd name="T103" fmla="*/ 5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1" h="117">
                  <a:moveTo>
                    <a:pt x="0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4" y="50"/>
                  </a:lnTo>
                  <a:lnTo>
                    <a:pt x="134" y="59"/>
                  </a:lnTo>
                  <a:lnTo>
                    <a:pt x="143" y="59"/>
                  </a:lnTo>
                  <a:lnTo>
                    <a:pt x="143" y="67"/>
                  </a:lnTo>
                  <a:lnTo>
                    <a:pt x="151" y="67"/>
                  </a:lnTo>
                  <a:lnTo>
                    <a:pt x="143" y="67"/>
                  </a:lnTo>
                  <a:lnTo>
                    <a:pt x="143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34" y="84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8" y="109"/>
                  </a:lnTo>
                  <a:lnTo>
                    <a:pt x="118" y="117"/>
                  </a:lnTo>
                  <a:lnTo>
                    <a:pt x="118" y="117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1" y="117"/>
                  </a:lnTo>
                  <a:lnTo>
                    <a:pt x="92" y="117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84" y="117"/>
                  </a:lnTo>
                  <a:lnTo>
                    <a:pt x="84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67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50" y="109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1"/>
                  </a:lnTo>
                  <a:lnTo>
                    <a:pt x="0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0" name="Freeform 50">
              <a:extLst>
                <a:ext uri="{FF2B5EF4-FFF2-40B4-BE49-F238E27FC236}">
                  <a16:creationId xmlns:a16="http://schemas.microsoft.com/office/drawing/2014/main" id="{D8DDBFBC-D141-4742-87B3-681966578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9660" y="3824812"/>
              <a:ext cx="334868" cy="207244"/>
            </a:xfrm>
            <a:custGeom>
              <a:avLst/>
              <a:gdLst>
                <a:gd name="T0" fmla="*/ 42 w 286"/>
                <a:gd name="T1" fmla="*/ 17 h 177"/>
                <a:gd name="T2" fmla="*/ 68 w 286"/>
                <a:gd name="T3" fmla="*/ 17 h 177"/>
                <a:gd name="T4" fmla="*/ 85 w 286"/>
                <a:gd name="T5" fmla="*/ 17 h 177"/>
                <a:gd name="T6" fmla="*/ 101 w 286"/>
                <a:gd name="T7" fmla="*/ 17 h 177"/>
                <a:gd name="T8" fmla="*/ 118 w 286"/>
                <a:gd name="T9" fmla="*/ 17 h 177"/>
                <a:gd name="T10" fmla="*/ 135 w 286"/>
                <a:gd name="T11" fmla="*/ 9 h 177"/>
                <a:gd name="T12" fmla="*/ 152 w 286"/>
                <a:gd name="T13" fmla="*/ 0 h 177"/>
                <a:gd name="T14" fmla="*/ 177 w 286"/>
                <a:gd name="T15" fmla="*/ 0 h 177"/>
                <a:gd name="T16" fmla="*/ 202 w 286"/>
                <a:gd name="T17" fmla="*/ 17 h 177"/>
                <a:gd name="T18" fmla="*/ 211 w 286"/>
                <a:gd name="T19" fmla="*/ 42 h 177"/>
                <a:gd name="T20" fmla="*/ 236 w 286"/>
                <a:gd name="T21" fmla="*/ 42 h 177"/>
                <a:gd name="T22" fmla="*/ 253 w 286"/>
                <a:gd name="T23" fmla="*/ 59 h 177"/>
                <a:gd name="T24" fmla="*/ 269 w 286"/>
                <a:gd name="T25" fmla="*/ 59 h 177"/>
                <a:gd name="T26" fmla="*/ 286 w 286"/>
                <a:gd name="T27" fmla="*/ 59 h 177"/>
                <a:gd name="T28" fmla="*/ 286 w 286"/>
                <a:gd name="T29" fmla="*/ 84 h 177"/>
                <a:gd name="T30" fmla="*/ 269 w 286"/>
                <a:gd name="T31" fmla="*/ 101 h 177"/>
                <a:gd name="T32" fmla="*/ 261 w 286"/>
                <a:gd name="T33" fmla="*/ 118 h 177"/>
                <a:gd name="T34" fmla="*/ 244 w 286"/>
                <a:gd name="T35" fmla="*/ 126 h 177"/>
                <a:gd name="T36" fmla="*/ 236 w 286"/>
                <a:gd name="T37" fmla="*/ 126 h 177"/>
                <a:gd name="T38" fmla="*/ 219 w 286"/>
                <a:gd name="T39" fmla="*/ 126 h 177"/>
                <a:gd name="T40" fmla="*/ 219 w 286"/>
                <a:gd name="T41" fmla="*/ 143 h 177"/>
                <a:gd name="T42" fmla="*/ 219 w 286"/>
                <a:gd name="T43" fmla="*/ 135 h 177"/>
                <a:gd name="T44" fmla="*/ 202 w 286"/>
                <a:gd name="T45" fmla="*/ 143 h 177"/>
                <a:gd name="T46" fmla="*/ 194 w 286"/>
                <a:gd name="T47" fmla="*/ 143 h 177"/>
                <a:gd name="T48" fmla="*/ 202 w 286"/>
                <a:gd name="T49" fmla="*/ 152 h 177"/>
                <a:gd name="T50" fmla="*/ 211 w 286"/>
                <a:gd name="T51" fmla="*/ 152 h 177"/>
                <a:gd name="T52" fmla="*/ 219 w 286"/>
                <a:gd name="T53" fmla="*/ 160 h 177"/>
                <a:gd name="T54" fmla="*/ 211 w 286"/>
                <a:gd name="T55" fmla="*/ 143 h 177"/>
                <a:gd name="T56" fmla="*/ 227 w 286"/>
                <a:gd name="T57" fmla="*/ 160 h 177"/>
                <a:gd name="T58" fmla="*/ 236 w 286"/>
                <a:gd name="T59" fmla="*/ 160 h 177"/>
                <a:gd name="T60" fmla="*/ 236 w 286"/>
                <a:gd name="T61" fmla="*/ 168 h 177"/>
                <a:gd name="T62" fmla="*/ 211 w 286"/>
                <a:gd name="T63" fmla="*/ 168 h 177"/>
                <a:gd name="T64" fmla="*/ 194 w 286"/>
                <a:gd name="T65" fmla="*/ 177 h 177"/>
                <a:gd name="T66" fmla="*/ 185 w 286"/>
                <a:gd name="T67" fmla="*/ 160 h 177"/>
                <a:gd name="T68" fmla="*/ 194 w 286"/>
                <a:gd name="T69" fmla="*/ 152 h 177"/>
                <a:gd name="T70" fmla="*/ 185 w 286"/>
                <a:gd name="T71" fmla="*/ 143 h 177"/>
                <a:gd name="T72" fmla="*/ 169 w 286"/>
                <a:gd name="T73" fmla="*/ 143 h 177"/>
                <a:gd name="T74" fmla="*/ 160 w 286"/>
                <a:gd name="T75" fmla="*/ 135 h 177"/>
                <a:gd name="T76" fmla="*/ 169 w 286"/>
                <a:gd name="T77" fmla="*/ 135 h 177"/>
                <a:gd name="T78" fmla="*/ 160 w 286"/>
                <a:gd name="T79" fmla="*/ 126 h 177"/>
                <a:gd name="T80" fmla="*/ 152 w 286"/>
                <a:gd name="T81" fmla="*/ 135 h 177"/>
                <a:gd name="T82" fmla="*/ 143 w 286"/>
                <a:gd name="T83" fmla="*/ 143 h 177"/>
                <a:gd name="T84" fmla="*/ 127 w 286"/>
                <a:gd name="T85" fmla="*/ 160 h 177"/>
                <a:gd name="T86" fmla="*/ 127 w 286"/>
                <a:gd name="T87" fmla="*/ 160 h 177"/>
                <a:gd name="T88" fmla="*/ 110 w 286"/>
                <a:gd name="T89" fmla="*/ 160 h 177"/>
                <a:gd name="T90" fmla="*/ 110 w 286"/>
                <a:gd name="T91" fmla="*/ 152 h 177"/>
                <a:gd name="T92" fmla="*/ 118 w 286"/>
                <a:gd name="T93" fmla="*/ 135 h 177"/>
                <a:gd name="T94" fmla="*/ 127 w 286"/>
                <a:gd name="T95" fmla="*/ 135 h 177"/>
                <a:gd name="T96" fmla="*/ 118 w 286"/>
                <a:gd name="T97" fmla="*/ 118 h 177"/>
                <a:gd name="T98" fmla="*/ 101 w 286"/>
                <a:gd name="T99" fmla="*/ 101 h 177"/>
                <a:gd name="T100" fmla="*/ 85 w 286"/>
                <a:gd name="T101" fmla="*/ 93 h 177"/>
                <a:gd name="T102" fmla="*/ 76 w 286"/>
                <a:gd name="T103" fmla="*/ 93 h 177"/>
                <a:gd name="T104" fmla="*/ 68 w 286"/>
                <a:gd name="T105" fmla="*/ 101 h 177"/>
                <a:gd name="T106" fmla="*/ 42 w 286"/>
                <a:gd name="T107" fmla="*/ 109 h 177"/>
                <a:gd name="T108" fmla="*/ 26 w 286"/>
                <a:gd name="T109" fmla="*/ 109 h 177"/>
                <a:gd name="T110" fmla="*/ 9 w 286"/>
                <a:gd name="T111" fmla="*/ 101 h 177"/>
                <a:gd name="T112" fmla="*/ 0 w 286"/>
                <a:gd name="T113" fmla="*/ 84 h 177"/>
                <a:gd name="T114" fmla="*/ 17 w 286"/>
                <a:gd name="T115" fmla="*/ 51 h 177"/>
                <a:gd name="T116" fmla="*/ 26 w 286"/>
                <a:gd name="T117" fmla="*/ 42 h 177"/>
                <a:gd name="T118" fmla="*/ 17 w 286"/>
                <a:gd name="T119" fmla="*/ 1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6" h="177">
                  <a:moveTo>
                    <a:pt x="17" y="17"/>
                  </a:moveTo>
                  <a:lnTo>
                    <a:pt x="1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93" y="17"/>
                  </a:lnTo>
                  <a:lnTo>
                    <a:pt x="93" y="25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25"/>
                  </a:lnTo>
                  <a:lnTo>
                    <a:pt x="110" y="25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7" y="17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52" y="9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60" y="0"/>
                  </a:lnTo>
                  <a:lnTo>
                    <a:pt x="169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5" y="9"/>
                  </a:lnTo>
                  <a:lnTo>
                    <a:pt x="185" y="9"/>
                  </a:lnTo>
                  <a:lnTo>
                    <a:pt x="185" y="17"/>
                  </a:lnTo>
                  <a:lnTo>
                    <a:pt x="185" y="25"/>
                  </a:lnTo>
                  <a:lnTo>
                    <a:pt x="202" y="17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34"/>
                  </a:lnTo>
                  <a:lnTo>
                    <a:pt x="211" y="42"/>
                  </a:lnTo>
                  <a:lnTo>
                    <a:pt x="219" y="42"/>
                  </a:lnTo>
                  <a:lnTo>
                    <a:pt x="219" y="42"/>
                  </a:lnTo>
                  <a:lnTo>
                    <a:pt x="227" y="42"/>
                  </a:lnTo>
                  <a:lnTo>
                    <a:pt x="227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44" y="42"/>
                  </a:lnTo>
                  <a:lnTo>
                    <a:pt x="244" y="51"/>
                  </a:lnTo>
                  <a:lnTo>
                    <a:pt x="253" y="51"/>
                  </a:lnTo>
                  <a:lnTo>
                    <a:pt x="253" y="59"/>
                  </a:lnTo>
                  <a:lnTo>
                    <a:pt x="253" y="51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86" y="93"/>
                  </a:lnTo>
                  <a:lnTo>
                    <a:pt x="286" y="101"/>
                  </a:lnTo>
                  <a:lnTo>
                    <a:pt x="278" y="101"/>
                  </a:lnTo>
                  <a:lnTo>
                    <a:pt x="269" y="101"/>
                  </a:lnTo>
                  <a:lnTo>
                    <a:pt x="269" y="109"/>
                  </a:lnTo>
                  <a:lnTo>
                    <a:pt x="269" y="109"/>
                  </a:lnTo>
                  <a:lnTo>
                    <a:pt x="269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53" y="118"/>
                  </a:lnTo>
                  <a:lnTo>
                    <a:pt x="253" y="118"/>
                  </a:lnTo>
                  <a:lnTo>
                    <a:pt x="253" y="118"/>
                  </a:lnTo>
                  <a:lnTo>
                    <a:pt x="244" y="126"/>
                  </a:lnTo>
                  <a:lnTo>
                    <a:pt x="244" y="126"/>
                  </a:lnTo>
                  <a:lnTo>
                    <a:pt x="244" y="126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1" y="135"/>
                  </a:lnTo>
                  <a:lnTo>
                    <a:pt x="211" y="135"/>
                  </a:lnTo>
                  <a:lnTo>
                    <a:pt x="211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202" y="143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1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1" y="160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1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1" y="152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52"/>
                  </a:lnTo>
                  <a:lnTo>
                    <a:pt x="219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27" y="168"/>
                  </a:lnTo>
                  <a:lnTo>
                    <a:pt x="219" y="168"/>
                  </a:lnTo>
                  <a:lnTo>
                    <a:pt x="219" y="168"/>
                  </a:lnTo>
                  <a:lnTo>
                    <a:pt x="211" y="168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85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0" y="143"/>
                  </a:lnTo>
                  <a:lnTo>
                    <a:pt x="169" y="143"/>
                  </a:lnTo>
                  <a:lnTo>
                    <a:pt x="169" y="135"/>
                  </a:lnTo>
                  <a:lnTo>
                    <a:pt x="160" y="135"/>
                  </a:lnTo>
                  <a:lnTo>
                    <a:pt x="152" y="135"/>
                  </a:lnTo>
                  <a:lnTo>
                    <a:pt x="152" y="135"/>
                  </a:lnTo>
                  <a:lnTo>
                    <a:pt x="160" y="135"/>
                  </a:lnTo>
                  <a:lnTo>
                    <a:pt x="160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35"/>
                  </a:lnTo>
                  <a:lnTo>
                    <a:pt x="160" y="135"/>
                  </a:lnTo>
                  <a:lnTo>
                    <a:pt x="152" y="135"/>
                  </a:lnTo>
                  <a:lnTo>
                    <a:pt x="152" y="135"/>
                  </a:lnTo>
                  <a:lnTo>
                    <a:pt x="152" y="126"/>
                  </a:lnTo>
                  <a:lnTo>
                    <a:pt x="152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35" y="143"/>
                  </a:lnTo>
                  <a:lnTo>
                    <a:pt x="135" y="152"/>
                  </a:lnTo>
                  <a:lnTo>
                    <a:pt x="135" y="160"/>
                  </a:lnTo>
                  <a:lnTo>
                    <a:pt x="127" y="160"/>
                  </a:lnTo>
                  <a:lnTo>
                    <a:pt x="127" y="152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01" y="160"/>
                  </a:lnTo>
                  <a:lnTo>
                    <a:pt x="110" y="152"/>
                  </a:lnTo>
                  <a:lnTo>
                    <a:pt x="110" y="160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8" y="152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27" y="135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09"/>
                  </a:lnTo>
                  <a:lnTo>
                    <a:pt x="118" y="101"/>
                  </a:lnTo>
                  <a:lnTo>
                    <a:pt x="110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3" y="101"/>
                  </a:lnTo>
                  <a:lnTo>
                    <a:pt x="93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59" y="101"/>
                  </a:lnTo>
                  <a:lnTo>
                    <a:pt x="51" y="109"/>
                  </a:lnTo>
                  <a:lnTo>
                    <a:pt x="51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9" y="84"/>
                  </a:lnTo>
                  <a:lnTo>
                    <a:pt x="9" y="76"/>
                  </a:lnTo>
                  <a:lnTo>
                    <a:pt x="9" y="67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Freeform 51">
              <a:extLst>
                <a:ext uri="{FF2B5EF4-FFF2-40B4-BE49-F238E27FC236}">
                  <a16:creationId xmlns:a16="http://schemas.microsoft.com/office/drawing/2014/main" id="{DA2C2AC0-8421-441E-AF25-74CDE1362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279" y="3933703"/>
              <a:ext cx="78448" cy="78448"/>
            </a:xfrm>
            <a:custGeom>
              <a:avLst/>
              <a:gdLst>
                <a:gd name="T0" fmla="*/ 0 w 67"/>
                <a:gd name="T1" fmla="*/ 8 h 67"/>
                <a:gd name="T2" fmla="*/ 0 w 67"/>
                <a:gd name="T3" fmla="*/ 8 h 67"/>
                <a:gd name="T4" fmla="*/ 0 w 67"/>
                <a:gd name="T5" fmla="*/ 0 h 67"/>
                <a:gd name="T6" fmla="*/ 0 w 67"/>
                <a:gd name="T7" fmla="*/ 0 h 67"/>
                <a:gd name="T8" fmla="*/ 8 w 67"/>
                <a:gd name="T9" fmla="*/ 0 h 67"/>
                <a:gd name="T10" fmla="*/ 8 w 67"/>
                <a:gd name="T11" fmla="*/ 0 h 67"/>
                <a:gd name="T12" fmla="*/ 8 w 67"/>
                <a:gd name="T13" fmla="*/ 0 h 67"/>
                <a:gd name="T14" fmla="*/ 8 w 67"/>
                <a:gd name="T15" fmla="*/ 0 h 67"/>
                <a:gd name="T16" fmla="*/ 17 w 67"/>
                <a:gd name="T17" fmla="*/ 0 h 67"/>
                <a:gd name="T18" fmla="*/ 17 w 67"/>
                <a:gd name="T19" fmla="*/ 0 h 67"/>
                <a:gd name="T20" fmla="*/ 17 w 67"/>
                <a:gd name="T21" fmla="*/ 0 h 67"/>
                <a:gd name="T22" fmla="*/ 25 w 67"/>
                <a:gd name="T23" fmla="*/ 0 h 67"/>
                <a:gd name="T24" fmla="*/ 25 w 67"/>
                <a:gd name="T25" fmla="*/ 8 h 67"/>
                <a:gd name="T26" fmla="*/ 33 w 67"/>
                <a:gd name="T27" fmla="*/ 8 h 67"/>
                <a:gd name="T28" fmla="*/ 33 w 67"/>
                <a:gd name="T29" fmla="*/ 8 h 67"/>
                <a:gd name="T30" fmla="*/ 33 w 67"/>
                <a:gd name="T31" fmla="*/ 8 h 67"/>
                <a:gd name="T32" fmla="*/ 42 w 67"/>
                <a:gd name="T33" fmla="*/ 8 h 67"/>
                <a:gd name="T34" fmla="*/ 50 w 67"/>
                <a:gd name="T35" fmla="*/ 8 h 67"/>
                <a:gd name="T36" fmla="*/ 50 w 67"/>
                <a:gd name="T37" fmla="*/ 16 h 67"/>
                <a:gd name="T38" fmla="*/ 50 w 67"/>
                <a:gd name="T39" fmla="*/ 25 h 67"/>
                <a:gd name="T40" fmla="*/ 50 w 67"/>
                <a:gd name="T41" fmla="*/ 25 h 67"/>
                <a:gd name="T42" fmla="*/ 50 w 67"/>
                <a:gd name="T43" fmla="*/ 25 h 67"/>
                <a:gd name="T44" fmla="*/ 59 w 67"/>
                <a:gd name="T45" fmla="*/ 33 h 67"/>
                <a:gd name="T46" fmla="*/ 59 w 67"/>
                <a:gd name="T47" fmla="*/ 33 h 67"/>
                <a:gd name="T48" fmla="*/ 59 w 67"/>
                <a:gd name="T49" fmla="*/ 33 h 67"/>
                <a:gd name="T50" fmla="*/ 59 w 67"/>
                <a:gd name="T51" fmla="*/ 42 h 67"/>
                <a:gd name="T52" fmla="*/ 67 w 67"/>
                <a:gd name="T53" fmla="*/ 42 h 67"/>
                <a:gd name="T54" fmla="*/ 59 w 67"/>
                <a:gd name="T55" fmla="*/ 42 h 67"/>
                <a:gd name="T56" fmla="*/ 59 w 67"/>
                <a:gd name="T57" fmla="*/ 42 h 67"/>
                <a:gd name="T58" fmla="*/ 59 w 67"/>
                <a:gd name="T59" fmla="*/ 42 h 67"/>
                <a:gd name="T60" fmla="*/ 50 w 67"/>
                <a:gd name="T61" fmla="*/ 42 h 67"/>
                <a:gd name="T62" fmla="*/ 50 w 67"/>
                <a:gd name="T63" fmla="*/ 42 h 67"/>
                <a:gd name="T64" fmla="*/ 50 w 67"/>
                <a:gd name="T65" fmla="*/ 50 h 67"/>
                <a:gd name="T66" fmla="*/ 50 w 67"/>
                <a:gd name="T67" fmla="*/ 59 h 67"/>
                <a:gd name="T68" fmla="*/ 42 w 67"/>
                <a:gd name="T69" fmla="*/ 59 h 67"/>
                <a:gd name="T70" fmla="*/ 42 w 67"/>
                <a:gd name="T71" fmla="*/ 59 h 67"/>
                <a:gd name="T72" fmla="*/ 42 w 67"/>
                <a:gd name="T73" fmla="*/ 67 h 67"/>
                <a:gd name="T74" fmla="*/ 42 w 67"/>
                <a:gd name="T75" fmla="*/ 59 h 67"/>
                <a:gd name="T76" fmla="*/ 33 w 67"/>
                <a:gd name="T77" fmla="*/ 67 h 67"/>
                <a:gd name="T78" fmla="*/ 33 w 67"/>
                <a:gd name="T79" fmla="*/ 67 h 67"/>
                <a:gd name="T80" fmla="*/ 33 w 67"/>
                <a:gd name="T81" fmla="*/ 59 h 67"/>
                <a:gd name="T82" fmla="*/ 33 w 67"/>
                <a:gd name="T83" fmla="*/ 42 h 67"/>
                <a:gd name="T84" fmla="*/ 33 w 67"/>
                <a:gd name="T85" fmla="*/ 42 h 67"/>
                <a:gd name="T86" fmla="*/ 33 w 67"/>
                <a:gd name="T87" fmla="*/ 33 h 67"/>
                <a:gd name="T88" fmla="*/ 17 w 67"/>
                <a:gd name="T89" fmla="*/ 25 h 67"/>
                <a:gd name="T90" fmla="*/ 17 w 67"/>
                <a:gd name="T91" fmla="*/ 25 h 67"/>
                <a:gd name="T92" fmla="*/ 8 w 67"/>
                <a:gd name="T93" fmla="*/ 16 h 67"/>
                <a:gd name="T94" fmla="*/ 8 w 67"/>
                <a:gd name="T95" fmla="*/ 8 h 67"/>
                <a:gd name="T96" fmla="*/ 0 w 67"/>
                <a:gd name="T97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" h="67">
                  <a:moveTo>
                    <a:pt x="0" y="8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0"/>
                  </a:lnTo>
                  <a:lnTo>
                    <a:pt x="5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16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2" name="Freeform 52">
              <a:extLst>
                <a:ext uri="{FF2B5EF4-FFF2-40B4-BE49-F238E27FC236}">
                  <a16:creationId xmlns:a16="http://schemas.microsoft.com/office/drawing/2014/main" id="{E33572B6-8006-42D4-A282-67114C850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389" y="3943070"/>
              <a:ext cx="177972" cy="118258"/>
            </a:xfrm>
            <a:custGeom>
              <a:avLst/>
              <a:gdLst>
                <a:gd name="T0" fmla="*/ 34 w 152"/>
                <a:gd name="T1" fmla="*/ 0 h 101"/>
                <a:gd name="T2" fmla="*/ 42 w 152"/>
                <a:gd name="T3" fmla="*/ 0 h 101"/>
                <a:gd name="T4" fmla="*/ 51 w 152"/>
                <a:gd name="T5" fmla="*/ 8 h 101"/>
                <a:gd name="T6" fmla="*/ 59 w 152"/>
                <a:gd name="T7" fmla="*/ 8 h 101"/>
                <a:gd name="T8" fmla="*/ 67 w 152"/>
                <a:gd name="T9" fmla="*/ 8 h 101"/>
                <a:gd name="T10" fmla="*/ 76 w 152"/>
                <a:gd name="T11" fmla="*/ 8 h 101"/>
                <a:gd name="T12" fmla="*/ 93 w 152"/>
                <a:gd name="T13" fmla="*/ 0 h 101"/>
                <a:gd name="T14" fmla="*/ 101 w 152"/>
                <a:gd name="T15" fmla="*/ 8 h 101"/>
                <a:gd name="T16" fmla="*/ 110 w 152"/>
                <a:gd name="T17" fmla="*/ 17 h 101"/>
                <a:gd name="T18" fmla="*/ 126 w 152"/>
                <a:gd name="T19" fmla="*/ 34 h 101"/>
                <a:gd name="T20" fmla="*/ 126 w 152"/>
                <a:gd name="T21" fmla="*/ 51 h 101"/>
                <a:gd name="T22" fmla="*/ 135 w 152"/>
                <a:gd name="T23" fmla="*/ 59 h 101"/>
                <a:gd name="T24" fmla="*/ 143 w 152"/>
                <a:gd name="T25" fmla="*/ 59 h 101"/>
                <a:gd name="T26" fmla="*/ 152 w 152"/>
                <a:gd name="T27" fmla="*/ 59 h 101"/>
                <a:gd name="T28" fmla="*/ 152 w 152"/>
                <a:gd name="T29" fmla="*/ 67 h 101"/>
                <a:gd name="T30" fmla="*/ 152 w 152"/>
                <a:gd name="T31" fmla="*/ 67 h 101"/>
                <a:gd name="T32" fmla="*/ 152 w 152"/>
                <a:gd name="T33" fmla="*/ 76 h 101"/>
                <a:gd name="T34" fmla="*/ 143 w 152"/>
                <a:gd name="T35" fmla="*/ 76 h 101"/>
                <a:gd name="T36" fmla="*/ 143 w 152"/>
                <a:gd name="T37" fmla="*/ 84 h 101"/>
                <a:gd name="T38" fmla="*/ 135 w 152"/>
                <a:gd name="T39" fmla="*/ 93 h 101"/>
                <a:gd name="T40" fmla="*/ 135 w 152"/>
                <a:gd name="T41" fmla="*/ 93 h 101"/>
                <a:gd name="T42" fmla="*/ 126 w 152"/>
                <a:gd name="T43" fmla="*/ 93 h 101"/>
                <a:gd name="T44" fmla="*/ 126 w 152"/>
                <a:gd name="T45" fmla="*/ 93 h 101"/>
                <a:gd name="T46" fmla="*/ 110 w 152"/>
                <a:gd name="T47" fmla="*/ 84 h 101"/>
                <a:gd name="T48" fmla="*/ 101 w 152"/>
                <a:gd name="T49" fmla="*/ 93 h 101"/>
                <a:gd name="T50" fmla="*/ 93 w 152"/>
                <a:gd name="T51" fmla="*/ 101 h 101"/>
                <a:gd name="T52" fmla="*/ 84 w 152"/>
                <a:gd name="T53" fmla="*/ 101 h 101"/>
                <a:gd name="T54" fmla="*/ 76 w 152"/>
                <a:gd name="T55" fmla="*/ 93 h 101"/>
                <a:gd name="T56" fmla="*/ 67 w 152"/>
                <a:gd name="T57" fmla="*/ 101 h 101"/>
                <a:gd name="T58" fmla="*/ 59 w 152"/>
                <a:gd name="T59" fmla="*/ 101 h 101"/>
                <a:gd name="T60" fmla="*/ 59 w 152"/>
                <a:gd name="T61" fmla="*/ 93 h 101"/>
                <a:gd name="T62" fmla="*/ 51 w 152"/>
                <a:gd name="T63" fmla="*/ 101 h 101"/>
                <a:gd name="T64" fmla="*/ 42 w 152"/>
                <a:gd name="T65" fmla="*/ 93 h 101"/>
                <a:gd name="T66" fmla="*/ 42 w 152"/>
                <a:gd name="T67" fmla="*/ 93 h 101"/>
                <a:gd name="T68" fmla="*/ 42 w 152"/>
                <a:gd name="T69" fmla="*/ 84 h 101"/>
                <a:gd name="T70" fmla="*/ 42 w 152"/>
                <a:gd name="T71" fmla="*/ 76 h 101"/>
                <a:gd name="T72" fmla="*/ 34 w 152"/>
                <a:gd name="T73" fmla="*/ 84 h 101"/>
                <a:gd name="T74" fmla="*/ 25 w 152"/>
                <a:gd name="T75" fmla="*/ 76 h 101"/>
                <a:gd name="T76" fmla="*/ 17 w 152"/>
                <a:gd name="T77" fmla="*/ 76 h 101"/>
                <a:gd name="T78" fmla="*/ 17 w 152"/>
                <a:gd name="T79" fmla="*/ 67 h 101"/>
                <a:gd name="T80" fmla="*/ 9 w 152"/>
                <a:gd name="T81" fmla="*/ 59 h 101"/>
                <a:gd name="T82" fmla="*/ 0 w 152"/>
                <a:gd name="T83" fmla="*/ 51 h 101"/>
                <a:gd name="T84" fmla="*/ 0 w 152"/>
                <a:gd name="T85" fmla="*/ 51 h 101"/>
                <a:gd name="T86" fmla="*/ 9 w 152"/>
                <a:gd name="T87" fmla="*/ 42 h 101"/>
                <a:gd name="T88" fmla="*/ 9 w 152"/>
                <a:gd name="T89" fmla="*/ 42 h 101"/>
                <a:gd name="T90" fmla="*/ 17 w 152"/>
                <a:gd name="T91" fmla="*/ 34 h 101"/>
                <a:gd name="T92" fmla="*/ 25 w 152"/>
                <a:gd name="T93" fmla="*/ 17 h 101"/>
                <a:gd name="T94" fmla="*/ 34 w 152"/>
                <a:gd name="T95" fmla="*/ 8 h 101"/>
                <a:gd name="T96" fmla="*/ 34 w 152"/>
                <a:gd name="T97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2" h="101">
                  <a:moveTo>
                    <a:pt x="34" y="0"/>
                  </a:move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8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26" y="25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51"/>
                  </a:lnTo>
                  <a:lnTo>
                    <a:pt x="126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52" y="59"/>
                  </a:lnTo>
                  <a:lnTo>
                    <a:pt x="152" y="59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5" y="84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8" y="84"/>
                  </a:lnTo>
                  <a:lnTo>
                    <a:pt x="110" y="84"/>
                  </a:lnTo>
                  <a:lnTo>
                    <a:pt x="110" y="93"/>
                  </a:lnTo>
                  <a:lnTo>
                    <a:pt x="101" y="93"/>
                  </a:lnTo>
                  <a:lnTo>
                    <a:pt x="93" y="93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76" y="93"/>
                  </a:lnTo>
                  <a:lnTo>
                    <a:pt x="76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93"/>
                  </a:lnTo>
                  <a:lnTo>
                    <a:pt x="51" y="93"/>
                  </a:lnTo>
                  <a:lnTo>
                    <a:pt x="51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42" y="76"/>
                  </a:lnTo>
                  <a:lnTo>
                    <a:pt x="34" y="76"/>
                  </a:lnTo>
                  <a:lnTo>
                    <a:pt x="34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8FEE7B67-72B1-49B4-B9F2-1D01CF8F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941" y="3933703"/>
              <a:ext cx="118257" cy="78448"/>
            </a:xfrm>
            <a:custGeom>
              <a:avLst/>
              <a:gdLst>
                <a:gd name="T0" fmla="*/ 67 w 101"/>
                <a:gd name="T1" fmla="*/ 59 h 67"/>
                <a:gd name="T2" fmla="*/ 67 w 101"/>
                <a:gd name="T3" fmla="*/ 50 h 67"/>
                <a:gd name="T4" fmla="*/ 76 w 101"/>
                <a:gd name="T5" fmla="*/ 50 h 67"/>
                <a:gd name="T6" fmla="*/ 76 w 101"/>
                <a:gd name="T7" fmla="*/ 50 h 67"/>
                <a:gd name="T8" fmla="*/ 76 w 101"/>
                <a:gd name="T9" fmla="*/ 50 h 67"/>
                <a:gd name="T10" fmla="*/ 84 w 101"/>
                <a:gd name="T11" fmla="*/ 50 h 67"/>
                <a:gd name="T12" fmla="*/ 84 w 101"/>
                <a:gd name="T13" fmla="*/ 42 h 67"/>
                <a:gd name="T14" fmla="*/ 84 w 101"/>
                <a:gd name="T15" fmla="*/ 33 h 67"/>
                <a:gd name="T16" fmla="*/ 92 w 101"/>
                <a:gd name="T17" fmla="*/ 25 h 67"/>
                <a:gd name="T18" fmla="*/ 92 w 101"/>
                <a:gd name="T19" fmla="*/ 16 h 67"/>
                <a:gd name="T20" fmla="*/ 101 w 101"/>
                <a:gd name="T21" fmla="*/ 16 h 67"/>
                <a:gd name="T22" fmla="*/ 101 w 101"/>
                <a:gd name="T23" fmla="*/ 16 h 67"/>
                <a:gd name="T24" fmla="*/ 101 w 101"/>
                <a:gd name="T25" fmla="*/ 8 h 67"/>
                <a:gd name="T26" fmla="*/ 92 w 101"/>
                <a:gd name="T27" fmla="*/ 8 h 67"/>
                <a:gd name="T28" fmla="*/ 92 w 101"/>
                <a:gd name="T29" fmla="*/ 0 h 67"/>
                <a:gd name="T30" fmla="*/ 84 w 101"/>
                <a:gd name="T31" fmla="*/ 8 h 67"/>
                <a:gd name="T32" fmla="*/ 84 w 101"/>
                <a:gd name="T33" fmla="*/ 0 h 67"/>
                <a:gd name="T34" fmla="*/ 76 w 101"/>
                <a:gd name="T35" fmla="*/ 0 h 67"/>
                <a:gd name="T36" fmla="*/ 67 w 101"/>
                <a:gd name="T37" fmla="*/ 0 h 67"/>
                <a:gd name="T38" fmla="*/ 67 w 101"/>
                <a:gd name="T39" fmla="*/ 0 h 67"/>
                <a:gd name="T40" fmla="*/ 59 w 101"/>
                <a:gd name="T41" fmla="*/ 8 h 67"/>
                <a:gd name="T42" fmla="*/ 59 w 101"/>
                <a:gd name="T43" fmla="*/ 8 h 67"/>
                <a:gd name="T44" fmla="*/ 59 w 101"/>
                <a:gd name="T45" fmla="*/ 16 h 67"/>
                <a:gd name="T46" fmla="*/ 50 w 101"/>
                <a:gd name="T47" fmla="*/ 8 h 67"/>
                <a:gd name="T48" fmla="*/ 50 w 101"/>
                <a:gd name="T49" fmla="*/ 16 h 67"/>
                <a:gd name="T50" fmla="*/ 42 w 101"/>
                <a:gd name="T51" fmla="*/ 16 h 67"/>
                <a:gd name="T52" fmla="*/ 42 w 101"/>
                <a:gd name="T53" fmla="*/ 16 h 67"/>
                <a:gd name="T54" fmla="*/ 34 w 101"/>
                <a:gd name="T55" fmla="*/ 16 h 67"/>
                <a:gd name="T56" fmla="*/ 25 w 101"/>
                <a:gd name="T57" fmla="*/ 16 h 67"/>
                <a:gd name="T58" fmla="*/ 17 w 101"/>
                <a:gd name="T59" fmla="*/ 16 h 67"/>
                <a:gd name="T60" fmla="*/ 8 w 101"/>
                <a:gd name="T61" fmla="*/ 16 h 67"/>
                <a:gd name="T62" fmla="*/ 8 w 101"/>
                <a:gd name="T63" fmla="*/ 16 h 67"/>
                <a:gd name="T64" fmla="*/ 8 w 101"/>
                <a:gd name="T65" fmla="*/ 16 h 67"/>
                <a:gd name="T66" fmla="*/ 8 w 101"/>
                <a:gd name="T67" fmla="*/ 25 h 67"/>
                <a:gd name="T68" fmla="*/ 0 w 101"/>
                <a:gd name="T69" fmla="*/ 25 h 67"/>
                <a:gd name="T70" fmla="*/ 0 w 101"/>
                <a:gd name="T71" fmla="*/ 25 h 67"/>
                <a:gd name="T72" fmla="*/ 0 w 101"/>
                <a:gd name="T73" fmla="*/ 25 h 67"/>
                <a:gd name="T74" fmla="*/ 0 w 101"/>
                <a:gd name="T75" fmla="*/ 33 h 67"/>
                <a:gd name="T76" fmla="*/ 0 w 101"/>
                <a:gd name="T77" fmla="*/ 33 h 67"/>
                <a:gd name="T78" fmla="*/ 0 w 101"/>
                <a:gd name="T79" fmla="*/ 42 h 67"/>
                <a:gd name="T80" fmla="*/ 0 w 101"/>
                <a:gd name="T81" fmla="*/ 42 h 67"/>
                <a:gd name="T82" fmla="*/ 0 w 101"/>
                <a:gd name="T83" fmla="*/ 42 h 67"/>
                <a:gd name="T84" fmla="*/ 8 w 101"/>
                <a:gd name="T85" fmla="*/ 50 h 67"/>
                <a:gd name="T86" fmla="*/ 8 w 101"/>
                <a:gd name="T87" fmla="*/ 50 h 67"/>
                <a:gd name="T88" fmla="*/ 8 w 101"/>
                <a:gd name="T89" fmla="*/ 50 h 67"/>
                <a:gd name="T90" fmla="*/ 17 w 101"/>
                <a:gd name="T91" fmla="*/ 59 h 67"/>
                <a:gd name="T92" fmla="*/ 17 w 101"/>
                <a:gd name="T93" fmla="*/ 59 h 67"/>
                <a:gd name="T94" fmla="*/ 25 w 101"/>
                <a:gd name="T95" fmla="*/ 67 h 67"/>
                <a:gd name="T96" fmla="*/ 34 w 101"/>
                <a:gd name="T97" fmla="*/ 67 h 67"/>
                <a:gd name="T98" fmla="*/ 34 w 101"/>
                <a:gd name="T99" fmla="*/ 67 h 67"/>
                <a:gd name="T100" fmla="*/ 42 w 101"/>
                <a:gd name="T101" fmla="*/ 67 h 67"/>
                <a:gd name="T102" fmla="*/ 42 w 101"/>
                <a:gd name="T103" fmla="*/ 67 h 67"/>
                <a:gd name="T104" fmla="*/ 42 w 101"/>
                <a:gd name="T105" fmla="*/ 59 h 67"/>
                <a:gd name="T106" fmla="*/ 50 w 101"/>
                <a:gd name="T107" fmla="*/ 59 h 67"/>
                <a:gd name="T108" fmla="*/ 50 w 101"/>
                <a:gd name="T109" fmla="*/ 59 h 67"/>
                <a:gd name="T110" fmla="*/ 50 w 101"/>
                <a:gd name="T111" fmla="*/ 59 h 67"/>
                <a:gd name="T112" fmla="*/ 59 w 101"/>
                <a:gd name="T113" fmla="*/ 59 h 67"/>
                <a:gd name="T114" fmla="*/ 59 w 101"/>
                <a:gd name="T115" fmla="*/ 59 h 67"/>
                <a:gd name="T116" fmla="*/ 67 w 101"/>
                <a:gd name="T117" fmla="*/ 59 h 67"/>
                <a:gd name="T118" fmla="*/ 67 w 101"/>
                <a:gd name="T119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1" h="67">
                  <a:moveTo>
                    <a:pt x="67" y="59"/>
                  </a:moveTo>
                  <a:lnTo>
                    <a:pt x="67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33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6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4" y="16"/>
                  </a:lnTo>
                  <a:lnTo>
                    <a:pt x="25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A2187FC5-A5E5-4E94-BA71-AA604CF8C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307" y="3913798"/>
              <a:ext cx="98353" cy="38639"/>
            </a:xfrm>
            <a:custGeom>
              <a:avLst/>
              <a:gdLst>
                <a:gd name="T0" fmla="*/ 0 w 84"/>
                <a:gd name="T1" fmla="*/ 33 h 33"/>
                <a:gd name="T2" fmla="*/ 9 w 84"/>
                <a:gd name="T3" fmla="*/ 33 h 33"/>
                <a:gd name="T4" fmla="*/ 17 w 84"/>
                <a:gd name="T5" fmla="*/ 33 h 33"/>
                <a:gd name="T6" fmla="*/ 26 w 84"/>
                <a:gd name="T7" fmla="*/ 33 h 33"/>
                <a:gd name="T8" fmla="*/ 34 w 84"/>
                <a:gd name="T9" fmla="*/ 33 h 33"/>
                <a:gd name="T10" fmla="*/ 34 w 84"/>
                <a:gd name="T11" fmla="*/ 33 h 33"/>
                <a:gd name="T12" fmla="*/ 42 w 84"/>
                <a:gd name="T13" fmla="*/ 33 h 33"/>
                <a:gd name="T14" fmla="*/ 42 w 84"/>
                <a:gd name="T15" fmla="*/ 25 h 33"/>
                <a:gd name="T16" fmla="*/ 51 w 84"/>
                <a:gd name="T17" fmla="*/ 33 h 33"/>
                <a:gd name="T18" fmla="*/ 51 w 84"/>
                <a:gd name="T19" fmla="*/ 25 h 33"/>
                <a:gd name="T20" fmla="*/ 51 w 84"/>
                <a:gd name="T21" fmla="*/ 25 h 33"/>
                <a:gd name="T22" fmla="*/ 59 w 84"/>
                <a:gd name="T23" fmla="*/ 17 h 33"/>
                <a:gd name="T24" fmla="*/ 59 w 84"/>
                <a:gd name="T25" fmla="*/ 17 h 33"/>
                <a:gd name="T26" fmla="*/ 68 w 84"/>
                <a:gd name="T27" fmla="*/ 17 h 33"/>
                <a:gd name="T28" fmla="*/ 76 w 84"/>
                <a:gd name="T29" fmla="*/ 17 h 33"/>
                <a:gd name="T30" fmla="*/ 76 w 84"/>
                <a:gd name="T31" fmla="*/ 25 h 33"/>
                <a:gd name="T32" fmla="*/ 84 w 84"/>
                <a:gd name="T33" fmla="*/ 17 h 33"/>
                <a:gd name="T34" fmla="*/ 84 w 84"/>
                <a:gd name="T35" fmla="*/ 8 h 33"/>
                <a:gd name="T36" fmla="*/ 84 w 84"/>
                <a:gd name="T37" fmla="*/ 8 h 33"/>
                <a:gd name="T38" fmla="*/ 84 w 84"/>
                <a:gd name="T39" fmla="*/ 8 h 33"/>
                <a:gd name="T40" fmla="*/ 76 w 84"/>
                <a:gd name="T41" fmla="*/ 0 h 33"/>
                <a:gd name="T42" fmla="*/ 76 w 84"/>
                <a:gd name="T43" fmla="*/ 0 h 33"/>
                <a:gd name="T44" fmla="*/ 68 w 84"/>
                <a:gd name="T45" fmla="*/ 0 h 33"/>
                <a:gd name="T46" fmla="*/ 68 w 84"/>
                <a:gd name="T47" fmla="*/ 0 h 33"/>
                <a:gd name="T48" fmla="*/ 68 w 84"/>
                <a:gd name="T49" fmla="*/ 0 h 33"/>
                <a:gd name="T50" fmla="*/ 68 w 84"/>
                <a:gd name="T51" fmla="*/ 0 h 33"/>
                <a:gd name="T52" fmla="*/ 59 w 84"/>
                <a:gd name="T53" fmla="*/ 0 h 33"/>
                <a:gd name="T54" fmla="*/ 59 w 84"/>
                <a:gd name="T55" fmla="*/ 0 h 33"/>
                <a:gd name="T56" fmla="*/ 51 w 84"/>
                <a:gd name="T57" fmla="*/ 0 h 33"/>
                <a:gd name="T58" fmla="*/ 51 w 84"/>
                <a:gd name="T59" fmla="*/ 0 h 33"/>
                <a:gd name="T60" fmla="*/ 51 w 84"/>
                <a:gd name="T61" fmla="*/ 8 h 33"/>
                <a:gd name="T62" fmla="*/ 42 w 84"/>
                <a:gd name="T63" fmla="*/ 8 h 33"/>
                <a:gd name="T64" fmla="*/ 42 w 84"/>
                <a:gd name="T65" fmla="*/ 0 h 33"/>
                <a:gd name="T66" fmla="*/ 42 w 84"/>
                <a:gd name="T67" fmla="*/ 0 h 33"/>
                <a:gd name="T68" fmla="*/ 34 w 84"/>
                <a:gd name="T69" fmla="*/ 0 h 33"/>
                <a:gd name="T70" fmla="*/ 34 w 84"/>
                <a:gd name="T71" fmla="*/ 8 h 33"/>
                <a:gd name="T72" fmla="*/ 26 w 84"/>
                <a:gd name="T73" fmla="*/ 8 h 33"/>
                <a:gd name="T74" fmla="*/ 26 w 84"/>
                <a:gd name="T75" fmla="*/ 8 h 33"/>
                <a:gd name="T76" fmla="*/ 17 w 84"/>
                <a:gd name="T77" fmla="*/ 17 h 33"/>
                <a:gd name="T78" fmla="*/ 9 w 84"/>
                <a:gd name="T79" fmla="*/ 17 h 33"/>
                <a:gd name="T80" fmla="*/ 9 w 84"/>
                <a:gd name="T81" fmla="*/ 17 h 33"/>
                <a:gd name="T82" fmla="*/ 9 w 84"/>
                <a:gd name="T83" fmla="*/ 17 h 33"/>
                <a:gd name="T84" fmla="*/ 0 w 84"/>
                <a:gd name="T85" fmla="*/ 17 h 33"/>
                <a:gd name="T86" fmla="*/ 0 w 84"/>
                <a:gd name="T87" fmla="*/ 17 h 33"/>
                <a:gd name="T88" fmla="*/ 0 w 84"/>
                <a:gd name="T89" fmla="*/ 25 h 33"/>
                <a:gd name="T90" fmla="*/ 0 w 84"/>
                <a:gd name="T9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33">
                  <a:moveTo>
                    <a:pt x="0" y="33"/>
                  </a:moveTo>
                  <a:lnTo>
                    <a:pt x="9" y="33"/>
                  </a:lnTo>
                  <a:lnTo>
                    <a:pt x="17" y="33"/>
                  </a:lnTo>
                  <a:lnTo>
                    <a:pt x="26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51" y="33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76" y="25"/>
                  </a:lnTo>
                  <a:lnTo>
                    <a:pt x="84" y="17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17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1E2CF243-4F1B-43C7-8072-CC4B8DE2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198" y="4041422"/>
              <a:ext cx="127624" cy="78448"/>
            </a:xfrm>
            <a:custGeom>
              <a:avLst/>
              <a:gdLst>
                <a:gd name="T0" fmla="*/ 8 w 109"/>
                <a:gd name="T1" fmla="*/ 9 h 67"/>
                <a:gd name="T2" fmla="*/ 8 w 109"/>
                <a:gd name="T3" fmla="*/ 9 h 67"/>
                <a:gd name="T4" fmla="*/ 17 w 109"/>
                <a:gd name="T5" fmla="*/ 17 h 67"/>
                <a:gd name="T6" fmla="*/ 25 w 109"/>
                <a:gd name="T7" fmla="*/ 9 h 67"/>
                <a:gd name="T8" fmla="*/ 25 w 109"/>
                <a:gd name="T9" fmla="*/ 17 h 67"/>
                <a:gd name="T10" fmla="*/ 33 w 109"/>
                <a:gd name="T11" fmla="*/ 17 h 67"/>
                <a:gd name="T12" fmla="*/ 42 w 109"/>
                <a:gd name="T13" fmla="*/ 9 h 67"/>
                <a:gd name="T14" fmla="*/ 50 w 109"/>
                <a:gd name="T15" fmla="*/ 17 h 67"/>
                <a:gd name="T16" fmla="*/ 59 w 109"/>
                <a:gd name="T17" fmla="*/ 17 h 67"/>
                <a:gd name="T18" fmla="*/ 67 w 109"/>
                <a:gd name="T19" fmla="*/ 9 h 67"/>
                <a:gd name="T20" fmla="*/ 76 w 109"/>
                <a:gd name="T21" fmla="*/ 0 h 67"/>
                <a:gd name="T22" fmla="*/ 92 w 109"/>
                <a:gd name="T23" fmla="*/ 9 h 67"/>
                <a:gd name="T24" fmla="*/ 92 w 109"/>
                <a:gd name="T25" fmla="*/ 9 h 67"/>
                <a:gd name="T26" fmla="*/ 101 w 109"/>
                <a:gd name="T27" fmla="*/ 9 h 67"/>
                <a:gd name="T28" fmla="*/ 109 w 109"/>
                <a:gd name="T29" fmla="*/ 9 h 67"/>
                <a:gd name="T30" fmla="*/ 101 w 109"/>
                <a:gd name="T31" fmla="*/ 17 h 67"/>
                <a:gd name="T32" fmla="*/ 92 w 109"/>
                <a:gd name="T33" fmla="*/ 25 h 67"/>
                <a:gd name="T34" fmla="*/ 92 w 109"/>
                <a:gd name="T35" fmla="*/ 34 h 67"/>
                <a:gd name="T36" fmla="*/ 92 w 109"/>
                <a:gd name="T37" fmla="*/ 42 h 67"/>
                <a:gd name="T38" fmla="*/ 92 w 109"/>
                <a:gd name="T39" fmla="*/ 51 h 67"/>
                <a:gd name="T40" fmla="*/ 101 w 109"/>
                <a:gd name="T41" fmla="*/ 51 h 67"/>
                <a:gd name="T42" fmla="*/ 92 w 109"/>
                <a:gd name="T43" fmla="*/ 51 h 67"/>
                <a:gd name="T44" fmla="*/ 84 w 109"/>
                <a:gd name="T45" fmla="*/ 51 h 67"/>
                <a:gd name="T46" fmla="*/ 76 w 109"/>
                <a:gd name="T47" fmla="*/ 51 h 67"/>
                <a:gd name="T48" fmla="*/ 76 w 109"/>
                <a:gd name="T49" fmla="*/ 51 h 67"/>
                <a:gd name="T50" fmla="*/ 67 w 109"/>
                <a:gd name="T51" fmla="*/ 59 h 67"/>
                <a:gd name="T52" fmla="*/ 67 w 109"/>
                <a:gd name="T53" fmla="*/ 67 h 67"/>
                <a:gd name="T54" fmla="*/ 59 w 109"/>
                <a:gd name="T55" fmla="*/ 67 h 67"/>
                <a:gd name="T56" fmla="*/ 50 w 109"/>
                <a:gd name="T57" fmla="*/ 67 h 67"/>
                <a:gd name="T58" fmla="*/ 50 w 109"/>
                <a:gd name="T59" fmla="*/ 67 h 67"/>
                <a:gd name="T60" fmla="*/ 42 w 109"/>
                <a:gd name="T61" fmla="*/ 67 h 67"/>
                <a:gd name="T62" fmla="*/ 33 w 109"/>
                <a:gd name="T63" fmla="*/ 67 h 67"/>
                <a:gd name="T64" fmla="*/ 25 w 109"/>
                <a:gd name="T65" fmla="*/ 67 h 67"/>
                <a:gd name="T66" fmla="*/ 17 w 109"/>
                <a:gd name="T67" fmla="*/ 67 h 67"/>
                <a:gd name="T68" fmla="*/ 17 w 109"/>
                <a:gd name="T69" fmla="*/ 67 h 67"/>
                <a:gd name="T70" fmla="*/ 17 w 109"/>
                <a:gd name="T71" fmla="*/ 51 h 67"/>
                <a:gd name="T72" fmla="*/ 8 w 109"/>
                <a:gd name="T73" fmla="*/ 42 h 67"/>
                <a:gd name="T74" fmla="*/ 8 w 109"/>
                <a:gd name="T75" fmla="*/ 42 h 67"/>
                <a:gd name="T76" fmla="*/ 8 w 109"/>
                <a:gd name="T77" fmla="*/ 34 h 67"/>
                <a:gd name="T78" fmla="*/ 8 w 109"/>
                <a:gd name="T79" fmla="*/ 25 h 67"/>
                <a:gd name="T80" fmla="*/ 0 w 109"/>
                <a:gd name="T81" fmla="*/ 9 h 67"/>
                <a:gd name="T82" fmla="*/ 8 w 109"/>
                <a:gd name="T8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" h="67">
                  <a:moveTo>
                    <a:pt x="8" y="0"/>
                  </a:move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76" y="9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25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B31496DE-1684-4047-B703-DD2C721C6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926" y="4090599"/>
              <a:ext cx="49176" cy="49176"/>
            </a:xfrm>
            <a:custGeom>
              <a:avLst/>
              <a:gdLst>
                <a:gd name="T0" fmla="*/ 33 w 42"/>
                <a:gd name="T1" fmla="*/ 0 h 42"/>
                <a:gd name="T2" fmla="*/ 42 w 42"/>
                <a:gd name="T3" fmla="*/ 9 h 42"/>
                <a:gd name="T4" fmla="*/ 42 w 42"/>
                <a:gd name="T5" fmla="*/ 17 h 42"/>
                <a:gd name="T6" fmla="*/ 42 w 42"/>
                <a:gd name="T7" fmla="*/ 25 h 42"/>
                <a:gd name="T8" fmla="*/ 42 w 42"/>
                <a:gd name="T9" fmla="*/ 25 h 42"/>
                <a:gd name="T10" fmla="*/ 42 w 42"/>
                <a:gd name="T11" fmla="*/ 25 h 42"/>
                <a:gd name="T12" fmla="*/ 42 w 42"/>
                <a:gd name="T13" fmla="*/ 25 h 42"/>
                <a:gd name="T14" fmla="*/ 33 w 42"/>
                <a:gd name="T15" fmla="*/ 34 h 42"/>
                <a:gd name="T16" fmla="*/ 25 w 42"/>
                <a:gd name="T17" fmla="*/ 34 h 42"/>
                <a:gd name="T18" fmla="*/ 25 w 42"/>
                <a:gd name="T19" fmla="*/ 34 h 42"/>
                <a:gd name="T20" fmla="*/ 25 w 42"/>
                <a:gd name="T21" fmla="*/ 34 h 42"/>
                <a:gd name="T22" fmla="*/ 16 w 42"/>
                <a:gd name="T23" fmla="*/ 34 h 42"/>
                <a:gd name="T24" fmla="*/ 8 w 42"/>
                <a:gd name="T25" fmla="*/ 42 h 42"/>
                <a:gd name="T26" fmla="*/ 8 w 42"/>
                <a:gd name="T27" fmla="*/ 42 h 42"/>
                <a:gd name="T28" fmla="*/ 8 w 42"/>
                <a:gd name="T29" fmla="*/ 34 h 42"/>
                <a:gd name="T30" fmla="*/ 8 w 42"/>
                <a:gd name="T31" fmla="*/ 34 h 42"/>
                <a:gd name="T32" fmla="*/ 0 w 42"/>
                <a:gd name="T33" fmla="*/ 25 h 42"/>
                <a:gd name="T34" fmla="*/ 0 w 42"/>
                <a:gd name="T35" fmla="*/ 25 h 42"/>
                <a:gd name="T36" fmla="*/ 0 w 42"/>
                <a:gd name="T37" fmla="*/ 17 h 42"/>
                <a:gd name="T38" fmla="*/ 0 w 42"/>
                <a:gd name="T39" fmla="*/ 17 h 42"/>
                <a:gd name="T40" fmla="*/ 0 w 42"/>
                <a:gd name="T41" fmla="*/ 17 h 42"/>
                <a:gd name="T42" fmla="*/ 0 w 42"/>
                <a:gd name="T43" fmla="*/ 9 h 42"/>
                <a:gd name="T44" fmla="*/ 8 w 42"/>
                <a:gd name="T45" fmla="*/ 9 h 42"/>
                <a:gd name="T46" fmla="*/ 8 w 42"/>
                <a:gd name="T47" fmla="*/ 9 h 42"/>
                <a:gd name="T48" fmla="*/ 16 w 42"/>
                <a:gd name="T49" fmla="*/ 9 h 42"/>
                <a:gd name="T50" fmla="*/ 25 w 42"/>
                <a:gd name="T51" fmla="*/ 9 h 42"/>
                <a:gd name="T52" fmla="*/ 25 w 42"/>
                <a:gd name="T53" fmla="*/ 9 h 42"/>
                <a:gd name="T54" fmla="*/ 25 w 42"/>
                <a:gd name="T55" fmla="*/ 0 h 42"/>
                <a:gd name="T56" fmla="*/ 33 w 42"/>
                <a:gd name="T5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42">
                  <a:moveTo>
                    <a:pt x="33" y="0"/>
                  </a:moveTo>
                  <a:lnTo>
                    <a:pt x="42" y="9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6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2C84AC4E-AFEF-4FD1-949C-7E3784966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484" y="4090599"/>
              <a:ext cx="39809" cy="69081"/>
            </a:xfrm>
            <a:custGeom>
              <a:avLst/>
              <a:gdLst>
                <a:gd name="T0" fmla="*/ 26 w 34"/>
                <a:gd name="T1" fmla="*/ 17 h 59"/>
                <a:gd name="T2" fmla="*/ 26 w 34"/>
                <a:gd name="T3" fmla="*/ 25 h 59"/>
                <a:gd name="T4" fmla="*/ 26 w 34"/>
                <a:gd name="T5" fmla="*/ 25 h 59"/>
                <a:gd name="T6" fmla="*/ 34 w 34"/>
                <a:gd name="T7" fmla="*/ 34 h 59"/>
                <a:gd name="T8" fmla="*/ 34 w 34"/>
                <a:gd name="T9" fmla="*/ 34 h 59"/>
                <a:gd name="T10" fmla="*/ 34 w 34"/>
                <a:gd name="T11" fmla="*/ 42 h 59"/>
                <a:gd name="T12" fmla="*/ 34 w 34"/>
                <a:gd name="T13" fmla="*/ 42 h 59"/>
                <a:gd name="T14" fmla="*/ 34 w 34"/>
                <a:gd name="T15" fmla="*/ 51 h 59"/>
                <a:gd name="T16" fmla="*/ 26 w 34"/>
                <a:gd name="T17" fmla="*/ 51 h 59"/>
                <a:gd name="T18" fmla="*/ 26 w 34"/>
                <a:gd name="T19" fmla="*/ 59 h 59"/>
                <a:gd name="T20" fmla="*/ 26 w 34"/>
                <a:gd name="T21" fmla="*/ 59 h 59"/>
                <a:gd name="T22" fmla="*/ 17 w 34"/>
                <a:gd name="T23" fmla="*/ 59 h 59"/>
                <a:gd name="T24" fmla="*/ 17 w 34"/>
                <a:gd name="T25" fmla="*/ 59 h 59"/>
                <a:gd name="T26" fmla="*/ 17 w 34"/>
                <a:gd name="T27" fmla="*/ 51 h 59"/>
                <a:gd name="T28" fmla="*/ 9 w 34"/>
                <a:gd name="T29" fmla="*/ 51 h 59"/>
                <a:gd name="T30" fmla="*/ 9 w 34"/>
                <a:gd name="T31" fmla="*/ 51 h 59"/>
                <a:gd name="T32" fmla="*/ 9 w 34"/>
                <a:gd name="T33" fmla="*/ 42 h 59"/>
                <a:gd name="T34" fmla="*/ 9 w 34"/>
                <a:gd name="T35" fmla="*/ 42 h 59"/>
                <a:gd name="T36" fmla="*/ 9 w 34"/>
                <a:gd name="T37" fmla="*/ 34 h 59"/>
                <a:gd name="T38" fmla="*/ 9 w 34"/>
                <a:gd name="T39" fmla="*/ 34 h 59"/>
                <a:gd name="T40" fmla="*/ 9 w 34"/>
                <a:gd name="T41" fmla="*/ 25 h 59"/>
                <a:gd name="T42" fmla="*/ 9 w 34"/>
                <a:gd name="T43" fmla="*/ 17 h 59"/>
                <a:gd name="T44" fmla="*/ 9 w 34"/>
                <a:gd name="T45" fmla="*/ 17 h 59"/>
                <a:gd name="T46" fmla="*/ 9 w 34"/>
                <a:gd name="T47" fmla="*/ 17 h 59"/>
                <a:gd name="T48" fmla="*/ 0 w 34"/>
                <a:gd name="T49" fmla="*/ 17 h 59"/>
                <a:gd name="T50" fmla="*/ 0 w 34"/>
                <a:gd name="T51" fmla="*/ 9 h 59"/>
                <a:gd name="T52" fmla="*/ 9 w 34"/>
                <a:gd name="T53" fmla="*/ 0 h 59"/>
                <a:gd name="T54" fmla="*/ 9 w 34"/>
                <a:gd name="T55" fmla="*/ 0 h 59"/>
                <a:gd name="T56" fmla="*/ 9 w 34"/>
                <a:gd name="T57" fmla="*/ 0 h 59"/>
                <a:gd name="T58" fmla="*/ 17 w 34"/>
                <a:gd name="T59" fmla="*/ 0 h 59"/>
                <a:gd name="T60" fmla="*/ 17 w 34"/>
                <a:gd name="T61" fmla="*/ 0 h 59"/>
                <a:gd name="T62" fmla="*/ 17 w 34"/>
                <a:gd name="T63" fmla="*/ 0 h 59"/>
                <a:gd name="T64" fmla="*/ 17 w 34"/>
                <a:gd name="T65" fmla="*/ 0 h 59"/>
                <a:gd name="T66" fmla="*/ 17 w 34"/>
                <a:gd name="T67" fmla="*/ 0 h 59"/>
                <a:gd name="T68" fmla="*/ 26 w 34"/>
                <a:gd name="T69" fmla="*/ 0 h 59"/>
                <a:gd name="T70" fmla="*/ 26 w 34"/>
                <a:gd name="T71" fmla="*/ 9 h 59"/>
                <a:gd name="T72" fmla="*/ 26 w 34"/>
                <a:gd name="T73" fmla="*/ 9 h 59"/>
                <a:gd name="T74" fmla="*/ 26 w 34"/>
                <a:gd name="T75" fmla="*/ 17 h 59"/>
                <a:gd name="T76" fmla="*/ 26 w 34"/>
                <a:gd name="T77" fmla="*/ 1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59">
                  <a:moveTo>
                    <a:pt x="26" y="17"/>
                  </a:moveTo>
                  <a:lnTo>
                    <a:pt x="26" y="25"/>
                  </a:lnTo>
                  <a:lnTo>
                    <a:pt x="26" y="25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51"/>
                  </a:lnTo>
                  <a:lnTo>
                    <a:pt x="26" y="51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7"/>
                  </a:lnTo>
                  <a:lnTo>
                    <a:pt x="26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D4C1209D-381E-4213-893B-02572C710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117" y="4002784"/>
              <a:ext cx="88986" cy="107720"/>
            </a:xfrm>
            <a:custGeom>
              <a:avLst/>
              <a:gdLst>
                <a:gd name="T0" fmla="*/ 0 w 76"/>
                <a:gd name="T1" fmla="*/ 0 h 92"/>
                <a:gd name="T2" fmla="*/ 8 w 76"/>
                <a:gd name="T3" fmla="*/ 0 h 92"/>
                <a:gd name="T4" fmla="*/ 17 w 76"/>
                <a:gd name="T5" fmla="*/ 0 h 92"/>
                <a:gd name="T6" fmla="*/ 25 w 76"/>
                <a:gd name="T7" fmla="*/ 0 h 92"/>
                <a:gd name="T8" fmla="*/ 25 w 76"/>
                <a:gd name="T9" fmla="*/ 0 h 92"/>
                <a:gd name="T10" fmla="*/ 34 w 76"/>
                <a:gd name="T11" fmla="*/ 8 h 92"/>
                <a:gd name="T12" fmla="*/ 42 w 76"/>
                <a:gd name="T13" fmla="*/ 16 h 92"/>
                <a:gd name="T14" fmla="*/ 42 w 76"/>
                <a:gd name="T15" fmla="*/ 25 h 92"/>
                <a:gd name="T16" fmla="*/ 50 w 76"/>
                <a:gd name="T17" fmla="*/ 25 h 92"/>
                <a:gd name="T18" fmla="*/ 59 w 76"/>
                <a:gd name="T19" fmla="*/ 33 h 92"/>
                <a:gd name="T20" fmla="*/ 67 w 76"/>
                <a:gd name="T21" fmla="*/ 25 h 92"/>
                <a:gd name="T22" fmla="*/ 67 w 76"/>
                <a:gd name="T23" fmla="*/ 33 h 92"/>
                <a:gd name="T24" fmla="*/ 59 w 76"/>
                <a:gd name="T25" fmla="*/ 42 h 92"/>
                <a:gd name="T26" fmla="*/ 67 w 76"/>
                <a:gd name="T27" fmla="*/ 58 h 92"/>
                <a:gd name="T28" fmla="*/ 67 w 76"/>
                <a:gd name="T29" fmla="*/ 67 h 92"/>
                <a:gd name="T30" fmla="*/ 67 w 76"/>
                <a:gd name="T31" fmla="*/ 75 h 92"/>
                <a:gd name="T32" fmla="*/ 67 w 76"/>
                <a:gd name="T33" fmla="*/ 75 h 92"/>
                <a:gd name="T34" fmla="*/ 59 w 76"/>
                <a:gd name="T35" fmla="*/ 84 h 92"/>
                <a:gd name="T36" fmla="*/ 50 w 76"/>
                <a:gd name="T37" fmla="*/ 84 h 92"/>
                <a:gd name="T38" fmla="*/ 42 w 76"/>
                <a:gd name="T39" fmla="*/ 84 h 92"/>
                <a:gd name="T40" fmla="*/ 34 w 76"/>
                <a:gd name="T41" fmla="*/ 92 h 92"/>
                <a:gd name="T42" fmla="*/ 34 w 76"/>
                <a:gd name="T43" fmla="*/ 92 h 92"/>
                <a:gd name="T44" fmla="*/ 34 w 76"/>
                <a:gd name="T45" fmla="*/ 84 h 92"/>
                <a:gd name="T46" fmla="*/ 25 w 76"/>
                <a:gd name="T47" fmla="*/ 75 h 92"/>
                <a:gd name="T48" fmla="*/ 25 w 76"/>
                <a:gd name="T49" fmla="*/ 75 h 92"/>
                <a:gd name="T50" fmla="*/ 25 w 76"/>
                <a:gd name="T51" fmla="*/ 67 h 92"/>
                <a:gd name="T52" fmla="*/ 25 w 76"/>
                <a:gd name="T53" fmla="*/ 67 h 92"/>
                <a:gd name="T54" fmla="*/ 17 w 76"/>
                <a:gd name="T55" fmla="*/ 58 h 92"/>
                <a:gd name="T56" fmla="*/ 17 w 76"/>
                <a:gd name="T57" fmla="*/ 58 h 92"/>
                <a:gd name="T58" fmla="*/ 8 w 76"/>
                <a:gd name="T59" fmla="*/ 50 h 92"/>
                <a:gd name="T60" fmla="*/ 8 w 76"/>
                <a:gd name="T61" fmla="*/ 42 h 92"/>
                <a:gd name="T62" fmla="*/ 17 w 76"/>
                <a:gd name="T63" fmla="*/ 42 h 92"/>
                <a:gd name="T64" fmla="*/ 8 w 76"/>
                <a:gd name="T65" fmla="*/ 42 h 92"/>
                <a:gd name="T66" fmla="*/ 8 w 76"/>
                <a:gd name="T67" fmla="*/ 33 h 92"/>
                <a:gd name="T68" fmla="*/ 8 w 76"/>
                <a:gd name="T69" fmla="*/ 25 h 92"/>
                <a:gd name="T70" fmla="*/ 8 w 76"/>
                <a:gd name="T71" fmla="*/ 25 h 92"/>
                <a:gd name="T72" fmla="*/ 0 w 76"/>
                <a:gd name="T73" fmla="*/ 25 h 92"/>
                <a:gd name="T74" fmla="*/ 8 w 76"/>
                <a:gd name="T75" fmla="*/ 16 h 92"/>
                <a:gd name="T76" fmla="*/ 8 w 76"/>
                <a:gd name="T77" fmla="*/ 16 h 92"/>
                <a:gd name="T78" fmla="*/ 0 w 76"/>
                <a:gd name="T79" fmla="*/ 16 h 92"/>
                <a:gd name="T80" fmla="*/ 0 w 76"/>
                <a:gd name="T81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92">
                  <a:moveTo>
                    <a:pt x="0" y="8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59" y="33"/>
                  </a:lnTo>
                  <a:lnTo>
                    <a:pt x="67" y="33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67" y="50"/>
                  </a:lnTo>
                  <a:lnTo>
                    <a:pt x="67" y="58"/>
                  </a:lnTo>
                  <a:lnTo>
                    <a:pt x="76" y="58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59" y="75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" name="Freeform 59">
              <a:extLst>
                <a:ext uri="{FF2B5EF4-FFF2-40B4-BE49-F238E27FC236}">
                  <a16:creationId xmlns:a16="http://schemas.microsoft.com/office/drawing/2014/main" id="{F9D0A8F4-4E49-4ABC-80C0-2272FD778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117" y="4061327"/>
              <a:ext cx="29272" cy="49176"/>
            </a:xfrm>
            <a:custGeom>
              <a:avLst/>
              <a:gdLst>
                <a:gd name="T0" fmla="*/ 8 w 25"/>
                <a:gd name="T1" fmla="*/ 42 h 42"/>
                <a:gd name="T2" fmla="*/ 8 w 25"/>
                <a:gd name="T3" fmla="*/ 34 h 42"/>
                <a:gd name="T4" fmla="*/ 17 w 25"/>
                <a:gd name="T5" fmla="*/ 25 h 42"/>
                <a:gd name="T6" fmla="*/ 17 w 25"/>
                <a:gd name="T7" fmla="*/ 25 h 42"/>
                <a:gd name="T8" fmla="*/ 17 w 25"/>
                <a:gd name="T9" fmla="*/ 25 h 42"/>
                <a:gd name="T10" fmla="*/ 25 w 25"/>
                <a:gd name="T11" fmla="*/ 25 h 42"/>
                <a:gd name="T12" fmla="*/ 25 w 25"/>
                <a:gd name="T13" fmla="*/ 25 h 42"/>
                <a:gd name="T14" fmla="*/ 25 w 25"/>
                <a:gd name="T15" fmla="*/ 25 h 42"/>
                <a:gd name="T16" fmla="*/ 25 w 25"/>
                <a:gd name="T17" fmla="*/ 17 h 42"/>
                <a:gd name="T18" fmla="*/ 25 w 25"/>
                <a:gd name="T19" fmla="*/ 17 h 42"/>
                <a:gd name="T20" fmla="*/ 25 w 25"/>
                <a:gd name="T21" fmla="*/ 17 h 42"/>
                <a:gd name="T22" fmla="*/ 17 w 25"/>
                <a:gd name="T23" fmla="*/ 8 h 42"/>
                <a:gd name="T24" fmla="*/ 17 w 25"/>
                <a:gd name="T25" fmla="*/ 8 h 42"/>
                <a:gd name="T26" fmla="*/ 17 w 25"/>
                <a:gd name="T27" fmla="*/ 8 h 42"/>
                <a:gd name="T28" fmla="*/ 17 w 25"/>
                <a:gd name="T29" fmla="*/ 8 h 42"/>
                <a:gd name="T30" fmla="*/ 8 w 25"/>
                <a:gd name="T31" fmla="*/ 0 h 42"/>
                <a:gd name="T32" fmla="*/ 8 w 25"/>
                <a:gd name="T33" fmla="*/ 0 h 42"/>
                <a:gd name="T34" fmla="*/ 8 w 25"/>
                <a:gd name="T35" fmla="*/ 0 h 42"/>
                <a:gd name="T36" fmla="*/ 8 w 25"/>
                <a:gd name="T37" fmla="*/ 0 h 42"/>
                <a:gd name="T38" fmla="*/ 0 w 25"/>
                <a:gd name="T39" fmla="*/ 0 h 42"/>
                <a:gd name="T40" fmla="*/ 0 w 25"/>
                <a:gd name="T41" fmla="*/ 8 h 42"/>
                <a:gd name="T42" fmla="*/ 8 w 25"/>
                <a:gd name="T43" fmla="*/ 8 h 42"/>
                <a:gd name="T44" fmla="*/ 8 w 25"/>
                <a:gd name="T45" fmla="*/ 8 h 42"/>
                <a:gd name="T46" fmla="*/ 0 w 25"/>
                <a:gd name="T47" fmla="*/ 8 h 42"/>
                <a:gd name="T48" fmla="*/ 0 w 25"/>
                <a:gd name="T49" fmla="*/ 8 h 42"/>
                <a:gd name="T50" fmla="*/ 0 w 25"/>
                <a:gd name="T51" fmla="*/ 17 h 42"/>
                <a:gd name="T52" fmla="*/ 0 w 25"/>
                <a:gd name="T53" fmla="*/ 17 h 42"/>
                <a:gd name="T54" fmla="*/ 0 w 25"/>
                <a:gd name="T55" fmla="*/ 25 h 42"/>
                <a:gd name="T56" fmla="*/ 0 w 25"/>
                <a:gd name="T57" fmla="*/ 25 h 42"/>
                <a:gd name="T58" fmla="*/ 0 w 25"/>
                <a:gd name="T59" fmla="*/ 25 h 42"/>
                <a:gd name="T60" fmla="*/ 0 w 25"/>
                <a:gd name="T61" fmla="*/ 25 h 42"/>
                <a:gd name="T62" fmla="*/ 8 w 25"/>
                <a:gd name="T63" fmla="*/ 34 h 42"/>
                <a:gd name="T64" fmla="*/ 8 w 25"/>
                <a:gd name="T65" fmla="*/ 34 h 42"/>
                <a:gd name="T66" fmla="*/ 8 w 25"/>
                <a:gd name="T6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" h="42">
                  <a:moveTo>
                    <a:pt x="8" y="42"/>
                  </a:moveTo>
                  <a:lnTo>
                    <a:pt x="8" y="3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0" name="Freeform 60">
              <a:extLst>
                <a:ext uri="{FF2B5EF4-FFF2-40B4-BE49-F238E27FC236}">
                  <a16:creationId xmlns:a16="http://schemas.microsoft.com/office/drawing/2014/main" id="{36851DAE-C4C7-4740-A063-7582CE6A7A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2764" y="3992246"/>
              <a:ext cx="107720" cy="88986"/>
            </a:xfrm>
            <a:custGeom>
              <a:avLst/>
              <a:gdLst>
                <a:gd name="T0" fmla="*/ 11 w 11"/>
                <a:gd name="T1" fmla="*/ 3 h 9"/>
                <a:gd name="T2" fmla="*/ 11 w 11"/>
                <a:gd name="T3" fmla="*/ 3 h 9"/>
                <a:gd name="T4" fmla="*/ 10 w 11"/>
                <a:gd name="T5" fmla="*/ 2 h 9"/>
                <a:gd name="T6" fmla="*/ 9 w 11"/>
                <a:gd name="T7" fmla="*/ 2 h 9"/>
                <a:gd name="T8" fmla="*/ 7 w 11"/>
                <a:gd name="T9" fmla="*/ 1 h 9"/>
                <a:gd name="T10" fmla="*/ 6 w 11"/>
                <a:gd name="T11" fmla="*/ 0 h 9"/>
                <a:gd name="T12" fmla="*/ 3 w 11"/>
                <a:gd name="T13" fmla="*/ 2 h 9"/>
                <a:gd name="T14" fmla="*/ 2 w 11"/>
                <a:gd name="T15" fmla="*/ 3 h 9"/>
                <a:gd name="T16" fmla="*/ 0 w 11"/>
                <a:gd name="T17" fmla="*/ 3 h 9"/>
                <a:gd name="T18" fmla="*/ 0 w 11"/>
                <a:gd name="T19" fmla="*/ 4 h 9"/>
                <a:gd name="T20" fmla="*/ 0 w 11"/>
                <a:gd name="T21" fmla="*/ 4 h 9"/>
                <a:gd name="T22" fmla="*/ 1 w 11"/>
                <a:gd name="T23" fmla="*/ 3 h 9"/>
                <a:gd name="T24" fmla="*/ 2 w 11"/>
                <a:gd name="T25" fmla="*/ 4 h 9"/>
                <a:gd name="T26" fmla="*/ 3 w 11"/>
                <a:gd name="T27" fmla="*/ 5 h 9"/>
                <a:gd name="T28" fmla="*/ 4 w 11"/>
                <a:gd name="T29" fmla="*/ 6 h 9"/>
                <a:gd name="T30" fmla="*/ 3 w 11"/>
                <a:gd name="T31" fmla="*/ 6 h 9"/>
                <a:gd name="T32" fmla="*/ 5 w 11"/>
                <a:gd name="T33" fmla="*/ 7 h 9"/>
                <a:gd name="T34" fmla="*/ 5 w 11"/>
                <a:gd name="T35" fmla="*/ 8 h 9"/>
                <a:gd name="T36" fmla="*/ 8 w 11"/>
                <a:gd name="T37" fmla="*/ 9 h 9"/>
                <a:gd name="T38" fmla="*/ 7 w 11"/>
                <a:gd name="T39" fmla="*/ 9 h 9"/>
                <a:gd name="T40" fmla="*/ 8 w 11"/>
                <a:gd name="T41" fmla="*/ 9 h 9"/>
                <a:gd name="T42" fmla="*/ 5 w 11"/>
                <a:gd name="T43" fmla="*/ 5 h 9"/>
                <a:gd name="T44" fmla="*/ 5 w 11"/>
                <a:gd name="T45" fmla="*/ 5 h 9"/>
                <a:gd name="T46" fmla="*/ 4 w 11"/>
                <a:gd name="T47" fmla="*/ 4 h 9"/>
                <a:gd name="T48" fmla="*/ 4 w 11"/>
                <a:gd name="T49" fmla="*/ 3 h 9"/>
                <a:gd name="T50" fmla="*/ 5 w 11"/>
                <a:gd name="T51" fmla="*/ 4 h 9"/>
                <a:gd name="T52" fmla="*/ 6 w 11"/>
                <a:gd name="T53" fmla="*/ 3 h 9"/>
                <a:gd name="T54" fmla="*/ 7 w 11"/>
                <a:gd name="T55" fmla="*/ 3 h 9"/>
                <a:gd name="T56" fmla="*/ 7 w 11"/>
                <a:gd name="T57" fmla="*/ 3 h 9"/>
                <a:gd name="T58" fmla="*/ 8 w 11"/>
                <a:gd name="T59" fmla="*/ 3 h 9"/>
                <a:gd name="T60" fmla="*/ 9 w 11"/>
                <a:gd name="T61" fmla="*/ 3 h 9"/>
                <a:gd name="T62" fmla="*/ 10 w 11"/>
                <a:gd name="T63" fmla="*/ 4 h 9"/>
                <a:gd name="T64" fmla="*/ 7 w 11"/>
                <a:gd name="T65" fmla="*/ 9 h 9"/>
                <a:gd name="T66" fmla="*/ 6 w 11"/>
                <a:gd name="T67" fmla="*/ 8 h 9"/>
                <a:gd name="T68" fmla="*/ 6 w 11"/>
                <a:gd name="T69" fmla="*/ 8 h 9"/>
                <a:gd name="T70" fmla="*/ 7 w 11"/>
                <a:gd name="T71" fmla="*/ 8 h 9"/>
                <a:gd name="T72" fmla="*/ 6 w 11"/>
                <a:gd name="T73" fmla="*/ 8 h 9"/>
                <a:gd name="T74" fmla="*/ 3 w 11"/>
                <a:gd name="T75" fmla="*/ 6 h 9"/>
                <a:gd name="T76" fmla="*/ 2 w 11"/>
                <a:gd name="T77" fmla="*/ 5 h 9"/>
                <a:gd name="T78" fmla="*/ 2 w 11"/>
                <a:gd name="T79" fmla="*/ 5 h 9"/>
                <a:gd name="T80" fmla="*/ 3 w 11"/>
                <a:gd name="T81" fmla="*/ 7 h 9"/>
                <a:gd name="T82" fmla="*/ 2 w 11"/>
                <a:gd name="T83" fmla="*/ 5 h 9"/>
                <a:gd name="T84" fmla="*/ 1 w 11"/>
                <a:gd name="T85" fmla="*/ 4 h 9"/>
                <a:gd name="T86" fmla="*/ 2 w 11"/>
                <a:gd name="T87" fmla="*/ 5 h 9"/>
                <a:gd name="T88" fmla="*/ 1 w 11"/>
                <a:gd name="T89" fmla="*/ 4 h 9"/>
                <a:gd name="T90" fmla="*/ 2 w 11"/>
                <a:gd name="T91" fmla="*/ 4 h 9"/>
                <a:gd name="T92" fmla="*/ 1 w 11"/>
                <a:gd name="T9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" h="9"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  <a:moveTo>
                    <a:pt x="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6"/>
                    <a:pt x="2" y="6"/>
                  </a:cubicBezTo>
                  <a:close/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lose/>
                  <a:moveTo>
                    <a:pt x="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2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1" name="Freeform 61">
              <a:extLst>
                <a:ext uri="{FF2B5EF4-FFF2-40B4-BE49-F238E27FC236}">
                  <a16:creationId xmlns:a16="http://schemas.microsoft.com/office/drawing/2014/main" id="{AD3AD3BC-A76B-4969-96C4-B758FB2E8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74" y="4021518"/>
              <a:ext cx="78448" cy="69081"/>
            </a:xfrm>
            <a:custGeom>
              <a:avLst/>
              <a:gdLst>
                <a:gd name="T0" fmla="*/ 33 w 67"/>
                <a:gd name="T1" fmla="*/ 51 h 59"/>
                <a:gd name="T2" fmla="*/ 8 w 67"/>
                <a:gd name="T3" fmla="*/ 26 h 59"/>
                <a:gd name="T4" fmla="*/ 8 w 67"/>
                <a:gd name="T5" fmla="*/ 17 h 59"/>
                <a:gd name="T6" fmla="*/ 8 w 67"/>
                <a:gd name="T7" fmla="*/ 17 h 59"/>
                <a:gd name="T8" fmla="*/ 0 w 67"/>
                <a:gd name="T9" fmla="*/ 9 h 59"/>
                <a:gd name="T10" fmla="*/ 0 w 67"/>
                <a:gd name="T11" fmla="*/ 9 h 59"/>
                <a:gd name="T12" fmla="*/ 0 w 67"/>
                <a:gd name="T13" fmla="*/ 0 h 59"/>
                <a:gd name="T14" fmla="*/ 8 w 67"/>
                <a:gd name="T15" fmla="*/ 9 h 59"/>
                <a:gd name="T16" fmla="*/ 8 w 67"/>
                <a:gd name="T17" fmla="*/ 0 h 59"/>
                <a:gd name="T18" fmla="*/ 16 w 67"/>
                <a:gd name="T19" fmla="*/ 0 h 59"/>
                <a:gd name="T20" fmla="*/ 16 w 67"/>
                <a:gd name="T21" fmla="*/ 0 h 59"/>
                <a:gd name="T22" fmla="*/ 25 w 67"/>
                <a:gd name="T23" fmla="*/ 0 h 59"/>
                <a:gd name="T24" fmla="*/ 25 w 67"/>
                <a:gd name="T25" fmla="*/ 0 h 59"/>
                <a:gd name="T26" fmla="*/ 33 w 67"/>
                <a:gd name="T27" fmla="*/ 0 h 59"/>
                <a:gd name="T28" fmla="*/ 42 w 67"/>
                <a:gd name="T29" fmla="*/ 0 h 59"/>
                <a:gd name="T30" fmla="*/ 42 w 67"/>
                <a:gd name="T31" fmla="*/ 0 h 59"/>
                <a:gd name="T32" fmla="*/ 50 w 67"/>
                <a:gd name="T33" fmla="*/ 9 h 59"/>
                <a:gd name="T34" fmla="*/ 58 w 67"/>
                <a:gd name="T35" fmla="*/ 9 h 59"/>
                <a:gd name="T36" fmla="*/ 58 w 67"/>
                <a:gd name="T37" fmla="*/ 9 h 59"/>
                <a:gd name="T38" fmla="*/ 58 w 67"/>
                <a:gd name="T39" fmla="*/ 17 h 59"/>
                <a:gd name="T40" fmla="*/ 58 w 67"/>
                <a:gd name="T41" fmla="*/ 26 h 59"/>
                <a:gd name="T42" fmla="*/ 67 w 67"/>
                <a:gd name="T43" fmla="*/ 26 h 59"/>
                <a:gd name="T44" fmla="*/ 58 w 67"/>
                <a:gd name="T45" fmla="*/ 26 h 59"/>
                <a:gd name="T46" fmla="*/ 58 w 67"/>
                <a:gd name="T47" fmla="*/ 34 h 59"/>
                <a:gd name="T48" fmla="*/ 58 w 67"/>
                <a:gd name="T49" fmla="*/ 34 h 59"/>
                <a:gd name="T50" fmla="*/ 50 w 67"/>
                <a:gd name="T51" fmla="*/ 34 h 59"/>
                <a:gd name="T52" fmla="*/ 58 w 67"/>
                <a:gd name="T53" fmla="*/ 42 h 59"/>
                <a:gd name="T54" fmla="*/ 50 w 67"/>
                <a:gd name="T55" fmla="*/ 42 h 59"/>
                <a:gd name="T56" fmla="*/ 50 w 67"/>
                <a:gd name="T57" fmla="*/ 51 h 59"/>
                <a:gd name="T58" fmla="*/ 50 w 67"/>
                <a:gd name="T59" fmla="*/ 59 h 59"/>
                <a:gd name="T60" fmla="*/ 42 w 67"/>
                <a:gd name="T61" fmla="*/ 51 h 59"/>
                <a:gd name="T62" fmla="*/ 33 w 67"/>
                <a:gd name="T63" fmla="*/ 51 h 59"/>
                <a:gd name="T64" fmla="*/ 33 w 67"/>
                <a:gd name="T65" fmla="*/ 5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" h="59">
                  <a:moveTo>
                    <a:pt x="33" y="51"/>
                  </a:moveTo>
                  <a:lnTo>
                    <a:pt x="33" y="51"/>
                  </a:lnTo>
                  <a:lnTo>
                    <a:pt x="25" y="34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2" name="Freeform 62">
              <a:extLst>
                <a:ext uri="{FF2B5EF4-FFF2-40B4-BE49-F238E27FC236}">
                  <a16:creationId xmlns:a16="http://schemas.microsoft.com/office/drawing/2014/main" id="{3E1BC3CA-0BDA-4B3A-9616-1056BCD98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3982879"/>
              <a:ext cx="67910" cy="38639"/>
            </a:xfrm>
            <a:custGeom>
              <a:avLst/>
              <a:gdLst>
                <a:gd name="T0" fmla="*/ 8 w 58"/>
                <a:gd name="T1" fmla="*/ 33 h 33"/>
                <a:gd name="T2" fmla="*/ 8 w 58"/>
                <a:gd name="T3" fmla="*/ 33 h 33"/>
                <a:gd name="T4" fmla="*/ 16 w 58"/>
                <a:gd name="T5" fmla="*/ 25 h 33"/>
                <a:gd name="T6" fmla="*/ 16 w 58"/>
                <a:gd name="T7" fmla="*/ 25 h 33"/>
                <a:gd name="T8" fmla="*/ 25 w 58"/>
                <a:gd name="T9" fmla="*/ 33 h 33"/>
                <a:gd name="T10" fmla="*/ 33 w 58"/>
                <a:gd name="T11" fmla="*/ 33 h 33"/>
                <a:gd name="T12" fmla="*/ 33 w 58"/>
                <a:gd name="T13" fmla="*/ 25 h 33"/>
                <a:gd name="T14" fmla="*/ 33 w 58"/>
                <a:gd name="T15" fmla="*/ 25 h 33"/>
                <a:gd name="T16" fmla="*/ 33 w 58"/>
                <a:gd name="T17" fmla="*/ 17 h 33"/>
                <a:gd name="T18" fmla="*/ 50 w 58"/>
                <a:gd name="T19" fmla="*/ 8 h 33"/>
                <a:gd name="T20" fmla="*/ 58 w 58"/>
                <a:gd name="T21" fmla="*/ 8 h 33"/>
                <a:gd name="T22" fmla="*/ 58 w 58"/>
                <a:gd name="T23" fmla="*/ 8 h 33"/>
                <a:gd name="T24" fmla="*/ 50 w 58"/>
                <a:gd name="T25" fmla="*/ 0 h 33"/>
                <a:gd name="T26" fmla="*/ 42 w 58"/>
                <a:gd name="T27" fmla="*/ 0 h 33"/>
                <a:gd name="T28" fmla="*/ 42 w 58"/>
                <a:gd name="T29" fmla="*/ 8 h 33"/>
                <a:gd name="T30" fmla="*/ 33 w 58"/>
                <a:gd name="T31" fmla="*/ 8 h 33"/>
                <a:gd name="T32" fmla="*/ 33 w 58"/>
                <a:gd name="T33" fmla="*/ 8 h 33"/>
                <a:gd name="T34" fmla="*/ 33 w 58"/>
                <a:gd name="T35" fmla="*/ 8 h 33"/>
                <a:gd name="T36" fmla="*/ 25 w 58"/>
                <a:gd name="T37" fmla="*/ 8 h 33"/>
                <a:gd name="T38" fmla="*/ 25 w 58"/>
                <a:gd name="T39" fmla="*/ 8 h 33"/>
                <a:gd name="T40" fmla="*/ 16 w 58"/>
                <a:gd name="T41" fmla="*/ 8 h 33"/>
                <a:gd name="T42" fmla="*/ 8 w 58"/>
                <a:gd name="T43" fmla="*/ 8 h 33"/>
                <a:gd name="T44" fmla="*/ 8 w 58"/>
                <a:gd name="T45" fmla="*/ 8 h 33"/>
                <a:gd name="T46" fmla="*/ 8 w 58"/>
                <a:gd name="T47" fmla="*/ 8 h 33"/>
                <a:gd name="T48" fmla="*/ 8 w 58"/>
                <a:gd name="T49" fmla="*/ 17 h 33"/>
                <a:gd name="T50" fmla="*/ 0 w 58"/>
                <a:gd name="T51" fmla="*/ 17 h 33"/>
                <a:gd name="T52" fmla="*/ 8 w 58"/>
                <a:gd name="T53" fmla="*/ 25 h 33"/>
                <a:gd name="T54" fmla="*/ 8 w 58"/>
                <a:gd name="T55" fmla="*/ 25 h 33"/>
                <a:gd name="T56" fmla="*/ 8 w 58"/>
                <a:gd name="T57" fmla="*/ 25 h 33"/>
                <a:gd name="T58" fmla="*/ 8 w 58"/>
                <a:gd name="T59" fmla="*/ 25 h 33"/>
                <a:gd name="T60" fmla="*/ 8 w 58"/>
                <a:gd name="T61" fmla="*/ 25 h 33"/>
                <a:gd name="T62" fmla="*/ 8 w 58"/>
                <a:gd name="T6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" h="33">
                  <a:moveTo>
                    <a:pt x="8" y="33"/>
                  </a:moveTo>
                  <a:lnTo>
                    <a:pt x="8" y="33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17"/>
                  </a:lnTo>
                  <a:lnTo>
                    <a:pt x="5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3" name="Freeform 63">
              <a:extLst>
                <a:ext uri="{FF2B5EF4-FFF2-40B4-BE49-F238E27FC236}">
                  <a16:creationId xmlns:a16="http://schemas.microsoft.com/office/drawing/2014/main" id="{C99AEEC1-D574-48BD-9009-F2B93884D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3923165"/>
              <a:ext cx="136991" cy="69081"/>
            </a:xfrm>
            <a:custGeom>
              <a:avLst/>
              <a:gdLst>
                <a:gd name="T0" fmla="*/ 67 w 117"/>
                <a:gd name="T1" fmla="*/ 59 h 59"/>
                <a:gd name="T2" fmla="*/ 84 w 117"/>
                <a:gd name="T3" fmla="*/ 59 h 59"/>
                <a:gd name="T4" fmla="*/ 92 w 117"/>
                <a:gd name="T5" fmla="*/ 59 h 59"/>
                <a:gd name="T6" fmla="*/ 92 w 117"/>
                <a:gd name="T7" fmla="*/ 59 h 59"/>
                <a:gd name="T8" fmla="*/ 101 w 117"/>
                <a:gd name="T9" fmla="*/ 51 h 59"/>
                <a:gd name="T10" fmla="*/ 109 w 117"/>
                <a:gd name="T11" fmla="*/ 51 h 59"/>
                <a:gd name="T12" fmla="*/ 109 w 117"/>
                <a:gd name="T13" fmla="*/ 42 h 59"/>
                <a:gd name="T14" fmla="*/ 109 w 117"/>
                <a:gd name="T15" fmla="*/ 34 h 59"/>
                <a:gd name="T16" fmla="*/ 117 w 117"/>
                <a:gd name="T17" fmla="*/ 34 h 59"/>
                <a:gd name="T18" fmla="*/ 117 w 117"/>
                <a:gd name="T19" fmla="*/ 25 h 59"/>
                <a:gd name="T20" fmla="*/ 117 w 117"/>
                <a:gd name="T21" fmla="*/ 9 h 59"/>
                <a:gd name="T22" fmla="*/ 109 w 117"/>
                <a:gd name="T23" fmla="*/ 9 h 59"/>
                <a:gd name="T24" fmla="*/ 101 w 117"/>
                <a:gd name="T25" fmla="*/ 9 h 59"/>
                <a:gd name="T26" fmla="*/ 84 w 117"/>
                <a:gd name="T27" fmla="*/ 0 h 59"/>
                <a:gd name="T28" fmla="*/ 84 w 117"/>
                <a:gd name="T29" fmla="*/ 0 h 59"/>
                <a:gd name="T30" fmla="*/ 75 w 117"/>
                <a:gd name="T31" fmla="*/ 9 h 59"/>
                <a:gd name="T32" fmla="*/ 75 w 117"/>
                <a:gd name="T33" fmla="*/ 9 h 59"/>
                <a:gd name="T34" fmla="*/ 59 w 117"/>
                <a:gd name="T35" fmla="*/ 9 h 59"/>
                <a:gd name="T36" fmla="*/ 59 w 117"/>
                <a:gd name="T37" fmla="*/ 9 h 59"/>
                <a:gd name="T38" fmla="*/ 59 w 117"/>
                <a:gd name="T39" fmla="*/ 17 h 59"/>
                <a:gd name="T40" fmla="*/ 50 w 117"/>
                <a:gd name="T41" fmla="*/ 25 h 59"/>
                <a:gd name="T42" fmla="*/ 50 w 117"/>
                <a:gd name="T43" fmla="*/ 25 h 59"/>
                <a:gd name="T44" fmla="*/ 50 w 117"/>
                <a:gd name="T45" fmla="*/ 34 h 59"/>
                <a:gd name="T46" fmla="*/ 42 w 117"/>
                <a:gd name="T47" fmla="*/ 34 h 59"/>
                <a:gd name="T48" fmla="*/ 33 w 117"/>
                <a:gd name="T49" fmla="*/ 34 h 59"/>
                <a:gd name="T50" fmla="*/ 25 w 117"/>
                <a:gd name="T51" fmla="*/ 34 h 59"/>
                <a:gd name="T52" fmla="*/ 25 w 117"/>
                <a:gd name="T53" fmla="*/ 34 h 59"/>
                <a:gd name="T54" fmla="*/ 17 w 117"/>
                <a:gd name="T55" fmla="*/ 34 h 59"/>
                <a:gd name="T56" fmla="*/ 8 w 117"/>
                <a:gd name="T57" fmla="*/ 34 h 59"/>
                <a:gd name="T58" fmla="*/ 8 w 117"/>
                <a:gd name="T59" fmla="*/ 34 h 59"/>
                <a:gd name="T60" fmla="*/ 0 w 117"/>
                <a:gd name="T61" fmla="*/ 34 h 59"/>
                <a:gd name="T62" fmla="*/ 0 w 117"/>
                <a:gd name="T63" fmla="*/ 34 h 59"/>
                <a:gd name="T64" fmla="*/ 0 w 117"/>
                <a:gd name="T65" fmla="*/ 42 h 59"/>
                <a:gd name="T66" fmla="*/ 0 w 117"/>
                <a:gd name="T67" fmla="*/ 42 h 59"/>
                <a:gd name="T68" fmla="*/ 8 w 117"/>
                <a:gd name="T69" fmla="*/ 42 h 59"/>
                <a:gd name="T70" fmla="*/ 8 w 117"/>
                <a:gd name="T71" fmla="*/ 42 h 59"/>
                <a:gd name="T72" fmla="*/ 17 w 117"/>
                <a:gd name="T73" fmla="*/ 51 h 59"/>
                <a:gd name="T74" fmla="*/ 25 w 117"/>
                <a:gd name="T75" fmla="*/ 51 h 59"/>
                <a:gd name="T76" fmla="*/ 33 w 117"/>
                <a:gd name="T77" fmla="*/ 42 h 59"/>
                <a:gd name="T78" fmla="*/ 42 w 117"/>
                <a:gd name="T79" fmla="*/ 51 h 59"/>
                <a:gd name="T80" fmla="*/ 59 w 117"/>
                <a:gd name="T81" fmla="*/ 59 h 59"/>
                <a:gd name="T82" fmla="*/ 67 w 117"/>
                <a:gd name="T8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7" h="59">
                  <a:moveTo>
                    <a:pt x="67" y="59"/>
                  </a:moveTo>
                  <a:lnTo>
                    <a:pt x="67" y="59"/>
                  </a:lnTo>
                  <a:lnTo>
                    <a:pt x="75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59"/>
                  </a:lnTo>
                  <a:lnTo>
                    <a:pt x="101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7" y="34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92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25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51"/>
                  </a:lnTo>
                  <a:lnTo>
                    <a:pt x="50" y="51"/>
                  </a:lnTo>
                  <a:lnTo>
                    <a:pt x="59" y="59"/>
                  </a:lnTo>
                  <a:lnTo>
                    <a:pt x="67" y="51"/>
                  </a:lnTo>
                  <a:lnTo>
                    <a:pt x="67" y="59"/>
                  </a:lnTo>
                  <a:lnTo>
                    <a:pt x="6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4" name="Freeform 64">
              <a:extLst>
                <a:ext uri="{FF2B5EF4-FFF2-40B4-BE49-F238E27FC236}">
                  <a16:creationId xmlns:a16="http://schemas.microsoft.com/office/drawing/2014/main" id="{555F85FB-0D5F-4A28-ACAE-B48384629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764" y="3755731"/>
              <a:ext cx="187339" cy="167434"/>
            </a:xfrm>
            <a:custGeom>
              <a:avLst/>
              <a:gdLst>
                <a:gd name="T0" fmla="*/ 92 w 160"/>
                <a:gd name="T1" fmla="*/ 143 h 143"/>
                <a:gd name="T2" fmla="*/ 101 w 160"/>
                <a:gd name="T3" fmla="*/ 135 h 143"/>
                <a:gd name="T4" fmla="*/ 109 w 160"/>
                <a:gd name="T5" fmla="*/ 135 h 143"/>
                <a:gd name="T6" fmla="*/ 118 w 160"/>
                <a:gd name="T7" fmla="*/ 135 h 143"/>
                <a:gd name="T8" fmla="*/ 118 w 160"/>
                <a:gd name="T9" fmla="*/ 135 h 143"/>
                <a:gd name="T10" fmla="*/ 126 w 160"/>
                <a:gd name="T11" fmla="*/ 135 h 143"/>
                <a:gd name="T12" fmla="*/ 134 w 160"/>
                <a:gd name="T13" fmla="*/ 143 h 143"/>
                <a:gd name="T14" fmla="*/ 143 w 160"/>
                <a:gd name="T15" fmla="*/ 135 h 143"/>
                <a:gd name="T16" fmla="*/ 151 w 160"/>
                <a:gd name="T17" fmla="*/ 118 h 143"/>
                <a:gd name="T18" fmla="*/ 160 w 160"/>
                <a:gd name="T19" fmla="*/ 110 h 143"/>
                <a:gd name="T20" fmla="*/ 160 w 160"/>
                <a:gd name="T21" fmla="*/ 101 h 143"/>
                <a:gd name="T22" fmla="*/ 160 w 160"/>
                <a:gd name="T23" fmla="*/ 101 h 143"/>
                <a:gd name="T24" fmla="*/ 151 w 160"/>
                <a:gd name="T25" fmla="*/ 93 h 143"/>
                <a:gd name="T26" fmla="*/ 151 w 160"/>
                <a:gd name="T27" fmla="*/ 84 h 143"/>
                <a:gd name="T28" fmla="*/ 151 w 160"/>
                <a:gd name="T29" fmla="*/ 76 h 143"/>
                <a:gd name="T30" fmla="*/ 143 w 160"/>
                <a:gd name="T31" fmla="*/ 59 h 143"/>
                <a:gd name="T32" fmla="*/ 151 w 160"/>
                <a:gd name="T33" fmla="*/ 59 h 143"/>
                <a:gd name="T34" fmla="*/ 151 w 160"/>
                <a:gd name="T35" fmla="*/ 42 h 143"/>
                <a:gd name="T36" fmla="*/ 143 w 160"/>
                <a:gd name="T37" fmla="*/ 34 h 143"/>
                <a:gd name="T38" fmla="*/ 143 w 160"/>
                <a:gd name="T39" fmla="*/ 26 h 143"/>
                <a:gd name="T40" fmla="*/ 143 w 160"/>
                <a:gd name="T41" fmla="*/ 17 h 143"/>
                <a:gd name="T42" fmla="*/ 134 w 160"/>
                <a:gd name="T43" fmla="*/ 9 h 143"/>
                <a:gd name="T44" fmla="*/ 84 w 160"/>
                <a:gd name="T45" fmla="*/ 9 h 143"/>
                <a:gd name="T46" fmla="*/ 76 w 160"/>
                <a:gd name="T47" fmla="*/ 17 h 143"/>
                <a:gd name="T48" fmla="*/ 76 w 160"/>
                <a:gd name="T49" fmla="*/ 17 h 143"/>
                <a:gd name="T50" fmla="*/ 84 w 160"/>
                <a:gd name="T51" fmla="*/ 9 h 143"/>
                <a:gd name="T52" fmla="*/ 76 w 160"/>
                <a:gd name="T53" fmla="*/ 17 h 143"/>
                <a:gd name="T54" fmla="*/ 67 w 160"/>
                <a:gd name="T55" fmla="*/ 17 h 143"/>
                <a:gd name="T56" fmla="*/ 67 w 160"/>
                <a:gd name="T57" fmla="*/ 9 h 143"/>
                <a:gd name="T58" fmla="*/ 67 w 160"/>
                <a:gd name="T59" fmla="*/ 9 h 143"/>
                <a:gd name="T60" fmla="*/ 67 w 160"/>
                <a:gd name="T61" fmla="*/ 9 h 143"/>
                <a:gd name="T62" fmla="*/ 50 w 160"/>
                <a:gd name="T63" fmla="*/ 9 h 143"/>
                <a:gd name="T64" fmla="*/ 42 w 160"/>
                <a:gd name="T65" fmla="*/ 9 h 143"/>
                <a:gd name="T66" fmla="*/ 34 w 160"/>
                <a:gd name="T67" fmla="*/ 9 h 143"/>
                <a:gd name="T68" fmla="*/ 25 w 160"/>
                <a:gd name="T69" fmla="*/ 17 h 143"/>
                <a:gd name="T70" fmla="*/ 17 w 160"/>
                <a:gd name="T71" fmla="*/ 26 h 143"/>
                <a:gd name="T72" fmla="*/ 8 w 160"/>
                <a:gd name="T73" fmla="*/ 26 h 143"/>
                <a:gd name="T74" fmla="*/ 0 w 160"/>
                <a:gd name="T75" fmla="*/ 34 h 143"/>
                <a:gd name="T76" fmla="*/ 0 w 160"/>
                <a:gd name="T77" fmla="*/ 34 h 143"/>
                <a:gd name="T78" fmla="*/ 0 w 160"/>
                <a:gd name="T79" fmla="*/ 51 h 143"/>
                <a:gd name="T80" fmla="*/ 0 w 160"/>
                <a:gd name="T81" fmla="*/ 51 h 143"/>
                <a:gd name="T82" fmla="*/ 0 w 160"/>
                <a:gd name="T83" fmla="*/ 59 h 143"/>
                <a:gd name="T84" fmla="*/ 8 w 160"/>
                <a:gd name="T85" fmla="*/ 68 h 143"/>
                <a:gd name="T86" fmla="*/ 8 w 160"/>
                <a:gd name="T87" fmla="*/ 76 h 143"/>
                <a:gd name="T88" fmla="*/ 8 w 160"/>
                <a:gd name="T89" fmla="*/ 84 h 143"/>
                <a:gd name="T90" fmla="*/ 17 w 160"/>
                <a:gd name="T91" fmla="*/ 93 h 143"/>
                <a:gd name="T92" fmla="*/ 17 w 160"/>
                <a:gd name="T93" fmla="*/ 101 h 143"/>
                <a:gd name="T94" fmla="*/ 17 w 160"/>
                <a:gd name="T95" fmla="*/ 101 h 143"/>
                <a:gd name="T96" fmla="*/ 25 w 160"/>
                <a:gd name="T97" fmla="*/ 101 h 143"/>
                <a:gd name="T98" fmla="*/ 34 w 160"/>
                <a:gd name="T99" fmla="*/ 101 h 143"/>
                <a:gd name="T100" fmla="*/ 34 w 160"/>
                <a:gd name="T101" fmla="*/ 110 h 143"/>
                <a:gd name="T102" fmla="*/ 34 w 160"/>
                <a:gd name="T103" fmla="*/ 110 h 143"/>
                <a:gd name="T104" fmla="*/ 34 w 160"/>
                <a:gd name="T105" fmla="*/ 118 h 143"/>
                <a:gd name="T106" fmla="*/ 42 w 160"/>
                <a:gd name="T107" fmla="*/ 118 h 143"/>
                <a:gd name="T108" fmla="*/ 42 w 160"/>
                <a:gd name="T109" fmla="*/ 110 h 143"/>
                <a:gd name="T110" fmla="*/ 50 w 160"/>
                <a:gd name="T111" fmla="*/ 118 h 143"/>
                <a:gd name="T112" fmla="*/ 50 w 160"/>
                <a:gd name="T113" fmla="*/ 118 h 143"/>
                <a:gd name="T114" fmla="*/ 59 w 160"/>
                <a:gd name="T115" fmla="*/ 118 h 143"/>
                <a:gd name="T116" fmla="*/ 76 w 160"/>
                <a:gd name="T117" fmla="*/ 126 h 143"/>
                <a:gd name="T118" fmla="*/ 84 w 160"/>
                <a:gd name="T119" fmla="*/ 135 h 143"/>
                <a:gd name="T120" fmla="*/ 92 w 160"/>
                <a:gd name="T121" fmla="*/ 135 h 143"/>
                <a:gd name="T122" fmla="*/ 92 w 160"/>
                <a:gd name="T123" fmla="*/ 13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" h="143">
                  <a:moveTo>
                    <a:pt x="92" y="135"/>
                  </a:moveTo>
                  <a:lnTo>
                    <a:pt x="92" y="143"/>
                  </a:lnTo>
                  <a:lnTo>
                    <a:pt x="101" y="143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34" y="143"/>
                  </a:lnTo>
                  <a:lnTo>
                    <a:pt x="143" y="143"/>
                  </a:lnTo>
                  <a:lnTo>
                    <a:pt x="143" y="135"/>
                  </a:lnTo>
                  <a:lnTo>
                    <a:pt x="143" y="126"/>
                  </a:lnTo>
                  <a:lnTo>
                    <a:pt x="151" y="118"/>
                  </a:lnTo>
                  <a:lnTo>
                    <a:pt x="151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60" y="93"/>
                  </a:lnTo>
                  <a:lnTo>
                    <a:pt x="151" y="93"/>
                  </a:lnTo>
                  <a:lnTo>
                    <a:pt x="151" y="93"/>
                  </a:lnTo>
                  <a:lnTo>
                    <a:pt x="151" y="84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43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43" y="34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09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9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7" y="84"/>
                  </a:lnTo>
                  <a:lnTo>
                    <a:pt x="17" y="93"/>
                  </a:lnTo>
                  <a:lnTo>
                    <a:pt x="8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50" y="118"/>
                  </a:lnTo>
                  <a:lnTo>
                    <a:pt x="50" y="110"/>
                  </a:lnTo>
                  <a:lnTo>
                    <a:pt x="50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67" y="118"/>
                  </a:lnTo>
                  <a:lnTo>
                    <a:pt x="76" y="126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5" name="Freeform 65">
              <a:extLst>
                <a:ext uri="{FF2B5EF4-FFF2-40B4-BE49-F238E27FC236}">
                  <a16:creationId xmlns:a16="http://schemas.microsoft.com/office/drawing/2014/main" id="{CFEE6336-AC85-4709-92AA-5AF7875B4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955" y="3873988"/>
              <a:ext cx="147529" cy="59714"/>
            </a:xfrm>
            <a:custGeom>
              <a:avLst/>
              <a:gdLst>
                <a:gd name="T0" fmla="*/ 51 w 126"/>
                <a:gd name="T1" fmla="*/ 0 h 51"/>
                <a:gd name="T2" fmla="*/ 51 w 126"/>
                <a:gd name="T3" fmla="*/ 0 h 51"/>
                <a:gd name="T4" fmla="*/ 59 w 126"/>
                <a:gd name="T5" fmla="*/ 0 h 51"/>
                <a:gd name="T6" fmla="*/ 68 w 126"/>
                <a:gd name="T7" fmla="*/ 0 h 51"/>
                <a:gd name="T8" fmla="*/ 68 w 126"/>
                <a:gd name="T9" fmla="*/ 9 h 51"/>
                <a:gd name="T10" fmla="*/ 68 w 126"/>
                <a:gd name="T11" fmla="*/ 9 h 51"/>
                <a:gd name="T12" fmla="*/ 68 w 126"/>
                <a:gd name="T13" fmla="*/ 17 h 51"/>
                <a:gd name="T14" fmla="*/ 76 w 126"/>
                <a:gd name="T15" fmla="*/ 17 h 51"/>
                <a:gd name="T16" fmla="*/ 76 w 126"/>
                <a:gd name="T17" fmla="*/ 9 h 51"/>
                <a:gd name="T18" fmla="*/ 84 w 126"/>
                <a:gd name="T19" fmla="*/ 17 h 51"/>
                <a:gd name="T20" fmla="*/ 84 w 126"/>
                <a:gd name="T21" fmla="*/ 17 h 51"/>
                <a:gd name="T22" fmla="*/ 93 w 126"/>
                <a:gd name="T23" fmla="*/ 17 h 51"/>
                <a:gd name="T24" fmla="*/ 110 w 126"/>
                <a:gd name="T25" fmla="*/ 25 h 51"/>
                <a:gd name="T26" fmla="*/ 118 w 126"/>
                <a:gd name="T27" fmla="*/ 34 h 51"/>
                <a:gd name="T28" fmla="*/ 126 w 126"/>
                <a:gd name="T29" fmla="*/ 34 h 51"/>
                <a:gd name="T30" fmla="*/ 126 w 126"/>
                <a:gd name="T31" fmla="*/ 34 h 51"/>
                <a:gd name="T32" fmla="*/ 118 w 126"/>
                <a:gd name="T33" fmla="*/ 42 h 51"/>
                <a:gd name="T34" fmla="*/ 110 w 126"/>
                <a:gd name="T35" fmla="*/ 42 h 51"/>
                <a:gd name="T36" fmla="*/ 93 w 126"/>
                <a:gd name="T37" fmla="*/ 51 h 51"/>
                <a:gd name="T38" fmla="*/ 93 w 126"/>
                <a:gd name="T39" fmla="*/ 51 h 51"/>
                <a:gd name="T40" fmla="*/ 76 w 126"/>
                <a:gd name="T41" fmla="*/ 51 h 51"/>
                <a:gd name="T42" fmla="*/ 68 w 126"/>
                <a:gd name="T43" fmla="*/ 51 h 51"/>
                <a:gd name="T44" fmla="*/ 59 w 126"/>
                <a:gd name="T45" fmla="*/ 42 h 51"/>
                <a:gd name="T46" fmla="*/ 51 w 126"/>
                <a:gd name="T47" fmla="*/ 42 h 51"/>
                <a:gd name="T48" fmla="*/ 51 w 126"/>
                <a:gd name="T49" fmla="*/ 51 h 51"/>
                <a:gd name="T50" fmla="*/ 42 w 126"/>
                <a:gd name="T51" fmla="*/ 51 h 51"/>
                <a:gd name="T52" fmla="*/ 34 w 126"/>
                <a:gd name="T53" fmla="*/ 51 h 51"/>
                <a:gd name="T54" fmla="*/ 26 w 126"/>
                <a:gd name="T55" fmla="*/ 51 h 51"/>
                <a:gd name="T56" fmla="*/ 17 w 126"/>
                <a:gd name="T57" fmla="*/ 34 h 51"/>
                <a:gd name="T58" fmla="*/ 9 w 126"/>
                <a:gd name="T59" fmla="*/ 34 h 51"/>
                <a:gd name="T60" fmla="*/ 9 w 126"/>
                <a:gd name="T61" fmla="*/ 25 h 51"/>
                <a:gd name="T62" fmla="*/ 0 w 126"/>
                <a:gd name="T63" fmla="*/ 17 h 51"/>
                <a:gd name="T64" fmla="*/ 0 w 126"/>
                <a:gd name="T65" fmla="*/ 9 h 51"/>
                <a:gd name="T66" fmla="*/ 9 w 126"/>
                <a:gd name="T67" fmla="*/ 17 h 51"/>
                <a:gd name="T68" fmla="*/ 17 w 126"/>
                <a:gd name="T69" fmla="*/ 9 h 51"/>
                <a:gd name="T70" fmla="*/ 26 w 126"/>
                <a:gd name="T71" fmla="*/ 0 h 51"/>
                <a:gd name="T72" fmla="*/ 34 w 126"/>
                <a:gd name="T73" fmla="*/ 0 h 51"/>
                <a:gd name="T74" fmla="*/ 34 w 126"/>
                <a:gd name="T75" fmla="*/ 0 h 51"/>
                <a:gd name="T76" fmla="*/ 42 w 126"/>
                <a:gd name="T77" fmla="*/ 0 h 51"/>
                <a:gd name="T78" fmla="*/ 42 w 126"/>
                <a:gd name="T7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6" h="51">
                  <a:moveTo>
                    <a:pt x="42" y="0"/>
                  </a:move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84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110" y="25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42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1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59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4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17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" name="Freeform 66">
              <a:extLst>
                <a:ext uri="{FF2B5EF4-FFF2-40B4-BE49-F238E27FC236}">
                  <a16:creationId xmlns:a16="http://schemas.microsoft.com/office/drawing/2014/main" id="{D9D21232-DC05-4BD9-B94B-87D96F0CF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755731"/>
              <a:ext cx="176801" cy="207244"/>
            </a:xfrm>
            <a:custGeom>
              <a:avLst/>
              <a:gdLst>
                <a:gd name="T0" fmla="*/ 50 w 151"/>
                <a:gd name="T1" fmla="*/ 9 h 177"/>
                <a:gd name="T2" fmla="*/ 58 w 151"/>
                <a:gd name="T3" fmla="*/ 17 h 177"/>
                <a:gd name="T4" fmla="*/ 67 w 151"/>
                <a:gd name="T5" fmla="*/ 26 h 177"/>
                <a:gd name="T6" fmla="*/ 75 w 151"/>
                <a:gd name="T7" fmla="*/ 17 h 177"/>
                <a:gd name="T8" fmla="*/ 84 w 151"/>
                <a:gd name="T9" fmla="*/ 17 h 177"/>
                <a:gd name="T10" fmla="*/ 75 w 151"/>
                <a:gd name="T11" fmla="*/ 26 h 177"/>
                <a:gd name="T12" fmla="*/ 84 w 151"/>
                <a:gd name="T13" fmla="*/ 26 h 177"/>
                <a:gd name="T14" fmla="*/ 100 w 151"/>
                <a:gd name="T15" fmla="*/ 26 h 177"/>
                <a:gd name="T16" fmla="*/ 100 w 151"/>
                <a:gd name="T17" fmla="*/ 17 h 177"/>
                <a:gd name="T18" fmla="*/ 100 w 151"/>
                <a:gd name="T19" fmla="*/ 17 h 177"/>
                <a:gd name="T20" fmla="*/ 109 w 151"/>
                <a:gd name="T21" fmla="*/ 17 h 177"/>
                <a:gd name="T22" fmla="*/ 117 w 151"/>
                <a:gd name="T23" fmla="*/ 26 h 177"/>
                <a:gd name="T24" fmla="*/ 126 w 151"/>
                <a:gd name="T25" fmla="*/ 34 h 177"/>
                <a:gd name="T26" fmla="*/ 134 w 151"/>
                <a:gd name="T27" fmla="*/ 42 h 177"/>
                <a:gd name="T28" fmla="*/ 134 w 151"/>
                <a:gd name="T29" fmla="*/ 59 h 177"/>
                <a:gd name="T30" fmla="*/ 142 w 151"/>
                <a:gd name="T31" fmla="*/ 76 h 177"/>
                <a:gd name="T32" fmla="*/ 151 w 151"/>
                <a:gd name="T33" fmla="*/ 84 h 177"/>
                <a:gd name="T34" fmla="*/ 142 w 151"/>
                <a:gd name="T35" fmla="*/ 101 h 177"/>
                <a:gd name="T36" fmla="*/ 134 w 151"/>
                <a:gd name="T37" fmla="*/ 101 h 177"/>
                <a:gd name="T38" fmla="*/ 117 w 151"/>
                <a:gd name="T39" fmla="*/ 110 h 177"/>
                <a:gd name="T40" fmla="*/ 100 w 151"/>
                <a:gd name="T41" fmla="*/ 110 h 177"/>
                <a:gd name="T42" fmla="*/ 109 w 151"/>
                <a:gd name="T43" fmla="*/ 126 h 177"/>
                <a:gd name="T44" fmla="*/ 117 w 151"/>
                <a:gd name="T45" fmla="*/ 135 h 177"/>
                <a:gd name="T46" fmla="*/ 126 w 151"/>
                <a:gd name="T47" fmla="*/ 152 h 177"/>
                <a:gd name="T48" fmla="*/ 117 w 151"/>
                <a:gd name="T49" fmla="*/ 168 h 177"/>
                <a:gd name="T50" fmla="*/ 117 w 151"/>
                <a:gd name="T51" fmla="*/ 177 h 177"/>
                <a:gd name="T52" fmla="*/ 100 w 151"/>
                <a:gd name="T53" fmla="*/ 177 h 177"/>
                <a:gd name="T54" fmla="*/ 92 w 151"/>
                <a:gd name="T55" fmla="*/ 177 h 177"/>
                <a:gd name="T56" fmla="*/ 75 w 151"/>
                <a:gd name="T57" fmla="*/ 177 h 177"/>
                <a:gd name="T58" fmla="*/ 67 w 151"/>
                <a:gd name="T59" fmla="*/ 177 h 177"/>
                <a:gd name="T60" fmla="*/ 58 w 151"/>
                <a:gd name="T61" fmla="*/ 177 h 177"/>
                <a:gd name="T62" fmla="*/ 50 w 151"/>
                <a:gd name="T63" fmla="*/ 168 h 177"/>
                <a:gd name="T64" fmla="*/ 42 w 151"/>
                <a:gd name="T65" fmla="*/ 177 h 177"/>
                <a:gd name="T66" fmla="*/ 33 w 151"/>
                <a:gd name="T67" fmla="*/ 168 h 177"/>
                <a:gd name="T68" fmla="*/ 33 w 151"/>
                <a:gd name="T69" fmla="*/ 160 h 177"/>
                <a:gd name="T70" fmla="*/ 33 w 151"/>
                <a:gd name="T71" fmla="*/ 143 h 177"/>
                <a:gd name="T72" fmla="*/ 25 w 151"/>
                <a:gd name="T73" fmla="*/ 143 h 177"/>
                <a:gd name="T74" fmla="*/ 16 w 151"/>
                <a:gd name="T75" fmla="*/ 135 h 177"/>
                <a:gd name="T76" fmla="*/ 8 w 151"/>
                <a:gd name="T77" fmla="*/ 126 h 177"/>
                <a:gd name="T78" fmla="*/ 8 w 151"/>
                <a:gd name="T79" fmla="*/ 110 h 177"/>
                <a:gd name="T80" fmla="*/ 0 w 151"/>
                <a:gd name="T81" fmla="*/ 101 h 177"/>
                <a:gd name="T82" fmla="*/ 0 w 151"/>
                <a:gd name="T83" fmla="*/ 84 h 177"/>
                <a:gd name="T84" fmla="*/ 16 w 151"/>
                <a:gd name="T85" fmla="*/ 76 h 177"/>
                <a:gd name="T86" fmla="*/ 16 w 151"/>
                <a:gd name="T87" fmla="*/ 68 h 177"/>
                <a:gd name="T88" fmla="*/ 16 w 151"/>
                <a:gd name="T89" fmla="*/ 59 h 177"/>
                <a:gd name="T90" fmla="*/ 25 w 151"/>
                <a:gd name="T91" fmla="*/ 59 h 177"/>
                <a:gd name="T92" fmla="*/ 25 w 151"/>
                <a:gd name="T93" fmla="*/ 51 h 177"/>
                <a:gd name="T94" fmla="*/ 16 w 151"/>
                <a:gd name="T95" fmla="*/ 42 h 177"/>
                <a:gd name="T96" fmla="*/ 33 w 151"/>
                <a:gd name="T97" fmla="*/ 34 h 177"/>
                <a:gd name="T98" fmla="*/ 33 w 151"/>
                <a:gd name="T99" fmla="*/ 42 h 177"/>
                <a:gd name="T100" fmla="*/ 42 w 151"/>
                <a:gd name="T101" fmla="*/ 42 h 177"/>
                <a:gd name="T102" fmla="*/ 42 w 151"/>
                <a:gd name="T103" fmla="*/ 34 h 177"/>
                <a:gd name="T104" fmla="*/ 50 w 151"/>
                <a:gd name="T105" fmla="*/ 34 h 177"/>
                <a:gd name="T106" fmla="*/ 50 w 151"/>
                <a:gd name="T107" fmla="*/ 34 h 177"/>
                <a:gd name="T108" fmla="*/ 50 w 151"/>
                <a:gd name="T109" fmla="*/ 26 h 177"/>
                <a:gd name="T110" fmla="*/ 42 w 151"/>
                <a:gd name="T111" fmla="*/ 17 h 177"/>
                <a:gd name="T112" fmla="*/ 42 w 151"/>
                <a:gd name="T113" fmla="*/ 9 h 177"/>
                <a:gd name="T114" fmla="*/ 42 w 151"/>
                <a:gd name="T11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1" h="177">
                  <a:moveTo>
                    <a:pt x="42" y="0"/>
                  </a:moveTo>
                  <a:lnTo>
                    <a:pt x="42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26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26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100" y="26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9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26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7" y="17"/>
                  </a:lnTo>
                  <a:lnTo>
                    <a:pt x="117" y="26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42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51" y="84"/>
                  </a:lnTo>
                  <a:lnTo>
                    <a:pt x="151" y="93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7" y="101"/>
                  </a:lnTo>
                  <a:lnTo>
                    <a:pt x="117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0" y="118"/>
                  </a:lnTo>
                  <a:lnTo>
                    <a:pt x="100" y="110"/>
                  </a:lnTo>
                  <a:lnTo>
                    <a:pt x="100" y="110"/>
                  </a:lnTo>
                  <a:lnTo>
                    <a:pt x="100" y="118"/>
                  </a:lnTo>
                  <a:lnTo>
                    <a:pt x="100" y="118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17" y="135"/>
                  </a:lnTo>
                  <a:lnTo>
                    <a:pt x="126" y="143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60"/>
                  </a:lnTo>
                  <a:lnTo>
                    <a:pt x="117" y="160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09" y="177"/>
                  </a:lnTo>
                  <a:lnTo>
                    <a:pt x="109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68"/>
                  </a:lnTo>
                  <a:lnTo>
                    <a:pt x="42" y="168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2"/>
                  </a:lnTo>
                  <a:lnTo>
                    <a:pt x="33" y="152"/>
                  </a:lnTo>
                  <a:lnTo>
                    <a:pt x="42" y="143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8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3" y="34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8" y="42"/>
                  </a:lnTo>
                  <a:lnTo>
                    <a:pt x="67" y="42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7" name="Freeform 67">
              <a:extLst>
                <a:ext uri="{FF2B5EF4-FFF2-40B4-BE49-F238E27FC236}">
                  <a16:creationId xmlns:a16="http://schemas.microsoft.com/office/drawing/2014/main" id="{C08FA451-89C9-4499-A091-0522F90BF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397234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8" name="Freeform 68">
              <a:extLst>
                <a:ext uri="{FF2B5EF4-FFF2-40B4-BE49-F238E27FC236}">
                  <a16:creationId xmlns:a16="http://schemas.microsoft.com/office/drawing/2014/main" id="{631FB0C0-5E07-43FE-AF3A-085883940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952436"/>
              <a:ext cx="98353" cy="59714"/>
            </a:xfrm>
            <a:custGeom>
              <a:avLst/>
              <a:gdLst>
                <a:gd name="T0" fmla="*/ 33 w 84"/>
                <a:gd name="T1" fmla="*/ 9 h 51"/>
                <a:gd name="T2" fmla="*/ 42 w 84"/>
                <a:gd name="T3" fmla="*/ 9 h 51"/>
                <a:gd name="T4" fmla="*/ 42 w 84"/>
                <a:gd name="T5" fmla="*/ 0 h 51"/>
                <a:gd name="T6" fmla="*/ 50 w 84"/>
                <a:gd name="T7" fmla="*/ 9 h 51"/>
                <a:gd name="T8" fmla="*/ 50 w 84"/>
                <a:gd name="T9" fmla="*/ 9 h 51"/>
                <a:gd name="T10" fmla="*/ 58 w 84"/>
                <a:gd name="T11" fmla="*/ 9 h 51"/>
                <a:gd name="T12" fmla="*/ 67 w 84"/>
                <a:gd name="T13" fmla="*/ 17 h 51"/>
                <a:gd name="T14" fmla="*/ 67 w 84"/>
                <a:gd name="T15" fmla="*/ 17 h 51"/>
                <a:gd name="T16" fmla="*/ 75 w 84"/>
                <a:gd name="T17" fmla="*/ 17 h 51"/>
                <a:gd name="T18" fmla="*/ 75 w 84"/>
                <a:gd name="T19" fmla="*/ 17 h 51"/>
                <a:gd name="T20" fmla="*/ 84 w 84"/>
                <a:gd name="T21" fmla="*/ 26 h 51"/>
                <a:gd name="T22" fmla="*/ 84 w 84"/>
                <a:gd name="T23" fmla="*/ 34 h 51"/>
                <a:gd name="T24" fmla="*/ 75 w 84"/>
                <a:gd name="T25" fmla="*/ 43 h 51"/>
                <a:gd name="T26" fmla="*/ 67 w 84"/>
                <a:gd name="T27" fmla="*/ 34 h 51"/>
                <a:gd name="T28" fmla="*/ 58 w 84"/>
                <a:gd name="T29" fmla="*/ 43 h 51"/>
                <a:gd name="T30" fmla="*/ 58 w 84"/>
                <a:gd name="T31" fmla="*/ 43 h 51"/>
                <a:gd name="T32" fmla="*/ 50 w 84"/>
                <a:gd name="T33" fmla="*/ 34 h 51"/>
                <a:gd name="T34" fmla="*/ 42 w 84"/>
                <a:gd name="T35" fmla="*/ 43 h 51"/>
                <a:gd name="T36" fmla="*/ 25 w 84"/>
                <a:gd name="T37" fmla="*/ 51 h 51"/>
                <a:gd name="T38" fmla="*/ 25 w 84"/>
                <a:gd name="T39" fmla="*/ 43 h 51"/>
                <a:gd name="T40" fmla="*/ 16 w 84"/>
                <a:gd name="T41" fmla="*/ 34 h 51"/>
                <a:gd name="T42" fmla="*/ 16 w 84"/>
                <a:gd name="T43" fmla="*/ 34 h 51"/>
                <a:gd name="T44" fmla="*/ 8 w 84"/>
                <a:gd name="T45" fmla="*/ 43 h 51"/>
                <a:gd name="T46" fmla="*/ 8 w 84"/>
                <a:gd name="T47" fmla="*/ 43 h 51"/>
                <a:gd name="T48" fmla="*/ 8 w 84"/>
                <a:gd name="T49" fmla="*/ 34 h 51"/>
                <a:gd name="T50" fmla="*/ 8 w 84"/>
                <a:gd name="T51" fmla="*/ 34 h 51"/>
                <a:gd name="T52" fmla="*/ 16 w 84"/>
                <a:gd name="T53" fmla="*/ 26 h 51"/>
                <a:gd name="T54" fmla="*/ 16 w 84"/>
                <a:gd name="T55" fmla="*/ 17 h 51"/>
                <a:gd name="T56" fmla="*/ 25 w 84"/>
                <a:gd name="T57" fmla="*/ 9 h 51"/>
                <a:gd name="T58" fmla="*/ 16 w 84"/>
                <a:gd name="T59" fmla="*/ 9 h 51"/>
                <a:gd name="T60" fmla="*/ 25 w 84"/>
                <a:gd name="T61" fmla="*/ 9 h 51"/>
                <a:gd name="T62" fmla="*/ 33 w 84"/>
                <a:gd name="T63" fmla="*/ 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51">
                  <a:moveTo>
                    <a:pt x="33" y="9"/>
                  </a:move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26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75" y="26"/>
                  </a:lnTo>
                  <a:lnTo>
                    <a:pt x="84" y="34"/>
                  </a:lnTo>
                  <a:lnTo>
                    <a:pt x="75" y="34"/>
                  </a:lnTo>
                  <a:lnTo>
                    <a:pt x="75" y="4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8" y="34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0" y="43"/>
                  </a:lnTo>
                  <a:lnTo>
                    <a:pt x="50" y="34"/>
                  </a:lnTo>
                  <a:lnTo>
                    <a:pt x="42" y="34"/>
                  </a:lnTo>
                  <a:lnTo>
                    <a:pt x="42" y="43"/>
                  </a:lnTo>
                  <a:lnTo>
                    <a:pt x="33" y="43"/>
                  </a:lnTo>
                  <a:lnTo>
                    <a:pt x="25" y="51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0" y="4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26"/>
                  </a:lnTo>
                  <a:lnTo>
                    <a:pt x="16" y="26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9" name="Freeform 69">
              <a:extLst>
                <a:ext uri="{FF2B5EF4-FFF2-40B4-BE49-F238E27FC236}">
                  <a16:creationId xmlns:a16="http://schemas.microsoft.com/office/drawing/2014/main" id="{7C510E74-AA77-4CF6-BE60-19654173DF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6692" y="3804907"/>
              <a:ext cx="78448" cy="69081"/>
            </a:xfrm>
            <a:custGeom>
              <a:avLst/>
              <a:gdLst>
                <a:gd name="T0" fmla="*/ 42 w 67"/>
                <a:gd name="T1" fmla="*/ 51 h 59"/>
                <a:gd name="T2" fmla="*/ 42 w 67"/>
                <a:gd name="T3" fmla="*/ 42 h 59"/>
                <a:gd name="T4" fmla="*/ 50 w 67"/>
                <a:gd name="T5" fmla="*/ 34 h 59"/>
                <a:gd name="T6" fmla="*/ 58 w 67"/>
                <a:gd name="T7" fmla="*/ 34 h 59"/>
                <a:gd name="T8" fmla="*/ 58 w 67"/>
                <a:gd name="T9" fmla="*/ 34 h 59"/>
                <a:gd name="T10" fmla="*/ 58 w 67"/>
                <a:gd name="T11" fmla="*/ 26 h 59"/>
                <a:gd name="T12" fmla="*/ 58 w 67"/>
                <a:gd name="T13" fmla="*/ 26 h 59"/>
                <a:gd name="T14" fmla="*/ 58 w 67"/>
                <a:gd name="T15" fmla="*/ 17 h 59"/>
                <a:gd name="T16" fmla="*/ 58 w 67"/>
                <a:gd name="T17" fmla="*/ 17 h 59"/>
                <a:gd name="T18" fmla="*/ 67 w 67"/>
                <a:gd name="T19" fmla="*/ 17 h 59"/>
                <a:gd name="T20" fmla="*/ 67 w 67"/>
                <a:gd name="T21" fmla="*/ 9 h 59"/>
                <a:gd name="T22" fmla="*/ 67 w 67"/>
                <a:gd name="T23" fmla="*/ 9 h 59"/>
                <a:gd name="T24" fmla="*/ 58 w 67"/>
                <a:gd name="T25" fmla="*/ 0 h 59"/>
                <a:gd name="T26" fmla="*/ 50 w 67"/>
                <a:gd name="T27" fmla="*/ 0 h 59"/>
                <a:gd name="T28" fmla="*/ 42 w 67"/>
                <a:gd name="T29" fmla="*/ 0 h 59"/>
                <a:gd name="T30" fmla="*/ 42 w 67"/>
                <a:gd name="T31" fmla="*/ 0 h 59"/>
                <a:gd name="T32" fmla="*/ 25 w 67"/>
                <a:gd name="T33" fmla="*/ 9 h 59"/>
                <a:gd name="T34" fmla="*/ 25 w 67"/>
                <a:gd name="T35" fmla="*/ 9 h 59"/>
                <a:gd name="T36" fmla="*/ 16 w 67"/>
                <a:gd name="T37" fmla="*/ 17 h 59"/>
                <a:gd name="T38" fmla="*/ 16 w 67"/>
                <a:gd name="T39" fmla="*/ 26 h 59"/>
                <a:gd name="T40" fmla="*/ 16 w 67"/>
                <a:gd name="T41" fmla="*/ 34 h 59"/>
                <a:gd name="T42" fmla="*/ 16 w 67"/>
                <a:gd name="T43" fmla="*/ 34 h 59"/>
                <a:gd name="T44" fmla="*/ 25 w 67"/>
                <a:gd name="T45" fmla="*/ 42 h 59"/>
                <a:gd name="T46" fmla="*/ 16 w 67"/>
                <a:gd name="T47" fmla="*/ 42 h 59"/>
                <a:gd name="T48" fmla="*/ 16 w 67"/>
                <a:gd name="T49" fmla="*/ 42 h 59"/>
                <a:gd name="T50" fmla="*/ 16 w 67"/>
                <a:gd name="T51" fmla="*/ 51 h 59"/>
                <a:gd name="T52" fmla="*/ 8 w 67"/>
                <a:gd name="T53" fmla="*/ 42 h 59"/>
                <a:gd name="T54" fmla="*/ 8 w 67"/>
                <a:gd name="T55" fmla="*/ 42 h 59"/>
                <a:gd name="T56" fmla="*/ 8 w 67"/>
                <a:gd name="T57" fmla="*/ 51 h 59"/>
                <a:gd name="T58" fmla="*/ 16 w 67"/>
                <a:gd name="T59" fmla="*/ 51 h 59"/>
                <a:gd name="T60" fmla="*/ 16 w 67"/>
                <a:gd name="T61" fmla="*/ 51 h 59"/>
                <a:gd name="T62" fmla="*/ 8 w 67"/>
                <a:gd name="T63" fmla="*/ 51 h 59"/>
                <a:gd name="T64" fmla="*/ 0 w 67"/>
                <a:gd name="T65" fmla="*/ 51 h 59"/>
                <a:gd name="T66" fmla="*/ 8 w 67"/>
                <a:gd name="T67" fmla="*/ 51 h 59"/>
                <a:gd name="T68" fmla="*/ 8 w 67"/>
                <a:gd name="T69" fmla="*/ 51 h 59"/>
                <a:gd name="T70" fmla="*/ 16 w 67"/>
                <a:gd name="T71" fmla="*/ 51 h 59"/>
                <a:gd name="T72" fmla="*/ 16 w 67"/>
                <a:gd name="T73" fmla="*/ 51 h 59"/>
                <a:gd name="T74" fmla="*/ 25 w 67"/>
                <a:gd name="T75" fmla="*/ 51 h 59"/>
                <a:gd name="T76" fmla="*/ 33 w 67"/>
                <a:gd name="T77" fmla="*/ 51 h 59"/>
                <a:gd name="T78" fmla="*/ 42 w 67"/>
                <a:gd name="T79" fmla="*/ 51 h 59"/>
                <a:gd name="T80" fmla="*/ 42 w 67"/>
                <a:gd name="T81" fmla="*/ 59 h 59"/>
                <a:gd name="T82" fmla="*/ 42 w 67"/>
                <a:gd name="T83" fmla="*/ 59 h 59"/>
                <a:gd name="T84" fmla="*/ 16 w 67"/>
                <a:gd name="T85" fmla="*/ 42 h 59"/>
                <a:gd name="T86" fmla="*/ 8 w 67"/>
                <a:gd name="T87" fmla="*/ 42 h 59"/>
                <a:gd name="T88" fmla="*/ 8 w 67"/>
                <a:gd name="T89" fmla="*/ 42 h 59"/>
                <a:gd name="T90" fmla="*/ 8 w 67"/>
                <a:gd name="T91" fmla="*/ 42 h 59"/>
                <a:gd name="T92" fmla="*/ 16 w 67"/>
                <a:gd name="T93" fmla="*/ 42 h 59"/>
                <a:gd name="T94" fmla="*/ 16 w 67"/>
                <a:gd name="T95" fmla="*/ 42 h 59"/>
                <a:gd name="T96" fmla="*/ 8 w 67"/>
                <a:gd name="T97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" h="59">
                  <a:moveTo>
                    <a:pt x="42" y="59"/>
                  </a:moveTo>
                  <a:lnTo>
                    <a:pt x="42" y="51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6" y="1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close/>
                  <a:moveTo>
                    <a:pt x="8" y="42"/>
                  </a:moveTo>
                  <a:lnTo>
                    <a:pt x="16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close/>
                  <a:moveTo>
                    <a:pt x="8" y="42"/>
                  </a:move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38BD1408-1FAC-46A8-AAF1-F52A7FD88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692" y="3864621"/>
              <a:ext cx="58543" cy="49176"/>
            </a:xfrm>
            <a:custGeom>
              <a:avLst/>
              <a:gdLst>
                <a:gd name="T0" fmla="*/ 42 w 50"/>
                <a:gd name="T1" fmla="*/ 25 h 42"/>
                <a:gd name="T2" fmla="*/ 50 w 50"/>
                <a:gd name="T3" fmla="*/ 17 h 42"/>
                <a:gd name="T4" fmla="*/ 42 w 50"/>
                <a:gd name="T5" fmla="*/ 17 h 42"/>
                <a:gd name="T6" fmla="*/ 42 w 50"/>
                <a:gd name="T7" fmla="*/ 17 h 42"/>
                <a:gd name="T8" fmla="*/ 42 w 50"/>
                <a:gd name="T9" fmla="*/ 8 h 42"/>
                <a:gd name="T10" fmla="*/ 42 w 50"/>
                <a:gd name="T11" fmla="*/ 8 h 42"/>
                <a:gd name="T12" fmla="*/ 42 w 50"/>
                <a:gd name="T13" fmla="*/ 8 h 42"/>
                <a:gd name="T14" fmla="*/ 42 w 50"/>
                <a:gd name="T15" fmla="*/ 0 h 42"/>
                <a:gd name="T16" fmla="*/ 42 w 50"/>
                <a:gd name="T17" fmla="*/ 0 h 42"/>
                <a:gd name="T18" fmla="*/ 33 w 50"/>
                <a:gd name="T19" fmla="*/ 0 h 42"/>
                <a:gd name="T20" fmla="*/ 33 w 50"/>
                <a:gd name="T21" fmla="*/ 0 h 42"/>
                <a:gd name="T22" fmla="*/ 33 w 50"/>
                <a:gd name="T23" fmla="*/ 0 h 42"/>
                <a:gd name="T24" fmla="*/ 25 w 50"/>
                <a:gd name="T25" fmla="*/ 0 h 42"/>
                <a:gd name="T26" fmla="*/ 25 w 50"/>
                <a:gd name="T27" fmla="*/ 0 h 42"/>
                <a:gd name="T28" fmla="*/ 16 w 50"/>
                <a:gd name="T29" fmla="*/ 0 h 42"/>
                <a:gd name="T30" fmla="*/ 16 w 50"/>
                <a:gd name="T31" fmla="*/ 0 h 42"/>
                <a:gd name="T32" fmla="*/ 16 w 50"/>
                <a:gd name="T33" fmla="*/ 0 h 42"/>
                <a:gd name="T34" fmla="*/ 16 w 50"/>
                <a:gd name="T35" fmla="*/ 0 h 42"/>
                <a:gd name="T36" fmla="*/ 8 w 50"/>
                <a:gd name="T37" fmla="*/ 0 h 42"/>
                <a:gd name="T38" fmla="*/ 8 w 50"/>
                <a:gd name="T39" fmla="*/ 0 h 42"/>
                <a:gd name="T40" fmla="*/ 8 w 50"/>
                <a:gd name="T41" fmla="*/ 0 h 42"/>
                <a:gd name="T42" fmla="*/ 8 w 50"/>
                <a:gd name="T43" fmla="*/ 0 h 42"/>
                <a:gd name="T44" fmla="*/ 0 w 50"/>
                <a:gd name="T45" fmla="*/ 0 h 42"/>
                <a:gd name="T46" fmla="*/ 0 w 50"/>
                <a:gd name="T47" fmla="*/ 0 h 42"/>
                <a:gd name="T48" fmla="*/ 0 w 50"/>
                <a:gd name="T49" fmla="*/ 8 h 42"/>
                <a:gd name="T50" fmla="*/ 0 w 50"/>
                <a:gd name="T51" fmla="*/ 8 h 42"/>
                <a:gd name="T52" fmla="*/ 0 w 50"/>
                <a:gd name="T53" fmla="*/ 17 h 42"/>
                <a:gd name="T54" fmla="*/ 8 w 50"/>
                <a:gd name="T55" fmla="*/ 17 h 42"/>
                <a:gd name="T56" fmla="*/ 8 w 50"/>
                <a:gd name="T57" fmla="*/ 17 h 42"/>
                <a:gd name="T58" fmla="*/ 8 w 50"/>
                <a:gd name="T59" fmla="*/ 25 h 42"/>
                <a:gd name="T60" fmla="*/ 8 w 50"/>
                <a:gd name="T61" fmla="*/ 25 h 42"/>
                <a:gd name="T62" fmla="*/ 16 w 50"/>
                <a:gd name="T63" fmla="*/ 25 h 42"/>
                <a:gd name="T64" fmla="*/ 16 w 50"/>
                <a:gd name="T65" fmla="*/ 25 h 42"/>
                <a:gd name="T66" fmla="*/ 16 w 50"/>
                <a:gd name="T67" fmla="*/ 25 h 42"/>
                <a:gd name="T68" fmla="*/ 16 w 50"/>
                <a:gd name="T69" fmla="*/ 33 h 42"/>
                <a:gd name="T70" fmla="*/ 25 w 50"/>
                <a:gd name="T71" fmla="*/ 33 h 42"/>
                <a:gd name="T72" fmla="*/ 25 w 50"/>
                <a:gd name="T73" fmla="*/ 33 h 42"/>
                <a:gd name="T74" fmla="*/ 25 w 50"/>
                <a:gd name="T75" fmla="*/ 33 h 42"/>
                <a:gd name="T76" fmla="*/ 25 w 50"/>
                <a:gd name="T77" fmla="*/ 33 h 42"/>
                <a:gd name="T78" fmla="*/ 33 w 50"/>
                <a:gd name="T79" fmla="*/ 33 h 42"/>
                <a:gd name="T80" fmla="*/ 33 w 50"/>
                <a:gd name="T81" fmla="*/ 33 h 42"/>
                <a:gd name="T82" fmla="*/ 42 w 50"/>
                <a:gd name="T83" fmla="*/ 42 h 42"/>
                <a:gd name="T84" fmla="*/ 42 w 50"/>
                <a:gd name="T85" fmla="*/ 42 h 42"/>
                <a:gd name="T86" fmla="*/ 42 w 50"/>
                <a:gd name="T87" fmla="*/ 42 h 42"/>
                <a:gd name="T88" fmla="*/ 42 w 50"/>
                <a:gd name="T89" fmla="*/ 33 h 42"/>
                <a:gd name="T90" fmla="*/ 42 w 50"/>
                <a:gd name="T91" fmla="*/ 33 h 42"/>
                <a:gd name="T92" fmla="*/ 42 w 50"/>
                <a:gd name="T93" fmla="*/ 33 h 42"/>
                <a:gd name="T94" fmla="*/ 42 w 50"/>
                <a:gd name="T95" fmla="*/ 33 h 42"/>
                <a:gd name="T96" fmla="*/ 42 w 50"/>
                <a:gd name="T97" fmla="*/ 25 h 42"/>
                <a:gd name="T98" fmla="*/ 42 w 50"/>
                <a:gd name="T99" fmla="*/ 25 h 42"/>
                <a:gd name="T100" fmla="*/ 42 w 50"/>
                <a:gd name="T101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0" h="42">
                  <a:moveTo>
                    <a:pt x="42" y="25"/>
                  </a:moveTo>
                  <a:lnTo>
                    <a:pt x="5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Freeform 71">
              <a:extLst>
                <a:ext uri="{FF2B5EF4-FFF2-40B4-BE49-F238E27FC236}">
                  <a16:creationId xmlns:a16="http://schemas.microsoft.com/office/drawing/2014/main" id="{77BC9D2B-402E-48E6-A2D1-738543BA7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893893"/>
              <a:ext cx="9367" cy="19905"/>
            </a:xfrm>
            <a:custGeom>
              <a:avLst/>
              <a:gdLst>
                <a:gd name="T0" fmla="*/ 0 w 8"/>
                <a:gd name="T1" fmla="*/ 17 h 17"/>
                <a:gd name="T2" fmla="*/ 0 w 8"/>
                <a:gd name="T3" fmla="*/ 8 h 17"/>
                <a:gd name="T4" fmla="*/ 0 w 8"/>
                <a:gd name="T5" fmla="*/ 8 h 17"/>
                <a:gd name="T6" fmla="*/ 0 w 8"/>
                <a:gd name="T7" fmla="*/ 8 h 17"/>
                <a:gd name="T8" fmla="*/ 0 w 8"/>
                <a:gd name="T9" fmla="*/ 8 h 17"/>
                <a:gd name="T10" fmla="*/ 0 w 8"/>
                <a:gd name="T11" fmla="*/ 0 h 17"/>
                <a:gd name="T12" fmla="*/ 0 w 8"/>
                <a:gd name="T13" fmla="*/ 0 h 17"/>
                <a:gd name="T14" fmla="*/ 8 w 8"/>
                <a:gd name="T15" fmla="*/ 0 h 17"/>
                <a:gd name="T16" fmla="*/ 8 w 8"/>
                <a:gd name="T17" fmla="*/ 8 h 17"/>
                <a:gd name="T18" fmla="*/ 8 w 8"/>
                <a:gd name="T19" fmla="*/ 8 h 17"/>
                <a:gd name="T20" fmla="*/ 8 w 8"/>
                <a:gd name="T21" fmla="*/ 8 h 17"/>
                <a:gd name="T22" fmla="*/ 8 w 8"/>
                <a:gd name="T23" fmla="*/ 17 h 17"/>
                <a:gd name="T24" fmla="*/ 8 w 8"/>
                <a:gd name="T25" fmla="*/ 17 h 17"/>
                <a:gd name="T26" fmla="*/ 0 w 8"/>
                <a:gd name="T27" fmla="*/ 17 h 17"/>
                <a:gd name="T28" fmla="*/ 0 w 8"/>
                <a:gd name="T29" fmla="*/ 17 h 17"/>
                <a:gd name="T30" fmla="*/ 0 w 8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7">
                  <a:moveTo>
                    <a:pt x="0" y="17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Freeform 72">
              <a:extLst>
                <a:ext uri="{FF2B5EF4-FFF2-40B4-BE49-F238E27FC236}">
                  <a16:creationId xmlns:a16="http://schemas.microsoft.com/office/drawing/2014/main" id="{24E63C06-F85F-48C0-985C-20525CE0F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8720" y="3529753"/>
              <a:ext cx="10538" cy="29272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3 h 3"/>
                <a:gd name="T8" fmla="*/ 0 w 1"/>
                <a:gd name="T9" fmla="*/ 3 h 3"/>
                <a:gd name="T10" fmla="*/ 1 w 1"/>
                <a:gd name="T11" fmla="*/ 2 h 3"/>
                <a:gd name="T12" fmla="*/ 0 w 1"/>
                <a:gd name="T13" fmla="*/ 2 h 3"/>
                <a:gd name="T14" fmla="*/ 1 w 1"/>
                <a:gd name="T15" fmla="*/ 2 h 3"/>
                <a:gd name="T16" fmla="*/ 1 w 1"/>
                <a:gd name="T17" fmla="*/ 2 h 3"/>
                <a:gd name="T18" fmla="*/ 1 w 1"/>
                <a:gd name="T19" fmla="*/ 2 h 3"/>
                <a:gd name="T20" fmla="*/ 0 w 1"/>
                <a:gd name="T21" fmla="*/ 0 h 3"/>
                <a:gd name="T22" fmla="*/ 0 w 1"/>
                <a:gd name="T23" fmla="*/ 1 h 3"/>
                <a:gd name="T24" fmla="*/ 0 w 1"/>
                <a:gd name="T25" fmla="*/ 1 h 3"/>
                <a:gd name="T26" fmla="*/ 0 w 1"/>
                <a:gd name="T27" fmla="*/ 0 h 3"/>
                <a:gd name="T28" fmla="*/ 1 w 1"/>
                <a:gd name="T29" fmla="*/ 0 h 3"/>
                <a:gd name="T30" fmla="*/ 1 w 1"/>
                <a:gd name="T31" fmla="*/ 0 h 3"/>
                <a:gd name="T32" fmla="*/ 1 w 1"/>
                <a:gd name="T33" fmla="*/ 0 h 3"/>
                <a:gd name="T34" fmla="*/ 1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1 w 1"/>
                <a:gd name="T41" fmla="*/ 0 h 3"/>
                <a:gd name="T42" fmla="*/ 1 w 1"/>
                <a:gd name="T43" fmla="*/ 1 h 3"/>
                <a:gd name="T44" fmla="*/ 0 w 1"/>
                <a:gd name="T45" fmla="*/ 0 h 3"/>
                <a:gd name="T46" fmla="*/ 0 w 1"/>
                <a:gd name="T47" fmla="*/ 0 h 3"/>
                <a:gd name="T48" fmla="*/ 0 w 1"/>
                <a:gd name="T49" fmla="*/ 0 h 3"/>
                <a:gd name="T50" fmla="*/ 1 w 1"/>
                <a:gd name="T51" fmla="*/ 1 h 3"/>
                <a:gd name="T52" fmla="*/ 1 w 1"/>
                <a:gd name="T53" fmla="*/ 1 h 3"/>
                <a:gd name="T54" fmla="*/ 1 w 1"/>
                <a:gd name="T55" fmla="*/ 1 h 3"/>
                <a:gd name="T56" fmla="*/ 0 w 1"/>
                <a:gd name="T57" fmla="*/ 1 h 3"/>
                <a:gd name="T58" fmla="*/ 0 w 1"/>
                <a:gd name="T5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Freeform 73">
              <a:extLst>
                <a:ext uri="{FF2B5EF4-FFF2-40B4-BE49-F238E27FC236}">
                  <a16:creationId xmlns:a16="http://schemas.microsoft.com/office/drawing/2014/main" id="{2E2F2EA5-0CEF-4E4C-BD47-C0602E59F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810" y="3746364"/>
              <a:ext cx="78448" cy="107720"/>
            </a:xfrm>
            <a:custGeom>
              <a:avLst/>
              <a:gdLst>
                <a:gd name="T0" fmla="*/ 33 w 67"/>
                <a:gd name="T1" fmla="*/ 92 h 92"/>
                <a:gd name="T2" fmla="*/ 33 w 67"/>
                <a:gd name="T3" fmla="*/ 84 h 92"/>
                <a:gd name="T4" fmla="*/ 42 w 67"/>
                <a:gd name="T5" fmla="*/ 84 h 92"/>
                <a:gd name="T6" fmla="*/ 50 w 67"/>
                <a:gd name="T7" fmla="*/ 84 h 92"/>
                <a:gd name="T8" fmla="*/ 58 w 67"/>
                <a:gd name="T9" fmla="*/ 76 h 92"/>
                <a:gd name="T10" fmla="*/ 58 w 67"/>
                <a:gd name="T11" fmla="*/ 76 h 92"/>
                <a:gd name="T12" fmla="*/ 67 w 67"/>
                <a:gd name="T13" fmla="*/ 67 h 92"/>
                <a:gd name="T14" fmla="*/ 67 w 67"/>
                <a:gd name="T15" fmla="*/ 50 h 92"/>
                <a:gd name="T16" fmla="*/ 67 w 67"/>
                <a:gd name="T17" fmla="*/ 50 h 92"/>
                <a:gd name="T18" fmla="*/ 67 w 67"/>
                <a:gd name="T19" fmla="*/ 34 h 92"/>
                <a:gd name="T20" fmla="*/ 67 w 67"/>
                <a:gd name="T21" fmla="*/ 34 h 92"/>
                <a:gd name="T22" fmla="*/ 50 w 67"/>
                <a:gd name="T23" fmla="*/ 25 h 92"/>
                <a:gd name="T24" fmla="*/ 50 w 67"/>
                <a:gd name="T25" fmla="*/ 34 h 92"/>
                <a:gd name="T26" fmla="*/ 50 w 67"/>
                <a:gd name="T27" fmla="*/ 17 h 92"/>
                <a:gd name="T28" fmla="*/ 50 w 67"/>
                <a:gd name="T29" fmla="*/ 8 h 92"/>
                <a:gd name="T30" fmla="*/ 58 w 67"/>
                <a:gd name="T31" fmla="*/ 8 h 92"/>
                <a:gd name="T32" fmla="*/ 50 w 67"/>
                <a:gd name="T33" fmla="*/ 0 h 92"/>
                <a:gd name="T34" fmla="*/ 50 w 67"/>
                <a:gd name="T35" fmla="*/ 8 h 92"/>
                <a:gd name="T36" fmla="*/ 50 w 67"/>
                <a:gd name="T37" fmla="*/ 0 h 92"/>
                <a:gd name="T38" fmla="*/ 42 w 67"/>
                <a:gd name="T39" fmla="*/ 8 h 92"/>
                <a:gd name="T40" fmla="*/ 42 w 67"/>
                <a:gd name="T41" fmla="*/ 8 h 92"/>
                <a:gd name="T42" fmla="*/ 42 w 67"/>
                <a:gd name="T43" fmla="*/ 8 h 92"/>
                <a:gd name="T44" fmla="*/ 33 w 67"/>
                <a:gd name="T45" fmla="*/ 17 h 92"/>
                <a:gd name="T46" fmla="*/ 33 w 67"/>
                <a:gd name="T47" fmla="*/ 17 h 92"/>
                <a:gd name="T48" fmla="*/ 42 w 67"/>
                <a:gd name="T49" fmla="*/ 17 h 92"/>
                <a:gd name="T50" fmla="*/ 33 w 67"/>
                <a:gd name="T51" fmla="*/ 25 h 92"/>
                <a:gd name="T52" fmla="*/ 25 w 67"/>
                <a:gd name="T53" fmla="*/ 25 h 92"/>
                <a:gd name="T54" fmla="*/ 16 w 67"/>
                <a:gd name="T55" fmla="*/ 25 h 92"/>
                <a:gd name="T56" fmla="*/ 8 w 67"/>
                <a:gd name="T57" fmla="*/ 25 h 92"/>
                <a:gd name="T58" fmla="*/ 16 w 67"/>
                <a:gd name="T59" fmla="*/ 34 h 92"/>
                <a:gd name="T60" fmla="*/ 8 w 67"/>
                <a:gd name="T61" fmla="*/ 34 h 92"/>
                <a:gd name="T62" fmla="*/ 16 w 67"/>
                <a:gd name="T63" fmla="*/ 34 h 92"/>
                <a:gd name="T64" fmla="*/ 16 w 67"/>
                <a:gd name="T65" fmla="*/ 42 h 92"/>
                <a:gd name="T66" fmla="*/ 8 w 67"/>
                <a:gd name="T67" fmla="*/ 42 h 92"/>
                <a:gd name="T68" fmla="*/ 8 w 67"/>
                <a:gd name="T69" fmla="*/ 50 h 92"/>
                <a:gd name="T70" fmla="*/ 25 w 67"/>
                <a:gd name="T71" fmla="*/ 50 h 92"/>
                <a:gd name="T72" fmla="*/ 16 w 67"/>
                <a:gd name="T73" fmla="*/ 59 h 92"/>
                <a:gd name="T74" fmla="*/ 8 w 67"/>
                <a:gd name="T75" fmla="*/ 67 h 92"/>
                <a:gd name="T76" fmla="*/ 16 w 67"/>
                <a:gd name="T77" fmla="*/ 67 h 92"/>
                <a:gd name="T78" fmla="*/ 25 w 67"/>
                <a:gd name="T79" fmla="*/ 67 h 92"/>
                <a:gd name="T80" fmla="*/ 16 w 67"/>
                <a:gd name="T81" fmla="*/ 67 h 92"/>
                <a:gd name="T82" fmla="*/ 8 w 67"/>
                <a:gd name="T83" fmla="*/ 76 h 92"/>
                <a:gd name="T84" fmla="*/ 8 w 67"/>
                <a:gd name="T85" fmla="*/ 76 h 92"/>
                <a:gd name="T86" fmla="*/ 8 w 67"/>
                <a:gd name="T87" fmla="*/ 76 h 92"/>
                <a:gd name="T88" fmla="*/ 8 w 67"/>
                <a:gd name="T89" fmla="*/ 76 h 92"/>
                <a:gd name="T90" fmla="*/ 0 w 67"/>
                <a:gd name="T91" fmla="*/ 84 h 92"/>
                <a:gd name="T92" fmla="*/ 16 w 67"/>
                <a:gd name="T93" fmla="*/ 84 h 92"/>
                <a:gd name="T94" fmla="*/ 8 w 67"/>
                <a:gd name="T95" fmla="*/ 92 h 92"/>
                <a:gd name="T96" fmla="*/ 8 w 67"/>
                <a:gd name="T97" fmla="*/ 92 h 92"/>
                <a:gd name="T98" fmla="*/ 16 w 67"/>
                <a:gd name="T9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" h="92">
                  <a:moveTo>
                    <a:pt x="16" y="92"/>
                  </a:moveTo>
                  <a:lnTo>
                    <a:pt x="25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8" y="76"/>
                  </a:lnTo>
                  <a:lnTo>
                    <a:pt x="58" y="84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67" y="76"/>
                  </a:lnTo>
                  <a:lnTo>
                    <a:pt x="58" y="76"/>
                  </a:lnTo>
                  <a:lnTo>
                    <a:pt x="67" y="7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8" y="34"/>
                  </a:lnTo>
                  <a:lnTo>
                    <a:pt x="58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16" y="50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6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84"/>
                  </a:lnTo>
                  <a:lnTo>
                    <a:pt x="16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92"/>
                  </a:lnTo>
                  <a:lnTo>
                    <a:pt x="16" y="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Freeform 74">
              <a:extLst>
                <a:ext uri="{FF2B5EF4-FFF2-40B4-BE49-F238E27FC236}">
                  <a16:creationId xmlns:a16="http://schemas.microsoft.com/office/drawing/2014/main" id="{B07B3458-868B-4FF3-B8EB-5479F27F98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986" y="3578930"/>
              <a:ext cx="176801" cy="324330"/>
            </a:xfrm>
            <a:custGeom>
              <a:avLst/>
              <a:gdLst>
                <a:gd name="T0" fmla="*/ 1 w 18"/>
                <a:gd name="T1" fmla="*/ 19 h 33"/>
                <a:gd name="T2" fmla="*/ 4 w 18"/>
                <a:gd name="T3" fmla="*/ 19 h 33"/>
                <a:gd name="T4" fmla="*/ 4 w 18"/>
                <a:gd name="T5" fmla="*/ 21 h 33"/>
                <a:gd name="T6" fmla="*/ 13 w 18"/>
                <a:gd name="T7" fmla="*/ 0 h 33"/>
                <a:gd name="T8" fmla="*/ 13 w 18"/>
                <a:gd name="T9" fmla="*/ 0 h 33"/>
                <a:gd name="T10" fmla="*/ 12 w 18"/>
                <a:gd name="T11" fmla="*/ 1 h 33"/>
                <a:gd name="T12" fmla="*/ 17 w 18"/>
                <a:gd name="T13" fmla="*/ 29 h 33"/>
                <a:gd name="T14" fmla="*/ 12 w 18"/>
                <a:gd name="T15" fmla="*/ 31 h 33"/>
                <a:gd name="T16" fmla="*/ 2 w 18"/>
                <a:gd name="T17" fmla="*/ 14 h 33"/>
                <a:gd name="T18" fmla="*/ 3 w 18"/>
                <a:gd name="T19" fmla="*/ 12 h 33"/>
                <a:gd name="T20" fmla="*/ 9 w 18"/>
                <a:gd name="T21" fmla="*/ 6 h 33"/>
                <a:gd name="T22" fmla="*/ 8 w 18"/>
                <a:gd name="T23" fmla="*/ 7 h 33"/>
                <a:gd name="T24" fmla="*/ 4 w 18"/>
                <a:gd name="T25" fmla="*/ 9 h 33"/>
                <a:gd name="T26" fmla="*/ 2 w 18"/>
                <a:gd name="T27" fmla="*/ 10 h 33"/>
                <a:gd name="T28" fmla="*/ 1 w 18"/>
                <a:gd name="T29" fmla="*/ 11 h 33"/>
                <a:gd name="T30" fmla="*/ 2 w 18"/>
                <a:gd name="T31" fmla="*/ 12 h 33"/>
                <a:gd name="T32" fmla="*/ 3 w 18"/>
                <a:gd name="T33" fmla="*/ 11 h 33"/>
                <a:gd name="T34" fmla="*/ 4 w 18"/>
                <a:gd name="T35" fmla="*/ 11 h 33"/>
                <a:gd name="T36" fmla="*/ 4 w 18"/>
                <a:gd name="T37" fmla="*/ 14 h 33"/>
                <a:gd name="T38" fmla="*/ 4 w 18"/>
                <a:gd name="T39" fmla="*/ 16 h 33"/>
                <a:gd name="T40" fmla="*/ 5 w 18"/>
                <a:gd name="T41" fmla="*/ 17 h 33"/>
                <a:gd name="T42" fmla="*/ 6 w 18"/>
                <a:gd name="T43" fmla="*/ 21 h 33"/>
                <a:gd name="T44" fmla="*/ 5 w 18"/>
                <a:gd name="T45" fmla="*/ 33 h 33"/>
                <a:gd name="T46" fmla="*/ 8 w 18"/>
                <a:gd name="T47" fmla="*/ 32 h 33"/>
                <a:gd name="T48" fmla="*/ 10 w 18"/>
                <a:gd name="T49" fmla="*/ 31 h 33"/>
                <a:gd name="T50" fmla="*/ 13 w 18"/>
                <a:gd name="T51" fmla="*/ 31 h 33"/>
                <a:gd name="T52" fmla="*/ 17 w 18"/>
                <a:gd name="T53" fmla="*/ 30 h 33"/>
                <a:gd name="T54" fmla="*/ 16 w 18"/>
                <a:gd name="T55" fmla="*/ 29 h 33"/>
                <a:gd name="T56" fmla="*/ 17 w 18"/>
                <a:gd name="T57" fmla="*/ 27 h 33"/>
                <a:gd name="T58" fmla="*/ 18 w 18"/>
                <a:gd name="T59" fmla="*/ 27 h 33"/>
                <a:gd name="T60" fmla="*/ 15 w 18"/>
                <a:gd name="T61" fmla="*/ 24 h 33"/>
                <a:gd name="T62" fmla="*/ 13 w 18"/>
                <a:gd name="T63" fmla="*/ 22 h 33"/>
                <a:gd name="T64" fmla="*/ 14 w 18"/>
                <a:gd name="T65" fmla="*/ 21 h 33"/>
                <a:gd name="T66" fmla="*/ 11 w 18"/>
                <a:gd name="T67" fmla="*/ 17 h 33"/>
                <a:gd name="T68" fmla="*/ 8 w 18"/>
                <a:gd name="T69" fmla="*/ 15 h 33"/>
                <a:gd name="T70" fmla="*/ 8 w 18"/>
                <a:gd name="T71" fmla="*/ 14 h 33"/>
                <a:gd name="T72" fmla="*/ 10 w 18"/>
                <a:gd name="T73" fmla="*/ 11 h 33"/>
                <a:gd name="T74" fmla="*/ 8 w 18"/>
                <a:gd name="T75" fmla="*/ 11 h 33"/>
                <a:gd name="T76" fmla="*/ 7 w 18"/>
                <a:gd name="T77" fmla="*/ 10 h 33"/>
                <a:gd name="T78" fmla="*/ 7 w 18"/>
                <a:gd name="T79" fmla="*/ 8 h 33"/>
                <a:gd name="T80" fmla="*/ 5 w 18"/>
                <a:gd name="T81" fmla="*/ 8 h 33"/>
                <a:gd name="T82" fmla="*/ 5 w 18"/>
                <a:gd name="T83" fmla="*/ 10 h 33"/>
                <a:gd name="T84" fmla="*/ 4 w 18"/>
                <a:gd name="T85" fmla="*/ 11 h 33"/>
                <a:gd name="T86" fmla="*/ 4 w 18"/>
                <a:gd name="T87" fmla="*/ 12 h 33"/>
                <a:gd name="T88" fmla="*/ 4 w 18"/>
                <a:gd name="T89" fmla="*/ 13 h 33"/>
                <a:gd name="T90" fmla="*/ 4 w 18"/>
                <a:gd name="T91" fmla="*/ 14 h 33"/>
                <a:gd name="T92" fmla="*/ 4 w 18"/>
                <a:gd name="T93" fmla="*/ 16 h 33"/>
                <a:gd name="T94" fmla="*/ 5 w 18"/>
                <a:gd name="T95" fmla="*/ 16 h 33"/>
                <a:gd name="T96" fmla="*/ 6 w 18"/>
                <a:gd name="T97" fmla="*/ 15 h 33"/>
                <a:gd name="T98" fmla="*/ 5 w 18"/>
                <a:gd name="T99" fmla="*/ 19 h 33"/>
                <a:gd name="T100" fmla="*/ 7 w 18"/>
                <a:gd name="T101" fmla="*/ 19 h 33"/>
                <a:gd name="T102" fmla="*/ 9 w 18"/>
                <a:gd name="T103" fmla="*/ 21 h 33"/>
                <a:gd name="T104" fmla="*/ 9 w 18"/>
                <a:gd name="T105" fmla="*/ 23 h 33"/>
                <a:gd name="T106" fmla="*/ 6 w 18"/>
                <a:gd name="T107" fmla="*/ 25 h 33"/>
                <a:gd name="T108" fmla="*/ 6 w 18"/>
                <a:gd name="T109" fmla="*/ 27 h 33"/>
                <a:gd name="T110" fmla="*/ 5 w 18"/>
                <a:gd name="T111" fmla="*/ 28 h 33"/>
                <a:gd name="T112" fmla="*/ 8 w 18"/>
                <a:gd name="T113" fmla="*/ 29 h 33"/>
                <a:gd name="T114" fmla="*/ 9 w 18"/>
                <a:gd name="T115" fmla="*/ 30 h 33"/>
                <a:gd name="T116" fmla="*/ 5 w 18"/>
                <a:gd name="T11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" h="33"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lose/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lose/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lose/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lose/>
                  <a:moveTo>
                    <a:pt x="12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lose/>
                  <a:moveTo>
                    <a:pt x="16" y="29"/>
                  </a:move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6" y="29"/>
                    <a:pt x="16" y="29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3" y="15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lose/>
                  <a:moveTo>
                    <a:pt x="2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lose/>
                  <a:moveTo>
                    <a:pt x="3" y="14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lose/>
                  <a:moveTo>
                    <a:pt x="3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  <a:moveTo>
                    <a:pt x="3" y="12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lose/>
                  <a:moveTo>
                    <a:pt x="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lose/>
                  <a:moveTo>
                    <a:pt x="2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lose/>
                  <a:moveTo>
                    <a:pt x="2" y="11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lose/>
                  <a:moveTo>
                    <a:pt x="2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lose/>
                  <a:moveTo>
                    <a:pt x="1" y="12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lose/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lose/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3" y="15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lose/>
                  <a:moveTo>
                    <a:pt x="3" y="17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7"/>
                    <a:pt x="3" y="17"/>
                    <a:pt x="3" y="17"/>
                  </a:cubicBezTo>
                  <a:close/>
                  <a:moveTo>
                    <a:pt x="5" y="16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6" y="23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5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Freeform 75">
              <a:extLst>
                <a:ext uri="{FF2B5EF4-FFF2-40B4-BE49-F238E27FC236}">
                  <a16:creationId xmlns:a16="http://schemas.microsoft.com/office/drawing/2014/main" id="{3F43850A-FCBF-414C-AE10-BA041B61B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8530" y="3873988"/>
              <a:ext cx="265787" cy="245882"/>
            </a:xfrm>
            <a:custGeom>
              <a:avLst/>
              <a:gdLst>
                <a:gd name="T0" fmla="*/ 176 w 227"/>
                <a:gd name="T1" fmla="*/ 101 h 210"/>
                <a:gd name="T2" fmla="*/ 168 w 227"/>
                <a:gd name="T3" fmla="*/ 110 h 210"/>
                <a:gd name="T4" fmla="*/ 168 w 227"/>
                <a:gd name="T5" fmla="*/ 93 h 210"/>
                <a:gd name="T6" fmla="*/ 185 w 227"/>
                <a:gd name="T7" fmla="*/ 76 h 210"/>
                <a:gd name="T8" fmla="*/ 185 w 227"/>
                <a:gd name="T9" fmla="*/ 76 h 210"/>
                <a:gd name="T10" fmla="*/ 193 w 227"/>
                <a:gd name="T11" fmla="*/ 59 h 210"/>
                <a:gd name="T12" fmla="*/ 193 w 227"/>
                <a:gd name="T13" fmla="*/ 42 h 210"/>
                <a:gd name="T14" fmla="*/ 176 w 227"/>
                <a:gd name="T15" fmla="*/ 42 h 210"/>
                <a:gd name="T16" fmla="*/ 168 w 227"/>
                <a:gd name="T17" fmla="*/ 34 h 210"/>
                <a:gd name="T18" fmla="*/ 151 w 227"/>
                <a:gd name="T19" fmla="*/ 25 h 210"/>
                <a:gd name="T20" fmla="*/ 143 w 227"/>
                <a:gd name="T21" fmla="*/ 25 h 210"/>
                <a:gd name="T22" fmla="*/ 126 w 227"/>
                <a:gd name="T23" fmla="*/ 17 h 210"/>
                <a:gd name="T24" fmla="*/ 118 w 227"/>
                <a:gd name="T25" fmla="*/ 0 h 210"/>
                <a:gd name="T26" fmla="*/ 101 w 227"/>
                <a:gd name="T27" fmla="*/ 0 h 210"/>
                <a:gd name="T28" fmla="*/ 92 w 227"/>
                <a:gd name="T29" fmla="*/ 25 h 210"/>
                <a:gd name="T30" fmla="*/ 76 w 227"/>
                <a:gd name="T31" fmla="*/ 34 h 210"/>
                <a:gd name="T32" fmla="*/ 67 w 227"/>
                <a:gd name="T33" fmla="*/ 34 h 210"/>
                <a:gd name="T34" fmla="*/ 59 w 227"/>
                <a:gd name="T35" fmla="*/ 25 h 210"/>
                <a:gd name="T36" fmla="*/ 42 w 227"/>
                <a:gd name="T37" fmla="*/ 34 h 210"/>
                <a:gd name="T38" fmla="*/ 50 w 227"/>
                <a:gd name="T39" fmla="*/ 51 h 210"/>
                <a:gd name="T40" fmla="*/ 42 w 227"/>
                <a:gd name="T41" fmla="*/ 51 h 210"/>
                <a:gd name="T42" fmla="*/ 25 w 227"/>
                <a:gd name="T43" fmla="*/ 51 h 210"/>
                <a:gd name="T44" fmla="*/ 8 w 227"/>
                <a:gd name="T45" fmla="*/ 51 h 210"/>
                <a:gd name="T46" fmla="*/ 0 w 227"/>
                <a:gd name="T47" fmla="*/ 59 h 210"/>
                <a:gd name="T48" fmla="*/ 0 w 227"/>
                <a:gd name="T49" fmla="*/ 59 h 210"/>
                <a:gd name="T50" fmla="*/ 8 w 227"/>
                <a:gd name="T51" fmla="*/ 67 h 210"/>
                <a:gd name="T52" fmla="*/ 8 w 227"/>
                <a:gd name="T53" fmla="*/ 76 h 210"/>
                <a:gd name="T54" fmla="*/ 17 w 227"/>
                <a:gd name="T55" fmla="*/ 76 h 210"/>
                <a:gd name="T56" fmla="*/ 34 w 227"/>
                <a:gd name="T57" fmla="*/ 76 h 210"/>
                <a:gd name="T58" fmla="*/ 34 w 227"/>
                <a:gd name="T59" fmla="*/ 84 h 210"/>
                <a:gd name="T60" fmla="*/ 42 w 227"/>
                <a:gd name="T61" fmla="*/ 84 h 210"/>
                <a:gd name="T62" fmla="*/ 42 w 227"/>
                <a:gd name="T63" fmla="*/ 93 h 210"/>
                <a:gd name="T64" fmla="*/ 59 w 227"/>
                <a:gd name="T65" fmla="*/ 101 h 210"/>
                <a:gd name="T66" fmla="*/ 59 w 227"/>
                <a:gd name="T67" fmla="*/ 118 h 210"/>
                <a:gd name="T68" fmla="*/ 59 w 227"/>
                <a:gd name="T69" fmla="*/ 126 h 210"/>
                <a:gd name="T70" fmla="*/ 59 w 227"/>
                <a:gd name="T71" fmla="*/ 143 h 210"/>
                <a:gd name="T72" fmla="*/ 50 w 227"/>
                <a:gd name="T73" fmla="*/ 168 h 210"/>
                <a:gd name="T74" fmla="*/ 59 w 227"/>
                <a:gd name="T75" fmla="*/ 177 h 210"/>
                <a:gd name="T76" fmla="*/ 84 w 227"/>
                <a:gd name="T77" fmla="*/ 185 h 210"/>
                <a:gd name="T78" fmla="*/ 101 w 227"/>
                <a:gd name="T79" fmla="*/ 185 h 210"/>
                <a:gd name="T80" fmla="*/ 126 w 227"/>
                <a:gd name="T81" fmla="*/ 185 h 210"/>
                <a:gd name="T82" fmla="*/ 134 w 227"/>
                <a:gd name="T83" fmla="*/ 160 h 210"/>
                <a:gd name="T84" fmla="*/ 151 w 227"/>
                <a:gd name="T85" fmla="*/ 168 h 210"/>
                <a:gd name="T86" fmla="*/ 176 w 227"/>
                <a:gd name="T87" fmla="*/ 177 h 210"/>
                <a:gd name="T88" fmla="*/ 193 w 227"/>
                <a:gd name="T89" fmla="*/ 160 h 210"/>
                <a:gd name="T90" fmla="*/ 185 w 227"/>
                <a:gd name="T91" fmla="*/ 135 h 210"/>
                <a:gd name="T92" fmla="*/ 185 w 227"/>
                <a:gd name="T93" fmla="*/ 118 h 210"/>
                <a:gd name="T94" fmla="*/ 218 w 227"/>
                <a:gd name="T95" fmla="*/ 210 h 210"/>
                <a:gd name="T96" fmla="*/ 218 w 227"/>
                <a:gd name="T97" fmla="*/ 202 h 210"/>
                <a:gd name="T98" fmla="*/ 210 w 227"/>
                <a:gd name="T99" fmla="*/ 194 h 210"/>
                <a:gd name="T100" fmla="*/ 210 w 227"/>
                <a:gd name="T101" fmla="*/ 194 h 210"/>
                <a:gd name="T102" fmla="*/ 218 w 227"/>
                <a:gd name="T103" fmla="*/ 185 h 210"/>
                <a:gd name="T104" fmla="*/ 227 w 227"/>
                <a:gd name="T105" fmla="*/ 177 h 210"/>
                <a:gd name="T106" fmla="*/ 227 w 227"/>
                <a:gd name="T107" fmla="*/ 20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10">
                  <a:moveTo>
                    <a:pt x="185" y="110"/>
                  </a:moveTo>
                  <a:lnTo>
                    <a:pt x="185" y="110"/>
                  </a:lnTo>
                  <a:lnTo>
                    <a:pt x="185" y="110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68" y="101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0" y="110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76" y="93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85" y="84"/>
                  </a:lnTo>
                  <a:lnTo>
                    <a:pt x="185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93" y="76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18" y="9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0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6" y="25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84" y="34"/>
                  </a:lnTo>
                  <a:lnTo>
                    <a:pt x="7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6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7" y="6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9" y="101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67" y="118"/>
                  </a:lnTo>
                  <a:lnTo>
                    <a:pt x="67" y="135"/>
                  </a:lnTo>
                  <a:lnTo>
                    <a:pt x="67" y="126"/>
                  </a:lnTo>
                  <a:lnTo>
                    <a:pt x="59" y="126"/>
                  </a:lnTo>
                  <a:lnTo>
                    <a:pt x="59" y="118"/>
                  </a:lnTo>
                  <a:lnTo>
                    <a:pt x="59" y="126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0" y="152"/>
                  </a:lnTo>
                  <a:lnTo>
                    <a:pt x="50" y="160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9" y="177"/>
                  </a:lnTo>
                  <a:lnTo>
                    <a:pt x="67" y="177"/>
                  </a:lnTo>
                  <a:lnTo>
                    <a:pt x="67" y="185"/>
                  </a:lnTo>
                  <a:lnTo>
                    <a:pt x="76" y="177"/>
                  </a:lnTo>
                  <a:lnTo>
                    <a:pt x="76" y="185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9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9" y="185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26" y="168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8"/>
                  </a:lnTo>
                  <a:lnTo>
                    <a:pt x="143" y="168"/>
                  </a:lnTo>
                  <a:lnTo>
                    <a:pt x="143" y="168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68" y="168"/>
                  </a:lnTo>
                  <a:lnTo>
                    <a:pt x="168" y="177"/>
                  </a:lnTo>
                  <a:lnTo>
                    <a:pt x="176" y="177"/>
                  </a:lnTo>
                  <a:lnTo>
                    <a:pt x="176" y="168"/>
                  </a:lnTo>
                  <a:lnTo>
                    <a:pt x="176" y="168"/>
                  </a:lnTo>
                  <a:lnTo>
                    <a:pt x="185" y="168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2"/>
                  </a:lnTo>
                  <a:lnTo>
                    <a:pt x="193" y="152"/>
                  </a:lnTo>
                  <a:lnTo>
                    <a:pt x="185" y="152"/>
                  </a:lnTo>
                  <a:lnTo>
                    <a:pt x="185" y="143"/>
                  </a:lnTo>
                  <a:lnTo>
                    <a:pt x="185" y="135"/>
                  </a:lnTo>
                  <a:lnTo>
                    <a:pt x="176" y="135"/>
                  </a:lnTo>
                  <a:lnTo>
                    <a:pt x="176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18"/>
                  </a:lnTo>
                  <a:lnTo>
                    <a:pt x="185" y="118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5" y="110"/>
                  </a:lnTo>
                  <a:close/>
                  <a:moveTo>
                    <a:pt x="218" y="210"/>
                  </a:moveTo>
                  <a:lnTo>
                    <a:pt x="218" y="210"/>
                  </a:lnTo>
                  <a:lnTo>
                    <a:pt x="210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0" y="202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8" y="185"/>
                  </a:lnTo>
                  <a:lnTo>
                    <a:pt x="218" y="177"/>
                  </a:lnTo>
                  <a:lnTo>
                    <a:pt x="218" y="185"/>
                  </a:lnTo>
                  <a:lnTo>
                    <a:pt x="227" y="185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5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2"/>
                  </a:lnTo>
                  <a:lnTo>
                    <a:pt x="227" y="210"/>
                  </a:lnTo>
                  <a:lnTo>
                    <a:pt x="218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6" name="Freeform 76">
              <a:extLst>
                <a:ext uri="{FF2B5EF4-FFF2-40B4-BE49-F238E27FC236}">
                  <a16:creationId xmlns:a16="http://schemas.microsoft.com/office/drawing/2014/main" id="{B168A7DD-FF12-4CF3-AECD-C9F10127D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2669" y="4258033"/>
              <a:ext cx="9367" cy="0"/>
            </a:xfrm>
            <a:custGeom>
              <a:avLst/>
              <a:gdLst>
                <a:gd name="T0" fmla="*/ 0 w 8"/>
                <a:gd name="T1" fmla="*/ 0 w 8"/>
                <a:gd name="T2" fmla="*/ 8 w 8"/>
                <a:gd name="T3" fmla="*/ 8 w 8"/>
                <a:gd name="T4" fmla="*/ 8 w 8"/>
                <a:gd name="T5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Freeform 77">
              <a:extLst>
                <a:ext uri="{FF2B5EF4-FFF2-40B4-BE49-F238E27FC236}">
                  <a16:creationId xmlns:a16="http://schemas.microsoft.com/office/drawing/2014/main" id="{85F35C72-E5C9-4D77-8DBE-E9F0BE835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4602" y="3972341"/>
              <a:ext cx="236515" cy="265787"/>
            </a:xfrm>
            <a:custGeom>
              <a:avLst/>
              <a:gdLst>
                <a:gd name="T0" fmla="*/ 9 w 202"/>
                <a:gd name="T1" fmla="*/ 59 h 227"/>
                <a:gd name="T2" fmla="*/ 9 w 202"/>
                <a:gd name="T3" fmla="*/ 42 h 227"/>
                <a:gd name="T4" fmla="*/ 17 w 202"/>
                <a:gd name="T5" fmla="*/ 26 h 227"/>
                <a:gd name="T6" fmla="*/ 42 w 202"/>
                <a:gd name="T7" fmla="*/ 26 h 227"/>
                <a:gd name="T8" fmla="*/ 51 w 202"/>
                <a:gd name="T9" fmla="*/ 17 h 227"/>
                <a:gd name="T10" fmla="*/ 68 w 202"/>
                <a:gd name="T11" fmla="*/ 9 h 227"/>
                <a:gd name="T12" fmla="*/ 93 w 202"/>
                <a:gd name="T13" fmla="*/ 9 h 227"/>
                <a:gd name="T14" fmla="*/ 118 w 202"/>
                <a:gd name="T15" fmla="*/ 17 h 227"/>
                <a:gd name="T16" fmla="*/ 110 w 202"/>
                <a:gd name="T17" fmla="*/ 34 h 227"/>
                <a:gd name="T18" fmla="*/ 93 w 202"/>
                <a:gd name="T19" fmla="*/ 42 h 227"/>
                <a:gd name="T20" fmla="*/ 93 w 202"/>
                <a:gd name="T21" fmla="*/ 59 h 227"/>
                <a:gd name="T22" fmla="*/ 110 w 202"/>
                <a:gd name="T23" fmla="*/ 76 h 227"/>
                <a:gd name="T24" fmla="*/ 126 w 202"/>
                <a:gd name="T25" fmla="*/ 101 h 227"/>
                <a:gd name="T26" fmla="*/ 143 w 202"/>
                <a:gd name="T27" fmla="*/ 110 h 227"/>
                <a:gd name="T28" fmla="*/ 160 w 202"/>
                <a:gd name="T29" fmla="*/ 118 h 227"/>
                <a:gd name="T30" fmla="*/ 160 w 202"/>
                <a:gd name="T31" fmla="*/ 126 h 227"/>
                <a:gd name="T32" fmla="*/ 202 w 202"/>
                <a:gd name="T33" fmla="*/ 143 h 227"/>
                <a:gd name="T34" fmla="*/ 202 w 202"/>
                <a:gd name="T35" fmla="*/ 160 h 227"/>
                <a:gd name="T36" fmla="*/ 194 w 202"/>
                <a:gd name="T37" fmla="*/ 152 h 227"/>
                <a:gd name="T38" fmla="*/ 177 w 202"/>
                <a:gd name="T39" fmla="*/ 143 h 227"/>
                <a:gd name="T40" fmla="*/ 177 w 202"/>
                <a:gd name="T41" fmla="*/ 152 h 227"/>
                <a:gd name="T42" fmla="*/ 177 w 202"/>
                <a:gd name="T43" fmla="*/ 160 h 227"/>
                <a:gd name="T44" fmla="*/ 177 w 202"/>
                <a:gd name="T45" fmla="*/ 177 h 227"/>
                <a:gd name="T46" fmla="*/ 168 w 202"/>
                <a:gd name="T47" fmla="*/ 202 h 227"/>
                <a:gd name="T48" fmla="*/ 160 w 202"/>
                <a:gd name="T49" fmla="*/ 194 h 227"/>
                <a:gd name="T50" fmla="*/ 160 w 202"/>
                <a:gd name="T51" fmla="*/ 185 h 227"/>
                <a:gd name="T52" fmla="*/ 160 w 202"/>
                <a:gd name="T53" fmla="*/ 169 h 227"/>
                <a:gd name="T54" fmla="*/ 152 w 202"/>
                <a:gd name="T55" fmla="*/ 152 h 227"/>
                <a:gd name="T56" fmla="*/ 143 w 202"/>
                <a:gd name="T57" fmla="*/ 152 h 227"/>
                <a:gd name="T58" fmla="*/ 135 w 202"/>
                <a:gd name="T59" fmla="*/ 135 h 227"/>
                <a:gd name="T60" fmla="*/ 118 w 202"/>
                <a:gd name="T61" fmla="*/ 126 h 227"/>
                <a:gd name="T62" fmla="*/ 110 w 202"/>
                <a:gd name="T63" fmla="*/ 126 h 227"/>
                <a:gd name="T64" fmla="*/ 84 w 202"/>
                <a:gd name="T65" fmla="*/ 110 h 227"/>
                <a:gd name="T66" fmla="*/ 68 w 202"/>
                <a:gd name="T67" fmla="*/ 93 h 227"/>
                <a:gd name="T68" fmla="*/ 59 w 202"/>
                <a:gd name="T69" fmla="*/ 76 h 227"/>
                <a:gd name="T70" fmla="*/ 51 w 202"/>
                <a:gd name="T71" fmla="*/ 68 h 227"/>
                <a:gd name="T72" fmla="*/ 17 w 202"/>
                <a:gd name="T73" fmla="*/ 76 h 227"/>
                <a:gd name="T74" fmla="*/ 34 w 202"/>
                <a:gd name="T75" fmla="*/ 126 h 227"/>
                <a:gd name="T76" fmla="*/ 26 w 202"/>
                <a:gd name="T77" fmla="*/ 135 h 227"/>
                <a:gd name="T78" fmla="*/ 76 w 202"/>
                <a:gd name="T79" fmla="*/ 101 h 227"/>
                <a:gd name="T80" fmla="*/ 68 w 202"/>
                <a:gd name="T81" fmla="*/ 93 h 227"/>
                <a:gd name="T82" fmla="*/ 59 w 202"/>
                <a:gd name="T83" fmla="*/ 93 h 227"/>
                <a:gd name="T84" fmla="*/ 42 w 202"/>
                <a:gd name="T85" fmla="*/ 177 h 227"/>
                <a:gd name="T86" fmla="*/ 51 w 202"/>
                <a:gd name="T87" fmla="*/ 177 h 227"/>
                <a:gd name="T88" fmla="*/ 51 w 202"/>
                <a:gd name="T89" fmla="*/ 143 h 227"/>
                <a:gd name="T90" fmla="*/ 51 w 202"/>
                <a:gd name="T91" fmla="*/ 135 h 227"/>
                <a:gd name="T92" fmla="*/ 34 w 202"/>
                <a:gd name="T93" fmla="*/ 135 h 227"/>
                <a:gd name="T94" fmla="*/ 34 w 202"/>
                <a:gd name="T95" fmla="*/ 143 h 227"/>
                <a:gd name="T96" fmla="*/ 34 w 202"/>
                <a:gd name="T97" fmla="*/ 160 h 227"/>
                <a:gd name="T98" fmla="*/ 34 w 202"/>
                <a:gd name="T99" fmla="*/ 177 h 227"/>
                <a:gd name="T100" fmla="*/ 152 w 202"/>
                <a:gd name="T101" fmla="*/ 219 h 227"/>
                <a:gd name="T102" fmla="*/ 152 w 202"/>
                <a:gd name="T103" fmla="*/ 194 h 227"/>
                <a:gd name="T104" fmla="*/ 135 w 202"/>
                <a:gd name="T105" fmla="*/ 202 h 227"/>
                <a:gd name="T106" fmla="*/ 110 w 202"/>
                <a:gd name="T107" fmla="*/ 194 h 227"/>
                <a:gd name="T108" fmla="*/ 110 w 202"/>
                <a:gd name="T109" fmla="*/ 211 h 227"/>
                <a:gd name="T110" fmla="*/ 135 w 202"/>
                <a:gd name="T111" fmla="*/ 219 h 227"/>
                <a:gd name="T112" fmla="*/ 152 w 202"/>
                <a:gd name="T11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2" h="227">
                  <a:moveTo>
                    <a:pt x="17" y="76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9" y="68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34"/>
                  </a:lnTo>
                  <a:lnTo>
                    <a:pt x="17" y="26"/>
                  </a:lnTo>
                  <a:lnTo>
                    <a:pt x="26" y="26"/>
                  </a:lnTo>
                  <a:lnTo>
                    <a:pt x="26" y="17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9" y="26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59" y="9"/>
                  </a:lnTo>
                  <a:lnTo>
                    <a:pt x="68" y="9"/>
                  </a:lnTo>
                  <a:lnTo>
                    <a:pt x="76" y="9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9"/>
                  </a:lnTo>
                  <a:lnTo>
                    <a:pt x="101" y="9"/>
                  </a:lnTo>
                  <a:lnTo>
                    <a:pt x="110" y="17"/>
                  </a:lnTo>
                  <a:lnTo>
                    <a:pt x="118" y="9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26"/>
                  </a:lnTo>
                  <a:lnTo>
                    <a:pt x="110" y="26"/>
                  </a:lnTo>
                  <a:lnTo>
                    <a:pt x="118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101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9"/>
                  </a:lnTo>
                  <a:lnTo>
                    <a:pt x="93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26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43" y="110"/>
                  </a:lnTo>
                  <a:lnTo>
                    <a:pt x="143" y="110"/>
                  </a:lnTo>
                  <a:lnTo>
                    <a:pt x="143" y="118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8" y="126"/>
                  </a:lnTo>
                  <a:lnTo>
                    <a:pt x="185" y="135"/>
                  </a:lnTo>
                  <a:lnTo>
                    <a:pt x="185" y="135"/>
                  </a:lnTo>
                  <a:lnTo>
                    <a:pt x="194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194" y="160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85" y="152"/>
                  </a:lnTo>
                  <a:lnTo>
                    <a:pt x="185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60"/>
                  </a:lnTo>
                  <a:lnTo>
                    <a:pt x="168" y="160"/>
                  </a:lnTo>
                  <a:lnTo>
                    <a:pt x="168" y="160"/>
                  </a:lnTo>
                  <a:lnTo>
                    <a:pt x="168" y="160"/>
                  </a:lnTo>
                  <a:lnTo>
                    <a:pt x="177" y="160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77"/>
                  </a:lnTo>
                  <a:lnTo>
                    <a:pt x="185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85"/>
                  </a:lnTo>
                  <a:lnTo>
                    <a:pt x="177" y="194"/>
                  </a:lnTo>
                  <a:lnTo>
                    <a:pt x="168" y="194"/>
                  </a:lnTo>
                  <a:lnTo>
                    <a:pt x="168" y="202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8" y="185"/>
                  </a:lnTo>
                  <a:lnTo>
                    <a:pt x="168" y="177"/>
                  </a:lnTo>
                  <a:lnTo>
                    <a:pt x="160" y="177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0"/>
                  </a:lnTo>
                  <a:lnTo>
                    <a:pt x="160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35" y="143"/>
                  </a:lnTo>
                  <a:lnTo>
                    <a:pt x="135" y="143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35"/>
                  </a:lnTo>
                  <a:lnTo>
                    <a:pt x="110" y="135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01" y="126"/>
                  </a:lnTo>
                  <a:lnTo>
                    <a:pt x="101" y="118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84" y="110"/>
                  </a:lnTo>
                  <a:lnTo>
                    <a:pt x="84" y="101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34" y="59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76"/>
                  </a:lnTo>
                  <a:lnTo>
                    <a:pt x="17" y="76"/>
                  </a:lnTo>
                  <a:lnTo>
                    <a:pt x="17" y="76"/>
                  </a:lnTo>
                  <a:close/>
                  <a:moveTo>
                    <a:pt x="26" y="135"/>
                  </a:moveTo>
                  <a:lnTo>
                    <a:pt x="34" y="135"/>
                  </a:lnTo>
                  <a:lnTo>
                    <a:pt x="34" y="135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close/>
                  <a:moveTo>
                    <a:pt x="76" y="101"/>
                  </a:moveTo>
                  <a:lnTo>
                    <a:pt x="76" y="110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1"/>
                  </a:lnTo>
                  <a:close/>
                  <a:moveTo>
                    <a:pt x="59" y="93"/>
                  </a:moveTo>
                  <a:lnTo>
                    <a:pt x="59" y="93"/>
                  </a:lnTo>
                  <a:lnTo>
                    <a:pt x="59" y="101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59" y="93"/>
                  </a:lnTo>
                  <a:lnTo>
                    <a:pt x="59" y="93"/>
                  </a:lnTo>
                  <a:close/>
                  <a:moveTo>
                    <a:pt x="42" y="177"/>
                  </a:move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69"/>
                  </a:lnTo>
                  <a:lnTo>
                    <a:pt x="59" y="169"/>
                  </a:lnTo>
                  <a:lnTo>
                    <a:pt x="51" y="160"/>
                  </a:lnTo>
                  <a:lnTo>
                    <a:pt x="59" y="152"/>
                  </a:lnTo>
                  <a:lnTo>
                    <a:pt x="51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6" y="135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77"/>
                  </a:lnTo>
                  <a:lnTo>
                    <a:pt x="42" y="177"/>
                  </a:lnTo>
                  <a:lnTo>
                    <a:pt x="42" y="177"/>
                  </a:lnTo>
                  <a:close/>
                  <a:moveTo>
                    <a:pt x="152" y="227"/>
                  </a:moveTo>
                  <a:lnTo>
                    <a:pt x="152" y="219"/>
                  </a:lnTo>
                  <a:lnTo>
                    <a:pt x="152" y="219"/>
                  </a:lnTo>
                  <a:lnTo>
                    <a:pt x="152" y="219"/>
                  </a:lnTo>
                  <a:lnTo>
                    <a:pt x="152" y="211"/>
                  </a:lnTo>
                  <a:lnTo>
                    <a:pt x="152" y="202"/>
                  </a:lnTo>
                  <a:lnTo>
                    <a:pt x="152" y="202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35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18" y="202"/>
                  </a:lnTo>
                  <a:lnTo>
                    <a:pt x="118" y="194"/>
                  </a:lnTo>
                  <a:lnTo>
                    <a:pt x="110" y="194"/>
                  </a:lnTo>
                  <a:lnTo>
                    <a:pt x="110" y="202"/>
                  </a:lnTo>
                  <a:lnTo>
                    <a:pt x="110" y="194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26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27"/>
                  </a:lnTo>
                  <a:lnTo>
                    <a:pt x="143" y="227"/>
                  </a:lnTo>
                  <a:lnTo>
                    <a:pt x="152" y="2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Freeform 78">
              <a:extLst>
                <a:ext uri="{FF2B5EF4-FFF2-40B4-BE49-F238E27FC236}">
                  <a16:creationId xmlns:a16="http://schemas.microsoft.com/office/drawing/2014/main" id="{6059622C-1D39-4369-8D0C-2628B01C86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9544" y="4061327"/>
              <a:ext cx="256420" cy="187339"/>
            </a:xfrm>
            <a:custGeom>
              <a:avLst/>
              <a:gdLst>
                <a:gd name="T0" fmla="*/ 15 w 26"/>
                <a:gd name="T1" fmla="*/ 1 h 19"/>
                <a:gd name="T2" fmla="*/ 15 w 26"/>
                <a:gd name="T3" fmla="*/ 2 h 19"/>
                <a:gd name="T4" fmla="*/ 17 w 26"/>
                <a:gd name="T5" fmla="*/ 3 h 19"/>
                <a:gd name="T6" fmla="*/ 19 w 26"/>
                <a:gd name="T7" fmla="*/ 3 h 19"/>
                <a:gd name="T8" fmla="*/ 20 w 26"/>
                <a:gd name="T9" fmla="*/ 3 h 19"/>
                <a:gd name="T10" fmla="*/ 22 w 26"/>
                <a:gd name="T11" fmla="*/ 3 h 19"/>
                <a:gd name="T12" fmla="*/ 24 w 26"/>
                <a:gd name="T13" fmla="*/ 3 h 19"/>
                <a:gd name="T14" fmla="*/ 23 w 26"/>
                <a:gd name="T15" fmla="*/ 5 h 19"/>
                <a:gd name="T16" fmla="*/ 22 w 26"/>
                <a:gd name="T17" fmla="*/ 6 h 19"/>
                <a:gd name="T18" fmla="*/ 21 w 26"/>
                <a:gd name="T19" fmla="*/ 7 h 19"/>
                <a:gd name="T20" fmla="*/ 20 w 26"/>
                <a:gd name="T21" fmla="*/ 7 h 19"/>
                <a:gd name="T22" fmla="*/ 19 w 26"/>
                <a:gd name="T23" fmla="*/ 8 h 19"/>
                <a:gd name="T24" fmla="*/ 19 w 26"/>
                <a:gd name="T25" fmla="*/ 9 h 19"/>
                <a:gd name="T26" fmla="*/ 17 w 26"/>
                <a:gd name="T27" fmla="*/ 11 h 19"/>
                <a:gd name="T28" fmla="*/ 18 w 26"/>
                <a:gd name="T29" fmla="*/ 12 h 19"/>
                <a:gd name="T30" fmla="*/ 17 w 26"/>
                <a:gd name="T31" fmla="*/ 13 h 19"/>
                <a:gd name="T32" fmla="*/ 17 w 26"/>
                <a:gd name="T33" fmla="*/ 15 h 19"/>
                <a:gd name="T34" fmla="*/ 16 w 26"/>
                <a:gd name="T35" fmla="*/ 16 h 19"/>
                <a:gd name="T36" fmla="*/ 14 w 26"/>
                <a:gd name="T37" fmla="*/ 18 h 19"/>
                <a:gd name="T38" fmla="*/ 13 w 26"/>
                <a:gd name="T39" fmla="*/ 17 h 19"/>
                <a:gd name="T40" fmla="*/ 12 w 26"/>
                <a:gd name="T41" fmla="*/ 17 h 19"/>
                <a:gd name="T42" fmla="*/ 10 w 26"/>
                <a:gd name="T43" fmla="*/ 17 h 19"/>
                <a:gd name="T44" fmla="*/ 9 w 26"/>
                <a:gd name="T45" fmla="*/ 18 h 19"/>
                <a:gd name="T46" fmla="*/ 8 w 26"/>
                <a:gd name="T47" fmla="*/ 19 h 19"/>
                <a:gd name="T48" fmla="*/ 6 w 26"/>
                <a:gd name="T49" fmla="*/ 19 h 19"/>
                <a:gd name="T50" fmla="*/ 4 w 26"/>
                <a:gd name="T51" fmla="*/ 17 h 19"/>
                <a:gd name="T52" fmla="*/ 3 w 26"/>
                <a:gd name="T53" fmla="*/ 16 h 19"/>
                <a:gd name="T54" fmla="*/ 4 w 26"/>
                <a:gd name="T55" fmla="*/ 14 h 19"/>
                <a:gd name="T56" fmla="*/ 3 w 26"/>
                <a:gd name="T57" fmla="*/ 13 h 19"/>
                <a:gd name="T58" fmla="*/ 4 w 26"/>
                <a:gd name="T59" fmla="*/ 11 h 19"/>
                <a:gd name="T60" fmla="*/ 4 w 26"/>
                <a:gd name="T61" fmla="*/ 10 h 19"/>
                <a:gd name="T62" fmla="*/ 5 w 26"/>
                <a:gd name="T63" fmla="*/ 9 h 19"/>
                <a:gd name="T64" fmla="*/ 5 w 26"/>
                <a:gd name="T65" fmla="*/ 6 h 19"/>
                <a:gd name="T66" fmla="*/ 5 w 26"/>
                <a:gd name="T67" fmla="*/ 5 h 19"/>
                <a:gd name="T68" fmla="*/ 4 w 26"/>
                <a:gd name="T69" fmla="*/ 5 h 19"/>
                <a:gd name="T70" fmla="*/ 2 w 26"/>
                <a:gd name="T71" fmla="*/ 5 h 19"/>
                <a:gd name="T72" fmla="*/ 1 w 26"/>
                <a:gd name="T73" fmla="*/ 4 h 19"/>
                <a:gd name="T74" fmla="*/ 1 w 26"/>
                <a:gd name="T75" fmla="*/ 4 h 19"/>
                <a:gd name="T76" fmla="*/ 1 w 26"/>
                <a:gd name="T77" fmla="*/ 3 h 19"/>
                <a:gd name="T78" fmla="*/ 1 w 26"/>
                <a:gd name="T79" fmla="*/ 2 h 19"/>
                <a:gd name="T80" fmla="*/ 0 w 26"/>
                <a:gd name="T81" fmla="*/ 2 h 19"/>
                <a:gd name="T82" fmla="*/ 1 w 26"/>
                <a:gd name="T83" fmla="*/ 1 h 19"/>
                <a:gd name="T84" fmla="*/ 2 w 26"/>
                <a:gd name="T85" fmla="*/ 1 h 19"/>
                <a:gd name="T86" fmla="*/ 3 w 26"/>
                <a:gd name="T87" fmla="*/ 0 h 19"/>
                <a:gd name="T88" fmla="*/ 4 w 26"/>
                <a:gd name="T89" fmla="*/ 0 h 19"/>
                <a:gd name="T90" fmla="*/ 5 w 26"/>
                <a:gd name="T91" fmla="*/ 0 h 19"/>
                <a:gd name="T92" fmla="*/ 7 w 26"/>
                <a:gd name="T93" fmla="*/ 0 h 19"/>
                <a:gd name="T94" fmla="*/ 9 w 26"/>
                <a:gd name="T95" fmla="*/ 1 h 19"/>
                <a:gd name="T96" fmla="*/ 11 w 26"/>
                <a:gd name="T97" fmla="*/ 0 h 19"/>
                <a:gd name="T98" fmla="*/ 12 w 26"/>
                <a:gd name="T99" fmla="*/ 1 h 19"/>
                <a:gd name="T100" fmla="*/ 14 w 26"/>
                <a:gd name="T101" fmla="*/ 1 h 19"/>
                <a:gd name="T102" fmla="*/ 25 w 26"/>
                <a:gd name="T103" fmla="*/ 10 h 19"/>
                <a:gd name="T104" fmla="*/ 26 w 26"/>
                <a:gd name="T105" fmla="*/ 10 h 19"/>
                <a:gd name="T106" fmla="*/ 25 w 26"/>
                <a:gd name="T107" fmla="*/ 10 h 19"/>
                <a:gd name="T108" fmla="*/ 24 w 26"/>
                <a:gd name="T109" fmla="*/ 10 h 19"/>
                <a:gd name="T110" fmla="*/ 23 w 26"/>
                <a:gd name="T111" fmla="*/ 11 h 19"/>
                <a:gd name="T112" fmla="*/ 24 w 26"/>
                <a:gd name="T113" fmla="*/ 11 h 19"/>
                <a:gd name="T114" fmla="*/ 21 w 26"/>
                <a:gd name="T115" fmla="*/ 12 h 19"/>
                <a:gd name="T116" fmla="*/ 21 w 26"/>
                <a:gd name="T11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" h="19">
                  <a:moveTo>
                    <a:pt x="15" y="1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1"/>
                    <a:pt x="15" y="1"/>
                  </a:cubicBezTo>
                  <a:close/>
                  <a:moveTo>
                    <a:pt x="25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21" y="13"/>
                  </a:move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79">
              <a:extLst>
                <a:ext uri="{FF2B5EF4-FFF2-40B4-BE49-F238E27FC236}">
                  <a16:creationId xmlns:a16="http://schemas.microsoft.com/office/drawing/2014/main" id="{C5FA3D8E-E37F-4DA5-AEC5-9DF5E8B3C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0177" y="4101137"/>
              <a:ext cx="69081" cy="127625"/>
            </a:xfrm>
            <a:custGeom>
              <a:avLst/>
              <a:gdLst>
                <a:gd name="T0" fmla="*/ 34 w 59"/>
                <a:gd name="T1" fmla="*/ 101 h 109"/>
                <a:gd name="T2" fmla="*/ 42 w 59"/>
                <a:gd name="T3" fmla="*/ 92 h 109"/>
                <a:gd name="T4" fmla="*/ 42 w 59"/>
                <a:gd name="T5" fmla="*/ 84 h 109"/>
                <a:gd name="T6" fmla="*/ 34 w 59"/>
                <a:gd name="T7" fmla="*/ 75 h 109"/>
                <a:gd name="T8" fmla="*/ 42 w 59"/>
                <a:gd name="T9" fmla="*/ 67 h 109"/>
                <a:gd name="T10" fmla="*/ 34 w 59"/>
                <a:gd name="T11" fmla="*/ 50 h 109"/>
                <a:gd name="T12" fmla="*/ 42 w 59"/>
                <a:gd name="T13" fmla="*/ 50 h 109"/>
                <a:gd name="T14" fmla="*/ 42 w 59"/>
                <a:gd name="T15" fmla="*/ 42 h 109"/>
                <a:gd name="T16" fmla="*/ 50 w 59"/>
                <a:gd name="T17" fmla="*/ 25 h 109"/>
                <a:gd name="T18" fmla="*/ 50 w 59"/>
                <a:gd name="T19" fmla="*/ 16 h 109"/>
                <a:gd name="T20" fmla="*/ 59 w 59"/>
                <a:gd name="T21" fmla="*/ 16 h 109"/>
                <a:gd name="T22" fmla="*/ 50 w 59"/>
                <a:gd name="T23" fmla="*/ 0 h 109"/>
                <a:gd name="T24" fmla="*/ 42 w 59"/>
                <a:gd name="T25" fmla="*/ 8 h 109"/>
                <a:gd name="T26" fmla="*/ 25 w 59"/>
                <a:gd name="T27" fmla="*/ 8 h 109"/>
                <a:gd name="T28" fmla="*/ 25 w 59"/>
                <a:gd name="T29" fmla="*/ 0 h 109"/>
                <a:gd name="T30" fmla="*/ 17 w 59"/>
                <a:gd name="T31" fmla="*/ 0 h 109"/>
                <a:gd name="T32" fmla="*/ 17 w 59"/>
                <a:gd name="T33" fmla="*/ 8 h 109"/>
                <a:gd name="T34" fmla="*/ 17 w 59"/>
                <a:gd name="T35" fmla="*/ 25 h 109"/>
                <a:gd name="T36" fmla="*/ 17 w 59"/>
                <a:gd name="T37" fmla="*/ 33 h 109"/>
                <a:gd name="T38" fmla="*/ 17 w 59"/>
                <a:gd name="T39" fmla="*/ 42 h 109"/>
                <a:gd name="T40" fmla="*/ 8 w 59"/>
                <a:gd name="T41" fmla="*/ 50 h 109"/>
                <a:gd name="T42" fmla="*/ 8 w 59"/>
                <a:gd name="T43" fmla="*/ 59 h 109"/>
                <a:gd name="T44" fmla="*/ 0 w 59"/>
                <a:gd name="T45" fmla="*/ 75 h 109"/>
                <a:gd name="T46" fmla="*/ 8 w 59"/>
                <a:gd name="T47" fmla="*/ 67 h 109"/>
                <a:gd name="T48" fmla="*/ 8 w 59"/>
                <a:gd name="T49" fmla="*/ 67 h 109"/>
                <a:gd name="T50" fmla="*/ 8 w 59"/>
                <a:gd name="T51" fmla="*/ 75 h 109"/>
                <a:gd name="T52" fmla="*/ 8 w 59"/>
                <a:gd name="T53" fmla="*/ 84 h 109"/>
                <a:gd name="T54" fmla="*/ 17 w 59"/>
                <a:gd name="T55" fmla="*/ 75 h 109"/>
                <a:gd name="T56" fmla="*/ 17 w 59"/>
                <a:gd name="T57" fmla="*/ 84 h 109"/>
                <a:gd name="T58" fmla="*/ 17 w 59"/>
                <a:gd name="T59" fmla="*/ 101 h 109"/>
                <a:gd name="T60" fmla="*/ 8 w 59"/>
                <a:gd name="T61" fmla="*/ 109 h 109"/>
                <a:gd name="T62" fmla="*/ 17 w 59"/>
                <a:gd name="T63" fmla="*/ 101 h 109"/>
                <a:gd name="T64" fmla="*/ 25 w 59"/>
                <a:gd name="T65" fmla="*/ 109 h 109"/>
                <a:gd name="T66" fmla="*/ 34 w 59"/>
                <a:gd name="T67" fmla="*/ 109 h 109"/>
                <a:gd name="T68" fmla="*/ 42 w 59"/>
                <a:gd name="T69" fmla="*/ 10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109">
                  <a:moveTo>
                    <a:pt x="42" y="101"/>
                  </a:moveTo>
                  <a:lnTo>
                    <a:pt x="34" y="101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34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50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9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84"/>
                  </a:lnTo>
                  <a:lnTo>
                    <a:pt x="8" y="75"/>
                  </a:lnTo>
                  <a:lnTo>
                    <a:pt x="17" y="7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8" y="101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1"/>
                  </a:lnTo>
                  <a:lnTo>
                    <a:pt x="42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Freeform 80">
              <a:extLst>
                <a:ext uri="{FF2B5EF4-FFF2-40B4-BE49-F238E27FC236}">
                  <a16:creationId xmlns:a16="http://schemas.microsoft.com/office/drawing/2014/main" id="{7FFCB850-BE8C-4DAA-99B6-D1EE39E24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1022" y="4101137"/>
              <a:ext cx="176801" cy="176801"/>
            </a:xfrm>
            <a:custGeom>
              <a:avLst/>
              <a:gdLst>
                <a:gd name="T0" fmla="*/ 11 w 18"/>
                <a:gd name="T1" fmla="*/ 2 h 18"/>
                <a:gd name="T2" fmla="*/ 8 w 18"/>
                <a:gd name="T3" fmla="*/ 2 h 18"/>
                <a:gd name="T4" fmla="*/ 3 w 18"/>
                <a:gd name="T5" fmla="*/ 4 h 18"/>
                <a:gd name="T6" fmla="*/ 2 w 18"/>
                <a:gd name="T7" fmla="*/ 8 h 18"/>
                <a:gd name="T8" fmla="*/ 5 w 18"/>
                <a:gd name="T9" fmla="*/ 10 h 18"/>
                <a:gd name="T10" fmla="*/ 7 w 18"/>
                <a:gd name="T11" fmla="*/ 11 h 18"/>
                <a:gd name="T12" fmla="*/ 4 w 18"/>
                <a:gd name="T13" fmla="*/ 11 h 18"/>
                <a:gd name="T14" fmla="*/ 6 w 18"/>
                <a:gd name="T15" fmla="*/ 14 h 18"/>
                <a:gd name="T16" fmla="*/ 7 w 18"/>
                <a:gd name="T17" fmla="*/ 14 h 18"/>
                <a:gd name="T18" fmla="*/ 7 w 18"/>
                <a:gd name="T19" fmla="*/ 12 h 18"/>
                <a:gd name="T20" fmla="*/ 8 w 18"/>
                <a:gd name="T21" fmla="*/ 12 h 18"/>
                <a:gd name="T22" fmla="*/ 9 w 18"/>
                <a:gd name="T23" fmla="*/ 11 h 18"/>
                <a:gd name="T24" fmla="*/ 8 w 18"/>
                <a:gd name="T25" fmla="*/ 9 h 18"/>
                <a:gd name="T26" fmla="*/ 7 w 18"/>
                <a:gd name="T27" fmla="*/ 7 h 18"/>
                <a:gd name="T28" fmla="*/ 7 w 18"/>
                <a:gd name="T29" fmla="*/ 6 h 18"/>
                <a:gd name="T30" fmla="*/ 7 w 18"/>
                <a:gd name="T31" fmla="*/ 4 h 18"/>
                <a:gd name="T32" fmla="*/ 8 w 18"/>
                <a:gd name="T33" fmla="*/ 5 h 18"/>
                <a:gd name="T34" fmla="*/ 10 w 18"/>
                <a:gd name="T35" fmla="*/ 5 h 18"/>
                <a:gd name="T36" fmla="*/ 10 w 18"/>
                <a:gd name="T37" fmla="*/ 3 h 18"/>
                <a:gd name="T38" fmla="*/ 14 w 18"/>
                <a:gd name="T39" fmla="*/ 3 h 18"/>
                <a:gd name="T40" fmla="*/ 9 w 18"/>
                <a:gd name="T41" fmla="*/ 17 h 18"/>
                <a:gd name="T42" fmla="*/ 12 w 18"/>
                <a:gd name="T43" fmla="*/ 18 h 18"/>
                <a:gd name="T44" fmla="*/ 14 w 18"/>
                <a:gd name="T45" fmla="*/ 17 h 18"/>
                <a:gd name="T46" fmla="*/ 13 w 18"/>
                <a:gd name="T47" fmla="*/ 17 h 18"/>
                <a:gd name="T48" fmla="*/ 10 w 18"/>
                <a:gd name="T49" fmla="*/ 16 h 18"/>
                <a:gd name="T50" fmla="*/ 9 w 18"/>
                <a:gd name="T51" fmla="*/ 17 h 18"/>
                <a:gd name="T52" fmla="*/ 1 w 18"/>
                <a:gd name="T53" fmla="*/ 7 h 18"/>
                <a:gd name="T54" fmla="*/ 3 w 18"/>
                <a:gd name="T55" fmla="*/ 9 h 18"/>
                <a:gd name="T56" fmla="*/ 3 w 18"/>
                <a:gd name="T57" fmla="*/ 10 h 18"/>
                <a:gd name="T58" fmla="*/ 2 w 18"/>
                <a:gd name="T59" fmla="*/ 10 h 18"/>
                <a:gd name="T60" fmla="*/ 3 w 18"/>
                <a:gd name="T61" fmla="*/ 12 h 18"/>
                <a:gd name="T62" fmla="*/ 16 w 18"/>
                <a:gd name="T63" fmla="*/ 16 h 18"/>
                <a:gd name="T64" fmla="*/ 16 w 18"/>
                <a:gd name="T65" fmla="*/ 17 h 18"/>
                <a:gd name="T66" fmla="*/ 18 w 18"/>
                <a:gd name="T67" fmla="*/ 14 h 18"/>
                <a:gd name="T68" fmla="*/ 17 w 18"/>
                <a:gd name="T69" fmla="*/ 16 h 18"/>
                <a:gd name="T70" fmla="*/ 15 w 18"/>
                <a:gd name="T71" fmla="*/ 11 h 18"/>
                <a:gd name="T72" fmla="*/ 15 w 18"/>
                <a:gd name="T73" fmla="*/ 11 h 18"/>
                <a:gd name="T74" fmla="*/ 13 w 18"/>
                <a:gd name="T75" fmla="*/ 10 h 18"/>
                <a:gd name="T76" fmla="*/ 13 w 18"/>
                <a:gd name="T77" fmla="*/ 8 h 18"/>
                <a:gd name="T78" fmla="*/ 14 w 18"/>
                <a:gd name="T79" fmla="*/ 8 h 18"/>
                <a:gd name="T80" fmla="*/ 13 w 18"/>
                <a:gd name="T81" fmla="*/ 8 h 18"/>
                <a:gd name="T82" fmla="*/ 11 w 18"/>
                <a:gd name="T83" fmla="*/ 5 h 18"/>
                <a:gd name="T84" fmla="*/ 11 w 18"/>
                <a:gd name="T85" fmla="*/ 6 h 18"/>
                <a:gd name="T86" fmla="*/ 10 w 18"/>
                <a:gd name="T87" fmla="*/ 4 h 18"/>
                <a:gd name="T88" fmla="*/ 8 w 18"/>
                <a:gd name="T89" fmla="*/ 8 h 18"/>
                <a:gd name="T90" fmla="*/ 11 w 18"/>
                <a:gd name="T91" fmla="*/ 9 h 18"/>
                <a:gd name="T92" fmla="*/ 14 w 18"/>
                <a:gd name="T93" fmla="*/ 12 h 18"/>
                <a:gd name="T94" fmla="*/ 11 w 18"/>
                <a:gd name="T95" fmla="*/ 13 h 18"/>
                <a:gd name="T96" fmla="*/ 10 w 18"/>
                <a:gd name="T97" fmla="*/ 12 h 18"/>
                <a:gd name="T98" fmla="*/ 13 w 18"/>
                <a:gd name="T99" fmla="*/ 13 h 18"/>
                <a:gd name="T100" fmla="*/ 13 w 18"/>
                <a:gd name="T101" fmla="*/ 12 h 18"/>
                <a:gd name="T102" fmla="*/ 11 w 18"/>
                <a:gd name="T103" fmla="*/ 11 h 18"/>
                <a:gd name="T104" fmla="*/ 7 w 18"/>
                <a:gd name="T105" fmla="*/ 8 h 18"/>
                <a:gd name="T106" fmla="*/ 10 w 18"/>
                <a:gd name="T107" fmla="*/ 10 h 18"/>
                <a:gd name="T108" fmla="*/ 10 w 18"/>
                <a:gd name="T109" fmla="*/ 11 h 18"/>
                <a:gd name="T110" fmla="*/ 8 w 18"/>
                <a:gd name="T111" fmla="*/ 9 h 18"/>
                <a:gd name="T112" fmla="*/ 8 w 18"/>
                <a:gd name="T113" fmla="*/ 14 h 18"/>
                <a:gd name="T114" fmla="*/ 8 w 18"/>
                <a:gd name="T115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" h="18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9" y="17"/>
                  </a:move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lose/>
                  <a:moveTo>
                    <a:pt x="1" y="6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lose/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lose/>
                  <a:moveTo>
                    <a:pt x="3" y="1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lose/>
                  <a:moveTo>
                    <a:pt x="3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  <a:moveTo>
                    <a:pt x="16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lose/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lose/>
                  <a:moveTo>
                    <a:pt x="17" y="16"/>
                  </a:move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4" y="14"/>
                    <a:pt x="14" y="14"/>
                  </a:cubicBezTo>
                  <a:close/>
                  <a:moveTo>
                    <a:pt x="14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1"/>
                    <a:pt x="14" y="11"/>
                    <a:pt x="14" y="11"/>
                  </a:cubicBezTo>
                  <a:close/>
                  <a:moveTo>
                    <a:pt x="14" y="9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lose/>
                  <a:moveTo>
                    <a:pt x="13" y="8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lose/>
                  <a:moveTo>
                    <a:pt x="12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lose/>
                  <a:moveTo>
                    <a:pt x="11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lose/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10" y="3"/>
                  </a:cubicBez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10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lose/>
                  <a:moveTo>
                    <a:pt x="14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lose/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lose/>
                  <a:moveTo>
                    <a:pt x="10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lose/>
                  <a:moveTo>
                    <a:pt x="10" y="13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0" y="13"/>
                    <a:pt x="10" y="13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13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8" y="1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8" y="14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Freeform 81">
              <a:extLst>
                <a:ext uri="{FF2B5EF4-FFF2-40B4-BE49-F238E27FC236}">
                  <a16:creationId xmlns:a16="http://schemas.microsoft.com/office/drawing/2014/main" id="{D553BFAB-1F80-4F27-8CA8-16EDA169F9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02785" y="4090599"/>
              <a:ext cx="118257" cy="98353"/>
            </a:xfrm>
            <a:custGeom>
              <a:avLst/>
              <a:gdLst>
                <a:gd name="T0" fmla="*/ 0 w 101"/>
                <a:gd name="T1" fmla="*/ 17 h 84"/>
                <a:gd name="T2" fmla="*/ 17 w 101"/>
                <a:gd name="T3" fmla="*/ 17 h 84"/>
                <a:gd name="T4" fmla="*/ 34 w 101"/>
                <a:gd name="T5" fmla="*/ 25 h 84"/>
                <a:gd name="T6" fmla="*/ 34 w 101"/>
                <a:gd name="T7" fmla="*/ 17 h 84"/>
                <a:gd name="T8" fmla="*/ 25 w 101"/>
                <a:gd name="T9" fmla="*/ 9 h 84"/>
                <a:gd name="T10" fmla="*/ 42 w 101"/>
                <a:gd name="T11" fmla="*/ 9 h 84"/>
                <a:gd name="T12" fmla="*/ 50 w 101"/>
                <a:gd name="T13" fmla="*/ 17 h 84"/>
                <a:gd name="T14" fmla="*/ 59 w 101"/>
                <a:gd name="T15" fmla="*/ 9 h 84"/>
                <a:gd name="T16" fmla="*/ 67 w 101"/>
                <a:gd name="T17" fmla="*/ 9 h 84"/>
                <a:gd name="T18" fmla="*/ 76 w 101"/>
                <a:gd name="T19" fmla="*/ 17 h 84"/>
                <a:gd name="T20" fmla="*/ 84 w 101"/>
                <a:gd name="T21" fmla="*/ 25 h 84"/>
                <a:gd name="T22" fmla="*/ 84 w 101"/>
                <a:gd name="T23" fmla="*/ 34 h 84"/>
                <a:gd name="T24" fmla="*/ 92 w 101"/>
                <a:gd name="T25" fmla="*/ 34 h 84"/>
                <a:gd name="T26" fmla="*/ 92 w 101"/>
                <a:gd name="T27" fmla="*/ 34 h 84"/>
                <a:gd name="T28" fmla="*/ 92 w 101"/>
                <a:gd name="T29" fmla="*/ 42 h 84"/>
                <a:gd name="T30" fmla="*/ 84 w 101"/>
                <a:gd name="T31" fmla="*/ 51 h 84"/>
                <a:gd name="T32" fmla="*/ 84 w 101"/>
                <a:gd name="T33" fmla="*/ 51 h 84"/>
                <a:gd name="T34" fmla="*/ 84 w 101"/>
                <a:gd name="T35" fmla="*/ 59 h 84"/>
                <a:gd name="T36" fmla="*/ 84 w 101"/>
                <a:gd name="T37" fmla="*/ 59 h 84"/>
                <a:gd name="T38" fmla="*/ 84 w 101"/>
                <a:gd name="T39" fmla="*/ 68 h 84"/>
                <a:gd name="T40" fmla="*/ 84 w 101"/>
                <a:gd name="T41" fmla="*/ 68 h 84"/>
                <a:gd name="T42" fmla="*/ 76 w 101"/>
                <a:gd name="T43" fmla="*/ 68 h 84"/>
                <a:gd name="T44" fmla="*/ 76 w 101"/>
                <a:gd name="T45" fmla="*/ 68 h 84"/>
                <a:gd name="T46" fmla="*/ 76 w 101"/>
                <a:gd name="T47" fmla="*/ 76 h 84"/>
                <a:gd name="T48" fmla="*/ 76 w 101"/>
                <a:gd name="T49" fmla="*/ 84 h 84"/>
                <a:gd name="T50" fmla="*/ 76 w 101"/>
                <a:gd name="T51" fmla="*/ 84 h 84"/>
                <a:gd name="T52" fmla="*/ 67 w 101"/>
                <a:gd name="T53" fmla="*/ 76 h 84"/>
                <a:gd name="T54" fmla="*/ 67 w 101"/>
                <a:gd name="T55" fmla="*/ 68 h 84"/>
                <a:gd name="T56" fmla="*/ 67 w 101"/>
                <a:gd name="T57" fmla="*/ 59 h 84"/>
                <a:gd name="T58" fmla="*/ 59 w 101"/>
                <a:gd name="T59" fmla="*/ 59 h 84"/>
                <a:gd name="T60" fmla="*/ 59 w 101"/>
                <a:gd name="T61" fmla="*/ 59 h 84"/>
                <a:gd name="T62" fmla="*/ 59 w 101"/>
                <a:gd name="T63" fmla="*/ 59 h 84"/>
                <a:gd name="T64" fmla="*/ 50 w 101"/>
                <a:gd name="T65" fmla="*/ 59 h 84"/>
                <a:gd name="T66" fmla="*/ 42 w 101"/>
                <a:gd name="T67" fmla="*/ 68 h 84"/>
                <a:gd name="T68" fmla="*/ 42 w 101"/>
                <a:gd name="T69" fmla="*/ 68 h 84"/>
                <a:gd name="T70" fmla="*/ 42 w 101"/>
                <a:gd name="T71" fmla="*/ 76 h 84"/>
                <a:gd name="T72" fmla="*/ 34 w 101"/>
                <a:gd name="T73" fmla="*/ 68 h 84"/>
                <a:gd name="T74" fmla="*/ 42 w 101"/>
                <a:gd name="T75" fmla="*/ 68 h 84"/>
                <a:gd name="T76" fmla="*/ 42 w 101"/>
                <a:gd name="T77" fmla="*/ 59 h 84"/>
                <a:gd name="T78" fmla="*/ 34 w 101"/>
                <a:gd name="T79" fmla="*/ 59 h 84"/>
                <a:gd name="T80" fmla="*/ 17 w 101"/>
                <a:gd name="T81" fmla="*/ 51 h 84"/>
                <a:gd name="T82" fmla="*/ 25 w 101"/>
                <a:gd name="T83" fmla="*/ 42 h 84"/>
                <a:gd name="T84" fmla="*/ 17 w 101"/>
                <a:gd name="T85" fmla="*/ 34 h 84"/>
                <a:gd name="T86" fmla="*/ 17 w 101"/>
                <a:gd name="T87" fmla="*/ 25 h 84"/>
                <a:gd name="T88" fmla="*/ 0 w 101"/>
                <a:gd name="T89" fmla="*/ 17 h 84"/>
                <a:gd name="T90" fmla="*/ 34 w 101"/>
                <a:gd name="T91" fmla="*/ 76 h 84"/>
                <a:gd name="T92" fmla="*/ 17 w 101"/>
                <a:gd name="T93" fmla="*/ 59 h 84"/>
                <a:gd name="T94" fmla="*/ 17 w 101"/>
                <a:gd name="T95" fmla="*/ 51 h 84"/>
                <a:gd name="T96" fmla="*/ 8 w 101"/>
                <a:gd name="T97" fmla="*/ 51 h 84"/>
                <a:gd name="T98" fmla="*/ 0 w 101"/>
                <a:gd name="T99" fmla="*/ 51 h 84"/>
                <a:gd name="T100" fmla="*/ 0 w 101"/>
                <a:gd name="T101" fmla="*/ 51 h 84"/>
                <a:gd name="T102" fmla="*/ 8 w 101"/>
                <a:gd name="T103" fmla="*/ 59 h 84"/>
                <a:gd name="T104" fmla="*/ 8 w 101"/>
                <a:gd name="T105" fmla="*/ 59 h 84"/>
                <a:gd name="T106" fmla="*/ 17 w 101"/>
                <a:gd name="T107" fmla="*/ 68 h 84"/>
                <a:gd name="T108" fmla="*/ 25 w 101"/>
                <a:gd name="T109" fmla="*/ 76 h 84"/>
                <a:gd name="T110" fmla="*/ 34 w 101"/>
                <a:gd name="T111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" h="84">
                  <a:moveTo>
                    <a:pt x="0" y="17"/>
                  </a:moveTo>
                  <a:lnTo>
                    <a:pt x="0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4" y="9"/>
                  </a:lnTo>
                  <a:lnTo>
                    <a:pt x="42" y="9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9" y="9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101" y="34"/>
                  </a:lnTo>
                  <a:lnTo>
                    <a:pt x="92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76" y="59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76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34" y="59"/>
                  </a:lnTo>
                  <a:lnTo>
                    <a:pt x="42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25" y="51"/>
                  </a:lnTo>
                  <a:lnTo>
                    <a:pt x="17" y="5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34" y="76"/>
                  </a:moveTo>
                  <a:lnTo>
                    <a:pt x="25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82">
              <a:extLst>
                <a:ext uri="{FF2B5EF4-FFF2-40B4-BE49-F238E27FC236}">
                  <a16:creationId xmlns:a16="http://schemas.microsoft.com/office/drawing/2014/main" id="{ABACD678-D512-408E-BBBB-6D2D1DBA8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418" y="4150313"/>
              <a:ext cx="422682" cy="344235"/>
            </a:xfrm>
            <a:custGeom>
              <a:avLst/>
              <a:gdLst>
                <a:gd name="T0" fmla="*/ 16 w 361"/>
                <a:gd name="T1" fmla="*/ 8 h 294"/>
                <a:gd name="T2" fmla="*/ 33 w 361"/>
                <a:gd name="T3" fmla="*/ 25 h 294"/>
                <a:gd name="T4" fmla="*/ 50 w 361"/>
                <a:gd name="T5" fmla="*/ 25 h 294"/>
                <a:gd name="T6" fmla="*/ 58 w 361"/>
                <a:gd name="T7" fmla="*/ 8 h 294"/>
                <a:gd name="T8" fmla="*/ 67 w 361"/>
                <a:gd name="T9" fmla="*/ 8 h 294"/>
                <a:gd name="T10" fmla="*/ 75 w 361"/>
                <a:gd name="T11" fmla="*/ 17 h 294"/>
                <a:gd name="T12" fmla="*/ 84 w 361"/>
                <a:gd name="T13" fmla="*/ 33 h 294"/>
                <a:gd name="T14" fmla="*/ 92 w 361"/>
                <a:gd name="T15" fmla="*/ 33 h 294"/>
                <a:gd name="T16" fmla="*/ 92 w 361"/>
                <a:gd name="T17" fmla="*/ 50 h 294"/>
                <a:gd name="T18" fmla="*/ 117 w 361"/>
                <a:gd name="T19" fmla="*/ 50 h 294"/>
                <a:gd name="T20" fmla="*/ 142 w 361"/>
                <a:gd name="T21" fmla="*/ 67 h 294"/>
                <a:gd name="T22" fmla="*/ 184 w 361"/>
                <a:gd name="T23" fmla="*/ 67 h 294"/>
                <a:gd name="T24" fmla="*/ 193 w 361"/>
                <a:gd name="T25" fmla="*/ 50 h 294"/>
                <a:gd name="T26" fmla="*/ 210 w 361"/>
                <a:gd name="T27" fmla="*/ 33 h 294"/>
                <a:gd name="T28" fmla="*/ 226 w 361"/>
                <a:gd name="T29" fmla="*/ 33 h 294"/>
                <a:gd name="T30" fmla="*/ 260 w 361"/>
                <a:gd name="T31" fmla="*/ 42 h 294"/>
                <a:gd name="T32" fmla="*/ 277 w 361"/>
                <a:gd name="T33" fmla="*/ 50 h 294"/>
                <a:gd name="T34" fmla="*/ 302 w 361"/>
                <a:gd name="T35" fmla="*/ 67 h 294"/>
                <a:gd name="T36" fmla="*/ 302 w 361"/>
                <a:gd name="T37" fmla="*/ 84 h 294"/>
                <a:gd name="T38" fmla="*/ 302 w 361"/>
                <a:gd name="T39" fmla="*/ 101 h 294"/>
                <a:gd name="T40" fmla="*/ 302 w 361"/>
                <a:gd name="T41" fmla="*/ 109 h 294"/>
                <a:gd name="T42" fmla="*/ 310 w 361"/>
                <a:gd name="T43" fmla="*/ 126 h 294"/>
                <a:gd name="T44" fmla="*/ 310 w 361"/>
                <a:gd name="T45" fmla="*/ 151 h 294"/>
                <a:gd name="T46" fmla="*/ 327 w 361"/>
                <a:gd name="T47" fmla="*/ 176 h 294"/>
                <a:gd name="T48" fmla="*/ 327 w 361"/>
                <a:gd name="T49" fmla="*/ 218 h 294"/>
                <a:gd name="T50" fmla="*/ 344 w 361"/>
                <a:gd name="T51" fmla="*/ 227 h 294"/>
                <a:gd name="T52" fmla="*/ 352 w 361"/>
                <a:gd name="T53" fmla="*/ 244 h 294"/>
                <a:gd name="T54" fmla="*/ 361 w 361"/>
                <a:gd name="T55" fmla="*/ 260 h 294"/>
                <a:gd name="T56" fmla="*/ 336 w 361"/>
                <a:gd name="T57" fmla="*/ 269 h 294"/>
                <a:gd name="T58" fmla="*/ 336 w 361"/>
                <a:gd name="T59" fmla="*/ 294 h 294"/>
                <a:gd name="T60" fmla="*/ 319 w 361"/>
                <a:gd name="T61" fmla="*/ 286 h 294"/>
                <a:gd name="T62" fmla="*/ 310 w 361"/>
                <a:gd name="T63" fmla="*/ 286 h 294"/>
                <a:gd name="T64" fmla="*/ 285 w 361"/>
                <a:gd name="T65" fmla="*/ 286 h 294"/>
                <a:gd name="T66" fmla="*/ 268 w 361"/>
                <a:gd name="T67" fmla="*/ 286 h 294"/>
                <a:gd name="T68" fmla="*/ 252 w 361"/>
                <a:gd name="T69" fmla="*/ 269 h 294"/>
                <a:gd name="T70" fmla="*/ 243 w 361"/>
                <a:gd name="T71" fmla="*/ 252 h 294"/>
                <a:gd name="T72" fmla="*/ 226 w 361"/>
                <a:gd name="T73" fmla="*/ 252 h 294"/>
                <a:gd name="T74" fmla="*/ 201 w 361"/>
                <a:gd name="T75" fmla="*/ 260 h 294"/>
                <a:gd name="T76" fmla="*/ 184 w 361"/>
                <a:gd name="T77" fmla="*/ 252 h 294"/>
                <a:gd name="T78" fmla="*/ 176 w 361"/>
                <a:gd name="T79" fmla="*/ 244 h 294"/>
                <a:gd name="T80" fmla="*/ 151 w 361"/>
                <a:gd name="T81" fmla="*/ 244 h 294"/>
                <a:gd name="T82" fmla="*/ 142 w 361"/>
                <a:gd name="T83" fmla="*/ 218 h 294"/>
                <a:gd name="T84" fmla="*/ 142 w 361"/>
                <a:gd name="T85" fmla="*/ 218 h 294"/>
                <a:gd name="T86" fmla="*/ 126 w 361"/>
                <a:gd name="T87" fmla="*/ 193 h 294"/>
                <a:gd name="T88" fmla="*/ 117 w 361"/>
                <a:gd name="T89" fmla="*/ 193 h 294"/>
                <a:gd name="T90" fmla="*/ 109 w 361"/>
                <a:gd name="T91" fmla="*/ 193 h 294"/>
                <a:gd name="T92" fmla="*/ 100 w 361"/>
                <a:gd name="T93" fmla="*/ 202 h 294"/>
                <a:gd name="T94" fmla="*/ 92 w 361"/>
                <a:gd name="T95" fmla="*/ 193 h 294"/>
                <a:gd name="T96" fmla="*/ 84 w 361"/>
                <a:gd name="T97" fmla="*/ 168 h 294"/>
                <a:gd name="T98" fmla="*/ 75 w 361"/>
                <a:gd name="T99" fmla="*/ 151 h 294"/>
                <a:gd name="T100" fmla="*/ 50 w 361"/>
                <a:gd name="T101" fmla="*/ 143 h 294"/>
                <a:gd name="T102" fmla="*/ 50 w 361"/>
                <a:gd name="T103" fmla="*/ 126 h 294"/>
                <a:gd name="T104" fmla="*/ 42 w 361"/>
                <a:gd name="T105" fmla="*/ 117 h 294"/>
                <a:gd name="T106" fmla="*/ 42 w 361"/>
                <a:gd name="T107" fmla="*/ 101 h 294"/>
                <a:gd name="T108" fmla="*/ 50 w 361"/>
                <a:gd name="T109" fmla="*/ 92 h 294"/>
                <a:gd name="T110" fmla="*/ 50 w 361"/>
                <a:gd name="T111" fmla="*/ 84 h 294"/>
                <a:gd name="T112" fmla="*/ 33 w 361"/>
                <a:gd name="T113" fmla="*/ 75 h 294"/>
                <a:gd name="T114" fmla="*/ 25 w 361"/>
                <a:gd name="T115" fmla="*/ 67 h 294"/>
                <a:gd name="T116" fmla="*/ 16 w 361"/>
                <a:gd name="T117" fmla="*/ 50 h 294"/>
                <a:gd name="T118" fmla="*/ 8 w 361"/>
                <a:gd name="T119" fmla="*/ 33 h 294"/>
                <a:gd name="T120" fmla="*/ 8 w 361"/>
                <a:gd name="T121" fmla="*/ 17 h 294"/>
                <a:gd name="T122" fmla="*/ 8 w 361"/>
                <a:gd name="T12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" h="294">
                  <a:moveTo>
                    <a:pt x="8" y="0"/>
                  </a:moveTo>
                  <a:lnTo>
                    <a:pt x="8" y="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17" y="50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26" y="67"/>
                  </a:lnTo>
                  <a:lnTo>
                    <a:pt x="134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59" y="67"/>
                  </a:lnTo>
                  <a:lnTo>
                    <a:pt x="168" y="59"/>
                  </a:lnTo>
                  <a:lnTo>
                    <a:pt x="176" y="59"/>
                  </a:lnTo>
                  <a:lnTo>
                    <a:pt x="184" y="67"/>
                  </a:lnTo>
                  <a:lnTo>
                    <a:pt x="184" y="59"/>
                  </a:lnTo>
                  <a:lnTo>
                    <a:pt x="176" y="59"/>
                  </a:lnTo>
                  <a:lnTo>
                    <a:pt x="176" y="50"/>
                  </a:lnTo>
                  <a:lnTo>
                    <a:pt x="184" y="50"/>
                  </a:lnTo>
                  <a:lnTo>
                    <a:pt x="193" y="50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201" y="33"/>
                  </a:lnTo>
                  <a:lnTo>
                    <a:pt x="210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26" y="25"/>
                  </a:lnTo>
                  <a:lnTo>
                    <a:pt x="226" y="33"/>
                  </a:lnTo>
                  <a:lnTo>
                    <a:pt x="226" y="33"/>
                  </a:lnTo>
                  <a:lnTo>
                    <a:pt x="235" y="33"/>
                  </a:lnTo>
                  <a:lnTo>
                    <a:pt x="243" y="33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0" y="42"/>
                  </a:lnTo>
                  <a:lnTo>
                    <a:pt x="268" y="42"/>
                  </a:lnTo>
                  <a:lnTo>
                    <a:pt x="268" y="42"/>
                  </a:lnTo>
                  <a:lnTo>
                    <a:pt x="268" y="50"/>
                  </a:lnTo>
                  <a:lnTo>
                    <a:pt x="268" y="50"/>
                  </a:lnTo>
                  <a:lnTo>
                    <a:pt x="277" y="50"/>
                  </a:lnTo>
                  <a:lnTo>
                    <a:pt x="285" y="50"/>
                  </a:lnTo>
                  <a:lnTo>
                    <a:pt x="285" y="59"/>
                  </a:lnTo>
                  <a:lnTo>
                    <a:pt x="294" y="59"/>
                  </a:lnTo>
                  <a:lnTo>
                    <a:pt x="302" y="67"/>
                  </a:lnTo>
                  <a:lnTo>
                    <a:pt x="302" y="67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2" y="84"/>
                  </a:lnTo>
                  <a:lnTo>
                    <a:pt x="302" y="84"/>
                  </a:lnTo>
                  <a:lnTo>
                    <a:pt x="302" y="92"/>
                  </a:lnTo>
                  <a:lnTo>
                    <a:pt x="302" y="92"/>
                  </a:lnTo>
                  <a:lnTo>
                    <a:pt x="310" y="92"/>
                  </a:lnTo>
                  <a:lnTo>
                    <a:pt x="302" y="92"/>
                  </a:lnTo>
                  <a:lnTo>
                    <a:pt x="302" y="101"/>
                  </a:lnTo>
                  <a:lnTo>
                    <a:pt x="302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7"/>
                  </a:lnTo>
                  <a:lnTo>
                    <a:pt x="302" y="126"/>
                  </a:lnTo>
                  <a:lnTo>
                    <a:pt x="310" y="126"/>
                  </a:lnTo>
                  <a:lnTo>
                    <a:pt x="310" y="126"/>
                  </a:lnTo>
                  <a:lnTo>
                    <a:pt x="302" y="134"/>
                  </a:lnTo>
                  <a:lnTo>
                    <a:pt x="302" y="134"/>
                  </a:lnTo>
                  <a:lnTo>
                    <a:pt x="310" y="143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60"/>
                  </a:lnTo>
                  <a:lnTo>
                    <a:pt x="310" y="168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7" y="176"/>
                  </a:lnTo>
                  <a:lnTo>
                    <a:pt x="327" y="185"/>
                  </a:lnTo>
                  <a:lnTo>
                    <a:pt x="327" y="185"/>
                  </a:lnTo>
                  <a:lnTo>
                    <a:pt x="319" y="202"/>
                  </a:lnTo>
                  <a:lnTo>
                    <a:pt x="327" y="218"/>
                  </a:lnTo>
                  <a:lnTo>
                    <a:pt x="327" y="218"/>
                  </a:lnTo>
                  <a:lnTo>
                    <a:pt x="327" y="227"/>
                  </a:lnTo>
                  <a:lnTo>
                    <a:pt x="336" y="227"/>
                  </a:lnTo>
                  <a:lnTo>
                    <a:pt x="336" y="227"/>
                  </a:lnTo>
                  <a:lnTo>
                    <a:pt x="344" y="227"/>
                  </a:lnTo>
                  <a:lnTo>
                    <a:pt x="344" y="227"/>
                  </a:lnTo>
                  <a:lnTo>
                    <a:pt x="344" y="235"/>
                  </a:lnTo>
                  <a:lnTo>
                    <a:pt x="352" y="235"/>
                  </a:lnTo>
                  <a:lnTo>
                    <a:pt x="352" y="235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52" y="252"/>
                  </a:lnTo>
                  <a:lnTo>
                    <a:pt x="361" y="252"/>
                  </a:lnTo>
                  <a:lnTo>
                    <a:pt x="361" y="252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52" y="260"/>
                  </a:lnTo>
                  <a:lnTo>
                    <a:pt x="344" y="260"/>
                  </a:lnTo>
                  <a:lnTo>
                    <a:pt x="344" y="260"/>
                  </a:lnTo>
                  <a:lnTo>
                    <a:pt x="344" y="269"/>
                  </a:lnTo>
                  <a:lnTo>
                    <a:pt x="336" y="269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6" y="286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27" y="294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94"/>
                  </a:lnTo>
                  <a:lnTo>
                    <a:pt x="310" y="286"/>
                  </a:lnTo>
                  <a:lnTo>
                    <a:pt x="310" y="286"/>
                  </a:lnTo>
                  <a:lnTo>
                    <a:pt x="310" y="286"/>
                  </a:lnTo>
                  <a:lnTo>
                    <a:pt x="302" y="286"/>
                  </a:lnTo>
                  <a:lnTo>
                    <a:pt x="294" y="286"/>
                  </a:lnTo>
                  <a:lnTo>
                    <a:pt x="285" y="286"/>
                  </a:lnTo>
                  <a:lnTo>
                    <a:pt x="285" y="277"/>
                  </a:lnTo>
                  <a:lnTo>
                    <a:pt x="277" y="277"/>
                  </a:lnTo>
                  <a:lnTo>
                    <a:pt x="277" y="286"/>
                  </a:lnTo>
                  <a:lnTo>
                    <a:pt x="277" y="286"/>
                  </a:lnTo>
                  <a:lnTo>
                    <a:pt x="268" y="286"/>
                  </a:lnTo>
                  <a:lnTo>
                    <a:pt x="260" y="286"/>
                  </a:lnTo>
                  <a:lnTo>
                    <a:pt x="260" y="277"/>
                  </a:lnTo>
                  <a:lnTo>
                    <a:pt x="260" y="277"/>
                  </a:lnTo>
                  <a:lnTo>
                    <a:pt x="260" y="277"/>
                  </a:lnTo>
                  <a:lnTo>
                    <a:pt x="252" y="269"/>
                  </a:lnTo>
                  <a:lnTo>
                    <a:pt x="252" y="260"/>
                  </a:lnTo>
                  <a:lnTo>
                    <a:pt x="252" y="260"/>
                  </a:lnTo>
                  <a:lnTo>
                    <a:pt x="252" y="252"/>
                  </a:lnTo>
                  <a:lnTo>
                    <a:pt x="243" y="252"/>
                  </a:lnTo>
                  <a:lnTo>
                    <a:pt x="243" y="252"/>
                  </a:lnTo>
                  <a:lnTo>
                    <a:pt x="243" y="252"/>
                  </a:lnTo>
                  <a:lnTo>
                    <a:pt x="235" y="252"/>
                  </a:lnTo>
                  <a:lnTo>
                    <a:pt x="235" y="260"/>
                  </a:lnTo>
                  <a:lnTo>
                    <a:pt x="226" y="260"/>
                  </a:lnTo>
                  <a:lnTo>
                    <a:pt x="226" y="252"/>
                  </a:lnTo>
                  <a:lnTo>
                    <a:pt x="226" y="260"/>
                  </a:lnTo>
                  <a:lnTo>
                    <a:pt x="218" y="260"/>
                  </a:lnTo>
                  <a:lnTo>
                    <a:pt x="218" y="269"/>
                  </a:lnTo>
                  <a:lnTo>
                    <a:pt x="210" y="260"/>
                  </a:lnTo>
                  <a:lnTo>
                    <a:pt x="201" y="260"/>
                  </a:lnTo>
                  <a:lnTo>
                    <a:pt x="201" y="260"/>
                  </a:lnTo>
                  <a:lnTo>
                    <a:pt x="193" y="260"/>
                  </a:lnTo>
                  <a:lnTo>
                    <a:pt x="193" y="260"/>
                  </a:lnTo>
                  <a:lnTo>
                    <a:pt x="184" y="260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76" y="252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59" y="244"/>
                  </a:lnTo>
                  <a:lnTo>
                    <a:pt x="151" y="244"/>
                  </a:lnTo>
                  <a:lnTo>
                    <a:pt x="151" y="235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34" y="218"/>
                  </a:lnTo>
                  <a:lnTo>
                    <a:pt x="134" y="210"/>
                  </a:lnTo>
                  <a:lnTo>
                    <a:pt x="134" y="202"/>
                  </a:lnTo>
                  <a:lnTo>
                    <a:pt x="126" y="202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0" y="202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92" y="193"/>
                  </a:lnTo>
                  <a:lnTo>
                    <a:pt x="92" y="193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0" y="143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83">
              <a:extLst>
                <a:ext uri="{FF2B5EF4-FFF2-40B4-BE49-F238E27FC236}">
                  <a16:creationId xmlns:a16="http://schemas.microsoft.com/office/drawing/2014/main" id="{C0A167C3-6A54-4EDE-AF4E-1B98F32E4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514" y="4110504"/>
              <a:ext cx="78448" cy="69081"/>
            </a:xfrm>
            <a:custGeom>
              <a:avLst/>
              <a:gdLst>
                <a:gd name="T0" fmla="*/ 0 w 67"/>
                <a:gd name="T1" fmla="*/ 8 h 59"/>
                <a:gd name="T2" fmla="*/ 8 w 67"/>
                <a:gd name="T3" fmla="*/ 0 h 59"/>
                <a:gd name="T4" fmla="*/ 17 w 67"/>
                <a:gd name="T5" fmla="*/ 0 h 59"/>
                <a:gd name="T6" fmla="*/ 17 w 67"/>
                <a:gd name="T7" fmla="*/ 0 h 59"/>
                <a:gd name="T8" fmla="*/ 25 w 67"/>
                <a:gd name="T9" fmla="*/ 0 h 59"/>
                <a:gd name="T10" fmla="*/ 33 w 67"/>
                <a:gd name="T11" fmla="*/ 8 h 59"/>
                <a:gd name="T12" fmla="*/ 42 w 67"/>
                <a:gd name="T13" fmla="*/ 8 h 59"/>
                <a:gd name="T14" fmla="*/ 42 w 67"/>
                <a:gd name="T15" fmla="*/ 8 h 59"/>
                <a:gd name="T16" fmla="*/ 42 w 67"/>
                <a:gd name="T17" fmla="*/ 17 h 59"/>
                <a:gd name="T18" fmla="*/ 42 w 67"/>
                <a:gd name="T19" fmla="*/ 17 h 59"/>
                <a:gd name="T20" fmla="*/ 50 w 67"/>
                <a:gd name="T21" fmla="*/ 25 h 59"/>
                <a:gd name="T22" fmla="*/ 50 w 67"/>
                <a:gd name="T23" fmla="*/ 25 h 59"/>
                <a:gd name="T24" fmla="*/ 42 w 67"/>
                <a:gd name="T25" fmla="*/ 34 h 59"/>
                <a:gd name="T26" fmla="*/ 50 w 67"/>
                <a:gd name="T27" fmla="*/ 34 h 59"/>
                <a:gd name="T28" fmla="*/ 59 w 67"/>
                <a:gd name="T29" fmla="*/ 42 h 59"/>
                <a:gd name="T30" fmla="*/ 59 w 67"/>
                <a:gd name="T31" fmla="*/ 42 h 59"/>
                <a:gd name="T32" fmla="*/ 67 w 67"/>
                <a:gd name="T33" fmla="*/ 42 h 59"/>
                <a:gd name="T34" fmla="*/ 59 w 67"/>
                <a:gd name="T35" fmla="*/ 42 h 59"/>
                <a:gd name="T36" fmla="*/ 67 w 67"/>
                <a:gd name="T37" fmla="*/ 51 h 59"/>
                <a:gd name="T38" fmla="*/ 59 w 67"/>
                <a:gd name="T39" fmla="*/ 51 h 59"/>
                <a:gd name="T40" fmla="*/ 59 w 67"/>
                <a:gd name="T41" fmla="*/ 51 h 59"/>
                <a:gd name="T42" fmla="*/ 59 w 67"/>
                <a:gd name="T43" fmla="*/ 59 h 59"/>
                <a:gd name="T44" fmla="*/ 50 w 67"/>
                <a:gd name="T45" fmla="*/ 42 h 59"/>
                <a:gd name="T46" fmla="*/ 42 w 67"/>
                <a:gd name="T47" fmla="*/ 42 h 59"/>
                <a:gd name="T48" fmla="*/ 42 w 67"/>
                <a:gd name="T49" fmla="*/ 34 h 59"/>
                <a:gd name="T50" fmla="*/ 42 w 67"/>
                <a:gd name="T51" fmla="*/ 34 h 59"/>
                <a:gd name="T52" fmla="*/ 42 w 67"/>
                <a:gd name="T53" fmla="*/ 42 h 59"/>
                <a:gd name="T54" fmla="*/ 33 w 67"/>
                <a:gd name="T55" fmla="*/ 34 h 59"/>
                <a:gd name="T56" fmla="*/ 33 w 67"/>
                <a:gd name="T57" fmla="*/ 34 h 59"/>
                <a:gd name="T58" fmla="*/ 25 w 67"/>
                <a:gd name="T59" fmla="*/ 34 h 59"/>
                <a:gd name="T60" fmla="*/ 25 w 67"/>
                <a:gd name="T61" fmla="*/ 34 h 59"/>
                <a:gd name="T62" fmla="*/ 25 w 67"/>
                <a:gd name="T63" fmla="*/ 34 h 59"/>
                <a:gd name="T64" fmla="*/ 17 w 67"/>
                <a:gd name="T65" fmla="*/ 34 h 59"/>
                <a:gd name="T66" fmla="*/ 17 w 67"/>
                <a:gd name="T67" fmla="*/ 34 h 59"/>
                <a:gd name="T68" fmla="*/ 8 w 67"/>
                <a:gd name="T69" fmla="*/ 25 h 59"/>
                <a:gd name="T70" fmla="*/ 8 w 67"/>
                <a:gd name="T71" fmla="*/ 17 h 59"/>
                <a:gd name="T72" fmla="*/ 8 w 67"/>
                <a:gd name="T73" fmla="*/ 17 h 59"/>
                <a:gd name="T74" fmla="*/ 8 w 67"/>
                <a:gd name="T75" fmla="*/ 8 h 59"/>
                <a:gd name="T76" fmla="*/ 8 w 67"/>
                <a:gd name="T77" fmla="*/ 8 h 59"/>
                <a:gd name="T78" fmla="*/ 8 w 67"/>
                <a:gd name="T79" fmla="*/ 8 h 59"/>
                <a:gd name="T80" fmla="*/ 0 w 67"/>
                <a:gd name="T81" fmla="*/ 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" h="59">
                  <a:moveTo>
                    <a:pt x="0" y="8"/>
                  </a:move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67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9"/>
                  </a:lnTo>
                  <a:lnTo>
                    <a:pt x="50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84">
              <a:extLst>
                <a:ext uri="{FF2B5EF4-FFF2-40B4-BE49-F238E27FC236}">
                  <a16:creationId xmlns:a16="http://schemas.microsoft.com/office/drawing/2014/main" id="{7665742C-1AB1-4E41-B46B-9AB5A60BD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29279" y="4101137"/>
              <a:ext cx="382873" cy="147529"/>
            </a:xfrm>
            <a:custGeom>
              <a:avLst/>
              <a:gdLst>
                <a:gd name="T0" fmla="*/ 17 w 327"/>
                <a:gd name="T1" fmla="*/ 8 h 126"/>
                <a:gd name="T2" fmla="*/ 25 w 327"/>
                <a:gd name="T3" fmla="*/ 0 h 126"/>
                <a:gd name="T4" fmla="*/ 50 w 327"/>
                <a:gd name="T5" fmla="*/ 8 h 126"/>
                <a:gd name="T6" fmla="*/ 50 w 327"/>
                <a:gd name="T7" fmla="*/ 25 h 126"/>
                <a:gd name="T8" fmla="*/ 25 w 327"/>
                <a:gd name="T9" fmla="*/ 33 h 126"/>
                <a:gd name="T10" fmla="*/ 17 w 327"/>
                <a:gd name="T11" fmla="*/ 33 h 126"/>
                <a:gd name="T12" fmla="*/ 8 w 327"/>
                <a:gd name="T13" fmla="*/ 25 h 126"/>
                <a:gd name="T14" fmla="*/ 252 w 327"/>
                <a:gd name="T15" fmla="*/ 16 h 126"/>
                <a:gd name="T16" fmla="*/ 235 w 327"/>
                <a:gd name="T17" fmla="*/ 16 h 126"/>
                <a:gd name="T18" fmla="*/ 201 w 327"/>
                <a:gd name="T19" fmla="*/ 16 h 126"/>
                <a:gd name="T20" fmla="*/ 176 w 327"/>
                <a:gd name="T21" fmla="*/ 16 h 126"/>
                <a:gd name="T22" fmla="*/ 168 w 327"/>
                <a:gd name="T23" fmla="*/ 8 h 126"/>
                <a:gd name="T24" fmla="*/ 143 w 327"/>
                <a:gd name="T25" fmla="*/ 0 h 126"/>
                <a:gd name="T26" fmla="*/ 117 w 327"/>
                <a:gd name="T27" fmla="*/ 0 h 126"/>
                <a:gd name="T28" fmla="*/ 101 w 327"/>
                <a:gd name="T29" fmla="*/ 16 h 126"/>
                <a:gd name="T30" fmla="*/ 75 w 327"/>
                <a:gd name="T31" fmla="*/ 16 h 126"/>
                <a:gd name="T32" fmla="*/ 59 w 327"/>
                <a:gd name="T33" fmla="*/ 25 h 126"/>
                <a:gd name="T34" fmla="*/ 50 w 327"/>
                <a:gd name="T35" fmla="*/ 33 h 126"/>
                <a:gd name="T36" fmla="*/ 42 w 327"/>
                <a:gd name="T37" fmla="*/ 33 h 126"/>
                <a:gd name="T38" fmla="*/ 25 w 327"/>
                <a:gd name="T39" fmla="*/ 33 h 126"/>
                <a:gd name="T40" fmla="*/ 17 w 327"/>
                <a:gd name="T41" fmla="*/ 50 h 126"/>
                <a:gd name="T42" fmla="*/ 25 w 327"/>
                <a:gd name="T43" fmla="*/ 59 h 126"/>
                <a:gd name="T44" fmla="*/ 25 w 327"/>
                <a:gd name="T45" fmla="*/ 67 h 126"/>
                <a:gd name="T46" fmla="*/ 25 w 327"/>
                <a:gd name="T47" fmla="*/ 75 h 126"/>
                <a:gd name="T48" fmla="*/ 17 w 327"/>
                <a:gd name="T49" fmla="*/ 75 h 126"/>
                <a:gd name="T50" fmla="*/ 25 w 327"/>
                <a:gd name="T51" fmla="*/ 84 h 126"/>
                <a:gd name="T52" fmla="*/ 33 w 327"/>
                <a:gd name="T53" fmla="*/ 101 h 126"/>
                <a:gd name="T54" fmla="*/ 33 w 327"/>
                <a:gd name="T55" fmla="*/ 109 h 126"/>
                <a:gd name="T56" fmla="*/ 33 w 327"/>
                <a:gd name="T57" fmla="*/ 117 h 126"/>
                <a:gd name="T58" fmla="*/ 50 w 327"/>
                <a:gd name="T59" fmla="*/ 117 h 126"/>
                <a:gd name="T60" fmla="*/ 59 w 327"/>
                <a:gd name="T61" fmla="*/ 117 h 126"/>
                <a:gd name="T62" fmla="*/ 67 w 327"/>
                <a:gd name="T63" fmla="*/ 117 h 126"/>
                <a:gd name="T64" fmla="*/ 84 w 327"/>
                <a:gd name="T65" fmla="*/ 126 h 126"/>
                <a:gd name="T66" fmla="*/ 92 w 327"/>
                <a:gd name="T67" fmla="*/ 117 h 126"/>
                <a:gd name="T68" fmla="*/ 126 w 327"/>
                <a:gd name="T69" fmla="*/ 126 h 126"/>
                <a:gd name="T70" fmla="*/ 151 w 327"/>
                <a:gd name="T71" fmla="*/ 126 h 126"/>
                <a:gd name="T72" fmla="*/ 176 w 327"/>
                <a:gd name="T73" fmla="*/ 117 h 126"/>
                <a:gd name="T74" fmla="*/ 185 w 327"/>
                <a:gd name="T75" fmla="*/ 117 h 126"/>
                <a:gd name="T76" fmla="*/ 193 w 327"/>
                <a:gd name="T77" fmla="*/ 126 h 126"/>
                <a:gd name="T78" fmla="*/ 210 w 327"/>
                <a:gd name="T79" fmla="*/ 117 h 126"/>
                <a:gd name="T80" fmla="*/ 235 w 327"/>
                <a:gd name="T81" fmla="*/ 109 h 126"/>
                <a:gd name="T82" fmla="*/ 260 w 327"/>
                <a:gd name="T83" fmla="*/ 101 h 126"/>
                <a:gd name="T84" fmla="*/ 294 w 327"/>
                <a:gd name="T85" fmla="*/ 101 h 126"/>
                <a:gd name="T86" fmla="*/ 319 w 327"/>
                <a:gd name="T87" fmla="*/ 101 h 126"/>
                <a:gd name="T88" fmla="*/ 327 w 327"/>
                <a:gd name="T89" fmla="*/ 92 h 126"/>
                <a:gd name="T90" fmla="*/ 319 w 327"/>
                <a:gd name="T91" fmla="*/ 75 h 126"/>
                <a:gd name="T92" fmla="*/ 311 w 327"/>
                <a:gd name="T93" fmla="*/ 50 h 126"/>
                <a:gd name="T94" fmla="*/ 311 w 327"/>
                <a:gd name="T95" fmla="*/ 42 h 126"/>
                <a:gd name="T96" fmla="*/ 302 w 327"/>
                <a:gd name="T97" fmla="*/ 16 h 126"/>
                <a:gd name="T98" fmla="*/ 277 w 327"/>
                <a:gd name="T99" fmla="*/ 8 h 126"/>
                <a:gd name="T100" fmla="*/ 269 w 327"/>
                <a:gd name="T101" fmla="*/ 8 h 126"/>
                <a:gd name="T102" fmla="*/ 42 w 327"/>
                <a:gd name="T103" fmla="*/ 117 h 126"/>
                <a:gd name="T104" fmla="*/ 8 w 327"/>
                <a:gd name="T105" fmla="*/ 4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7" h="126">
                  <a:moveTo>
                    <a:pt x="8" y="25"/>
                  </a:move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close/>
                  <a:moveTo>
                    <a:pt x="269" y="8"/>
                  </a:moveTo>
                  <a:lnTo>
                    <a:pt x="269" y="8"/>
                  </a:lnTo>
                  <a:lnTo>
                    <a:pt x="260" y="8"/>
                  </a:lnTo>
                  <a:lnTo>
                    <a:pt x="260" y="16"/>
                  </a:lnTo>
                  <a:lnTo>
                    <a:pt x="252" y="16"/>
                  </a:lnTo>
                  <a:lnTo>
                    <a:pt x="252" y="16"/>
                  </a:lnTo>
                  <a:lnTo>
                    <a:pt x="243" y="16"/>
                  </a:lnTo>
                  <a:lnTo>
                    <a:pt x="243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27" y="16"/>
                  </a:lnTo>
                  <a:lnTo>
                    <a:pt x="218" y="16"/>
                  </a:lnTo>
                  <a:lnTo>
                    <a:pt x="218" y="25"/>
                  </a:lnTo>
                  <a:lnTo>
                    <a:pt x="210" y="16"/>
                  </a:lnTo>
                  <a:lnTo>
                    <a:pt x="201" y="16"/>
                  </a:lnTo>
                  <a:lnTo>
                    <a:pt x="201" y="16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16"/>
                  </a:lnTo>
                  <a:lnTo>
                    <a:pt x="176" y="16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59" y="1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0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42" y="33"/>
                  </a:lnTo>
                  <a:lnTo>
                    <a:pt x="42" y="42"/>
                  </a:lnTo>
                  <a:lnTo>
                    <a:pt x="42" y="33"/>
                  </a:lnTo>
                  <a:lnTo>
                    <a:pt x="33" y="33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42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42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2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09"/>
                  </a:lnTo>
                  <a:lnTo>
                    <a:pt x="59" y="10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09"/>
                  </a:lnTo>
                  <a:lnTo>
                    <a:pt x="101" y="109"/>
                  </a:lnTo>
                  <a:lnTo>
                    <a:pt x="109" y="109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43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17"/>
                  </a:lnTo>
                  <a:lnTo>
                    <a:pt x="159" y="109"/>
                  </a:lnTo>
                  <a:lnTo>
                    <a:pt x="159" y="109"/>
                  </a:lnTo>
                  <a:lnTo>
                    <a:pt x="168" y="109"/>
                  </a:lnTo>
                  <a:lnTo>
                    <a:pt x="176" y="117"/>
                  </a:lnTo>
                  <a:lnTo>
                    <a:pt x="176" y="117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10" y="117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43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60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77" y="101"/>
                  </a:lnTo>
                  <a:lnTo>
                    <a:pt x="285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1"/>
                  </a:lnTo>
                  <a:lnTo>
                    <a:pt x="311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27" y="101"/>
                  </a:lnTo>
                  <a:lnTo>
                    <a:pt x="327" y="101"/>
                  </a:lnTo>
                  <a:lnTo>
                    <a:pt x="327" y="101"/>
                  </a:lnTo>
                  <a:lnTo>
                    <a:pt x="327" y="92"/>
                  </a:lnTo>
                  <a:lnTo>
                    <a:pt x="327" y="92"/>
                  </a:lnTo>
                  <a:lnTo>
                    <a:pt x="319" y="84"/>
                  </a:lnTo>
                  <a:lnTo>
                    <a:pt x="319" y="84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67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1" y="50"/>
                  </a:lnTo>
                  <a:lnTo>
                    <a:pt x="311" y="5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1" y="42"/>
                  </a:lnTo>
                  <a:lnTo>
                    <a:pt x="311" y="42"/>
                  </a:lnTo>
                  <a:lnTo>
                    <a:pt x="302" y="33"/>
                  </a:lnTo>
                  <a:lnTo>
                    <a:pt x="302" y="25"/>
                  </a:lnTo>
                  <a:lnTo>
                    <a:pt x="302" y="25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85" y="8"/>
                  </a:lnTo>
                  <a:lnTo>
                    <a:pt x="285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close/>
                  <a:moveTo>
                    <a:pt x="42" y="117"/>
                  </a:move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close/>
                  <a:moveTo>
                    <a:pt x="0" y="42"/>
                  </a:move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85">
              <a:extLst>
                <a:ext uri="{FF2B5EF4-FFF2-40B4-BE49-F238E27FC236}">
                  <a16:creationId xmlns:a16="http://schemas.microsoft.com/office/drawing/2014/main" id="{4081E985-31A8-4E8C-8461-72017FA7F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799" y="4219394"/>
              <a:ext cx="196705" cy="186168"/>
            </a:xfrm>
            <a:custGeom>
              <a:avLst/>
              <a:gdLst>
                <a:gd name="T0" fmla="*/ 168 w 168"/>
                <a:gd name="T1" fmla="*/ 134 h 159"/>
                <a:gd name="T2" fmla="*/ 160 w 168"/>
                <a:gd name="T3" fmla="*/ 134 h 159"/>
                <a:gd name="T4" fmla="*/ 152 w 168"/>
                <a:gd name="T5" fmla="*/ 117 h 159"/>
                <a:gd name="T6" fmla="*/ 152 w 168"/>
                <a:gd name="T7" fmla="*/ 109 h 159"/>
                <a:gd name="T8" fmla="*/ 152 w 168"/>
                <a:gd name="T9" fmla="*/ 101 h 159"/>
                <a:gd name="T10" fmla="*/ 143 w 168"/>
                <a:gd name="T11" fmla="*/ 92 h 159"/>
                <a:gd name="T12" fmla="*/ 143 w 168"/>
                <a:gd name="T13" fmla="*/ 92 h 159"/>
                <a:gd name="T14" fmla="*/ 126 w 168"/>
                <a:gd name="T15" fmla="*/ 84 h 159"/>
                <a:gd name="T16" fmla="*/ 118 w 168"/>
                <a:gd name="T17" fmla="*/ 84 h 159"/>
                <a:gd name="T18" fmla="*/ 118 w 168"/>
                <a:gd name="T19" fmla="*/ 75 h 159"/>
                <a:gd name="T20" fmla="*/ 118 w 168"/>
                <a:gd name="T21" fmla="*/ 75 h 159"/>
                <a:gd name="T22" fmla="*/ 110 w 168"/>
                <a:gd name="T23" fmla="*/ 67 h 159"/>
                <a:gd name="T24" fmla="*/ 110 w 168"/>
                <a:gd name="T25" fmla="*/ 67 h 159"/>
                <a:gd name="T26" fmla="*/ 110 w 168"/>
                <a:gd name="T27" fmla="*/ 58 h 159"/>
                <a:gd name="T28" fmla="*/ 110 w 168"/>
                <a:gd name="T29" fmla="*/ 58 h 159"/>
                <a:gd name="T30" fmla="*/ 110 w 168"/>
                <a:gd name="T31" fmla="*/ 50 h 159"/>
                <a:gd name="T32" fmla="*/ 118 w 168"/>
                <a:gd name="T33" fmla="*/ 42 h 159"/>
                <a:gd name="T34" fmla="*/ 118 w 168"/>
                <a:gd name="T35" fmla="*/ 33 h 159"/>
                <a:gd name="T36" fmla="*/ 118 w 168"/>
                <a:gd name="T37" fmla="*/ 33 h 159"/>
                <a:gd name="T38" fmla="*/ 118 w 168"/>
                <a:gd name="T39" fmla="*/ 25 h 159"/>
                <a:gd name="T40" fmla="*/ 118 w 168"/>
                <a:gd name="T41" fmla="*/ 25 h 159"/>
                <a:gd name="T42" fmla="*/ 110 w 168"/>
                <a:gd name="T43" fmla="*/ 25 h 159"/>
                <a:gd name="T44" fmla="*/ 101 w 168"/>
                <a:gd name="T45" fmla="*/ 25 h 159"/>
                <a:gd name="T46" fmla="*/ 101 w 168"/>
                <a:gd name="T47" fmla="*/ 16 h 159"/>
                <a:gd name="T48" fmla="*/ 93 w 168"/>
                <a:gd name="T49" fmla="*/ 16 h 159"/>
                <a:gd name="T50" fmla="*/ 93 w 168"/>
                <a:gd name="T51" fmla="*/ 8 h 159"/>
                <a:gd name="T52" fmla="*/ 93 w 168"/>
                <a:gd name="T53" fmla="*/ 0 h 159"/>
                <a:gd name="T54" fmla="*/ 84 w 168"/>
                <a:gd name="T55" fmla="*/ 0 h 159"/>
                <a:gd name="T56" fmla="*/ 76 w 168"/>
                <a:gd name="T57" fmla="*/ 0 h 159"/>
                <a:gd name="T58" fmla="*/ 76 w 168"/>
                <a:gd name="T59" fmla="*/ 0 h 159"/>
                <a:gd name="T60" fmla="*/ 59 w 168"/>
                <a:gd name="T61" fmla="*/ 0 h 159"/>
                <a:gd name="T62" fmla="*/ 51 w 168"/>
                <a:gd name="T63" fmla="*/ 0 h 159"/>
                <a:gd name="T64" fmla="*/ 51 w 168"/>
                <a:gd name="T65" fmla="*/ 0 h 159"/>
                <a:gd name="T66" fmla="*/ 42 w 168"/>
                <a:gd name="T67" fmla="*/ 8 h 159"/>
                <a:gd name="T68" fmla="*/ 34 w 168"/>
                <a:gd name="T69" fmla="*/ 8 h 159"/>
                <a:gd name="T70" fmla="*/ 34 w 168"/>
                <a:gd name="T71" fmla="*/ 25 h 159"/>
                <a:gd name="T72" fmla="*/ 34 w 168"/>
                <a:gd name="T73" fmla="*/ 33 h 159"/>
                <a:gd name="T74" fmla="*/ 34 w 168"/>
                <a:gd name="T75" fmla="*/ 42 h 159"/>
                <a:gd name="T76" fmla="*/ 26 w 168"/>
                <a:gd name="T77" fmla="*/ 50 h 159"/>
                <a:gd name="T78" fmla="*/ 0 w 168"/>
                <a:gd name="T79" fmla="*/ 75 h 159"/>
                <a:gd name="T80" fmla="*/ 0 w 168"/>
                <a:gd name="T81" fmla="*/ 75 h 159"/>
                <a:gd name="T82" fmla="*/ 17 w 168"/>
                <a:gd name="T83" fmla="*/ 101 h 159"/>
                <a:gd name="T84" fmla="*/ 135 w 168"/>
                <a:gd name="T85" fmla="*/ 159 h 159"/>
                <a:gd name="T86" fmla="*/ 143 w 168"/>
                <a:gd name="T87" fmla="*/ 143 h 159"/>
                <a:gd name="T88" fmla="*/ 160 w 168"/>
                <a:gd name="T89" fmla="*/ 143 h 159"/>
                <a:gd name="T90" fmla="*/ 160 w 168"/>
                <a:gd name="T91" fmla="*/ 143 h 159"/>
                <a:gd name="T92" fmla="*/ 168 w 168"/>
                <a:gd name="T93" fmla="*/ 13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" h="159">
                  <a:moveTo>
                    <a:pt x="168" y="134"/>
                  </a:moveTo>
                  <a:lnTo>
                    <a:pt x="168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18" y="84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50"/>
                  </a:lnTo>
                  <a:lnTo>
                    <a:pt x="26" y="50"/>
                  </a:lnTo>
                  <a:lnTo>
                    <a:pt x="26" y="58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9" y="101"/>
                  </a:lnTo>
                  <a:lnTo>
                    <a:pt x="17" y="101"/>
                  </a:lnTo>
                  <a:lnTo>
                    <a:pt x="101" y="159"/>
                  </a:lnTo>
                  <a:lnTo>
                    <a:pt x="135" y="159"/>
                  </a:lnTo>
                  <a:lnTo>
                    <a:pt x="143" y="151"/>
                  </a:lnTo>
                  <a:lnTo>
                    <a:pt x="143" y="143"/>
                  </a:lnTo>
                  <a:lnTo>
                    <a:pt x="152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8" y="134"/>
                  </a:lnTo>
                  <a:lnTo>
                    <a:pt x="168" y="1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Freeform 86">
              <a:extLst>
                <a:ext uri="{FF2B5EF4-FFF2-40B4-BE49-F238E27FC236}">
                  <a16:creationId xmlns:a16="http://schemas.microsoft.com/office/drawing/2014/main" id="{FF7F6BA2-CADA-4F3D-868F-B46C7DB28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866" y="4386828"/>
              <a:ext cx="38639" cy="29272"/>
            </a:xfrm>
            <a:custGeom>
              <a:avLst/>
              <a:gdLst>
                <a:gd name="T0" fmla="*/ 0 w 33"/>
                <a:gd name="T1" fmla="*/ 16 h 25"/>
                <a:gd name="T2" fmla="*/ 8 w 33"/>
                <a:gd name="T3" fmla="*/ 8 h 25"/>
                <a:gd name="T4" fmla="*/ 8 w 33"/>
                <a:gd name="T5" fmla="*/ 0 h 25"/>
                <a:gd name="T6" fmla="*/ 17 w 33"/>
                <a:gd name="T7" fmla="*/ 0 h 25"/>
                <a:gd name="T8" fmla="*/ 25 w 33"/>
                <a:gd name="T9" fmla="*/ 0 h 25"/>
                <a:gd name="T10" fmla="*/ 25 w 33"/>
                <a:gd name="T11" fmla="*/ 0 h 25"/>
                <a:gd name="T12" fmla="*/ 25 w 33"/>
                <a:gd name="T13" fmla="*/ 0 h 25"/>
                <a:gd name="T14" fmla="*/ 25 w 33"/>
                <a:gd name="T15" fmla="*/ 0 h 25"/>
                <a:gd name="T16" fmla="*/ 33 w 33"/>
                <a:gd name="T17" fmla="*/ 8 h 25"/>
                <a:gd name="T18" fmla="*/ 17 w 33"/>
                <a:gd name="T19" fmla="*/ 8 h 25"/>
                <a:gd name="T20" fmla="*/ 25 w 33"/>
                <a:gd name="T21" fmla="*/ 16 h 25"/>
                <a:gd name="T22" fmla="*/ 25 w 33"/>
                <a:gd name="T23" fmla="*/ 16 h 25"/>
                <a:gd name="T24" fmla="*/ 25 w 33"/>
                <a:gd name="T25" fmla="*/ 16 h 25"/>
                <a:gd name="T26" fmla="*/ 25 w 33"/>
                <a:gd name="T27" fmla="*/ 16 h 25"/>
                <a:gd name="T28" fmla="*/ 33 w 33"/>
                <a:gd name="T29" fmla="*/ 16 h 25"/>
                <a:gd name="T30" fmla="*/ 33 w 33"/>
                <a:gd name="T31" fmla="*/ 16 h 25"/>
                <a:gd name="T32" fmla="*/ 33 w 33"/>
                <a:gd name="T33" fmla="*/ 25 h 25"/>
                <a:gd name="T34" fmla="*/ 33 w 33"/>
                <a:gd name="T35" fmla="*/ 25 h 25"/>
                <a:gd name="T36" fmla="*/ 17 w 33"/>
                <a:gd name="T37" fmla="*/ 25 h 25"/>
                <a:gd name="T38" fmla="*/ 17 w 33"/>
                <a:gd name="T39" fmla="*/ 25 h 25"/>
                <a:gd name="T40" fmla="*/ 0 w 33"/>
                <a:gd name="T41" fmla="*/ 16 h 25"/>
                <a:gd name="T42" fmla="*/ 0 w 33"/>
                <a:gd name="T43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25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87">
              <a:extLst>
                <a:ext uri="{FF2B5EF4-FFF2-40B4-BE49-F238E27FC236}">
                  <a16:creationId xmlns:a16="http://schemas.microsoft.com/office/drawing/2014/main" id="{C08939DE-C379-4E8C-A360-F6BB51472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808" y="4258033"/>
              <a:ext cx="38639" cy="29272"/>
            </a:xfrm>
            <a:custGeom>
              <a:avLst/>
              <a:gdLst>
                <a:gd name="T0" fmla="*/ 8 w 33"/>
                <a:gd name="T1" fmla="*/ 25 h 25"/>
                <a:gd name="T2" fmla="*/ 0 w 33"/>
                <a:gd name="T3" fmla="*/ 17 h 25"/>
                <a:gd name="T4" fmla="*/ 0 w 33"/>
                <a:gd name="T5" fmla="*/ 17 h 25"/>
                <a:gd name="T6" fmla="*/ 0 w 33"/>
                <a:gd name="T7" fmla="*/ 9 h 25"/>
                <a:gd name="T8" fmla="*/ 0 w 33"/>
                <a:gd name="T9" fmla="*/ 9 h 25"/>
                <a:gd name="T10" fmla="*/ 0 w 33"/>
                <a:gd name="T11" fmla="*/ 9 h 25"/>
                <a:gd name="T12" fmla="*/ 8 w 33"/>
                <a:gd name="T13" fmla="*/ 9 h 25"/>
                <a:gd name="T14" fmla="*/ 8 w 33"/>
                <a:gd name="T15" fmla="*/ 9 h 25"/>
                <a:gd name="T16" fmla="*/ 8 w 33"/>
                <a:gd name="T17" fmla="*/ 9 h 25"/>
                <a:gd name="T18" fmla="*/ 8 w 33"/>
                <a:gd name="T19" fmla="*/ 9 h 25"/>
                <a:gd name="T20" fmla="*/ 17 w 33"/>
                <a:gd name="T21" fmla="*/ 9 h 25"/>
                <a:gd name="T22" fmla="*/ 17 w 33"/>
                <a:gd name="T23" fmla="*/ 9 h 25"/>
                <a:gd name="T24" fmla="*/ 17 w 33"/>
                <a:gd name="T25" fmla="*/ 9 h 25"/>
                <a:gd name="T26" fmla="*/ 25 w 33"/>
                <a:gd name="T27" fmla="*/ 0 h 25"/>
                <a:gd name="T28" fmla="*/ 33 w 33"/>
                <a:gd name="T29" fmla="*/ 0 h 25"/>
                <a:gd name="T30" fmla="*/ 33 w 33"/>
                <a:gd name="T31" fmla="*/ 0 h 25"/>
                <a:gd name="T32" fmla="*/ 33 w 33"/>
                <a:gd name="T33" fmla="*/ 0 h 25"/>
                <a:gd name="T34" fmla="*/ 33 w 33"/>
                <a:gd name="T35" fmla="*/ 0 h 25"/>
                <a:gd name="T36" fmla="*/ 33 w 33"/>
                <a:gd name="T37" fmla="*/ 9 h 25"/>
                <a:gd name="T38" fmla="*/ 25 w 33"/>
                <a:gd name="T39" fmla="*/ 9 h 25"/>
                <a:gd name="T40" fmla="*/ 25 w 33"/>
                <a:gd name="T41" fmla="*/ 17 h 25"/>
                <a:gd name="T42" fmla="*/ 25 w 33"/>
                <a:gd name="T43" fmla="*/ 17 h 25"/>
                <a:gd name="T44" fmla="*/ 25 w 33"/>
                <a:gd name="T45" fmla="*/ 17 h 25"/>
                <a:gd name="T46" fmla="*/ 25 w 33"/>
                <a:gd name="T47" fmla="*/ 17 h 25"/>
                <a:gd name="T48" fmla="*/ 17 w 33"/>
                <a:gd name="T49" fmla="*/ 17 h 25"/>
                <a:gd name="T50" fmla="*/ 17 w 33"/>
                <a:gd name="T51" fmla="*/ 25 h 25"/>
                <a:gd name="T52" fmla="*/ 8 w 33"/>
                <a:gd name="T53" fmla="*/ 25 h 25"/>
                <a:gd name="T54" fmla="*/ 8 w 33"/>
                <a:gd name="T55" fmla="*/ 25 h 25"/>
                <a:gd name="T56" fmla="*/ 8 w 33"/>
                <a:gd name="T5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" h="25">
                  <a:moveTo>
                    <a:pt x="8" y="25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Freeform 88">
              <a:extLst>
                <a:ext uri="{FF2B5EF4-FFF2-40B4-BE49-F238E27FC236}">
                  <a16:creationId xmlns:a16="http://schemas.microsoft.com/office/drawing/2014/main" id="{804BB144-74C3-45FF-B77E-D449FB5C1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889" y="4219394"/>
              <a:ext cx="127624" cy="118258"/>
            </a:xfrm>
            <a:custGeom>
              <a:avLst/>
              <a:gdLst>
                <a:gd name="T0" fmla="*/ 84 w 109"/>
                <a:gd name="T1" fmla="*/ 58 h 101"/>
                <a:gd name="T2" fmla="*/ 92 w 109"/>
                <a:gd name="T3" fmla="*/ 50 h 101"/>
                <a:gd name="T4" fmla="*/ 92 w 109"/>
                <a:gd name="T5" fmla="*/ 42 h 101"/>
                <a:gd name="T6" fmla="*/ 92 w 109"/>
                <a:gd name="T7" fmla="*/ 25 h 101"/>
                <a:gd name="T8" fmla="*/ 92 w 109"/>
                <a:gd name="T9" fmla="*/ 16 h 101"/>
                <a:gd name="T10" fmla="*/ 100 w 109"/>
                <a:gd name="T11" fmla="*/ 8 h 101"/>
                <a:gd name="T12" fmla="*/ 109 w 109"/>
                <a:gd name="T13" fmla="*/ 8 h 101"/>
                <a:gd name="T14" fmla="*/ 109 w 109"/>
                <a:gd name="T15" fmla="*/ 0 h 101"/>
                <a:gd name="T16" fmla="*/ 92 w 109"/>
                <a:gd name="T17" fmla="*/ 0 h 101"/>
                <a:gd name="T18" fmla="*/ 84 w 109"/>
                <a:gd name="T19" fmla="*/ 0 h 101"/>
                <a:gd name="T20" fmla="*/ 67 w 109"/>
                <a:gd name="T21" fmla="*/ 8 h 101"/>
                <a:gd name="T22" fmla="*/ 67 w 109"/>
                <a:gd name="T23" fmla="*/ 8 h 101"/>
                <a:gd name="T24" fmla="*/ 50 w 109"/>
                <a:gd name="T25" fmla="*/ 8 h 101"/>
                <a:gd name="T26" fmla="*/ 50 w 109"/>
                <a:gd name="T27" fmla="*/ 8 h 101"/>
                <a:gd name="T28" fmla="*/ 33 w 109"/>
                <a:gd name="T29" fmla="*/ 8 h 101"/>
                <a:gd name="T30" fmla="*/ 33 w 109"/>
                <a:gd name="T31" fmla="*/ 8 h 101"/>
                <a:gd name="T32" fmla="*/ 16 w 109"/>
                <a:gd name="T33" fmla="*/ 8 h 101"/>
                <a:gd name="T34" fmla="*/ 8 w 109"/>
                <a:gd name="T35" fmla="*/ 16 h 101"/>
                <a:gd name="T36" fmla="*/ 8 w 109"/>
                <a:gd name="T37" fmla="*/ 25 h 101"/>
                <a:gd name="T38" fmla="*/ 8 w 109"/>
                <a:gd name="T39" fmla="*/ 25 h 101"/>
                <a:gd name="T40" fmla="*/ 0 w 109"/>
                <a:gd name="T41" fmla="*/ 25 h 101"/>
                <a:gd name="T42" fmla="*/ 0 w 109"/>
                <a:gd name="T43" fmla="*/ 25 h 101"/>
                <a:gd name="T44" fmla="*/ 0 w 109"/>
                <a:gd name="T45" fmla="*/ 42 h 101"/>
                <a:gd name="T46" fmla="*/ 0 w 109"/>
                <a:gd name="T47" fmla="*/ 50 h 101"/>
                <a:gd name="T48" fmla="*/ 8 w 109"/>
                <a:gd name="T49" fmla="*/ 58 h 101"/>
                <a:gd name="T50" fmla="*/ 16 w 109"/>
                <a:gd name="T51" fmla="*/ 58 h 101"/>
                <a:gd name="T52" fmla="*/ 16 w 109"/>
                <a:gd name="T53" fmla="*/ 67 h 101"/>
                <a:gd name="T54" fmla="*/ 8 w 109"/>
                <a:gd name="T55" fmla="*/ 67 h 101"/>
                <a:gd name="T56" fmla="*/ 8 w 109"/>
                <a:gd name="T57" fmla="*/ 75 h 101"/>
                <a:gd name="T58" fmla="*/ 0 w 109"/>
                <a:gd name="T59" fmla="*/ 75 h 101"/>
                <a:gd name="T60" fmla="*/ 8 w 109"/>
                <a:gd name="T61" fmla="*/ 84 h 101"/>
                <a:gd name="T62" fmla="*/ 8 w 109"/>
                <a:gd name="T63" fmla="*/ 92 h 101"/>
                <a:gd name="T64" fmla="*/ 16 w 109"/>
                <a:gd name="T65" fmla="*/ 92 h 101"/>
                <a:gd name="T66" fmla="*/ 16 w 109"/>
                <a:gd name="T67" fmla="*/ 101 h 101"/>
                <a:gd name="T68" fmla="*/ 58 w 109"/>
                <a:gd name="T69" fmla="*/ 7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" h="101">
                  <a:moveTo>
                    <a:pt x="58" y="75"/>
                  </a:moveTo>
                  <a:lnTo>
                    <a:pt x="84" y="58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33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92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9" y="8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92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16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6" y="58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92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58" y="75"/>
                  </a:lnTo>
                  <a:lnTo>
                    <a:pt x="58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89">
              <a:extLst>
                <a:ext uri="{FF2B5EF4-FFF2-40B4-BE49-F238E27FC236}">
                  <a16:creationId xmlns:a16="http://schemas.microsoft.com/office/drawing/2014/main" id="{D0C37E36-71BD-480F-AF2E-42D9E0BB5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447" y="4307209"/>
              <a:ext cx="30443" cy="98353"/>
            </a:xfrm>
            <a:custGeom>
              <a:avLst/>
              <a:gdLst>
                <a:gd name="T0" fmla="*/ 17 w 26"/>
                <a:gd name="T1" fmla="*/ 84 h 84"/>
                <a:gd name="T2" fmla="*/ 17 w 26"/>
                <a:gd name="T3" fmla="*/ 76 h 84"/>
                <a:gd name="T4" fmla="*/ 17 w 26"/>
                <a:gd name="T5" fmla="*/ 76 h 84"/>
                <a:gd name="T6" fmla="*/ 17 w 26"/>
                <a:gd name="T7" fmla="*/ 76 h 84"/>
                <a:gd name="T8" fmla="*/ 26 w 26"/>
                <a:gd name="T9" fmla="*/ 76 h 84"/>
                <a:gd name="T10" fmla="*/ 26 w 26"/>
                <a:gd name="T11" fmla="*/ 68 h 84"/>
                <a:gd name="T12" fmla="*/ 26 w 26"/>
                <a:gd name="T13" fmla="*/ 68 h 84"/>
                <a:gd name="T14" fmla="*/ 26 w 26"/>
                <a:gd name="T15" fmla="*/ 59 h 84"/>
                <a:gd name="T16" fmla="*/ 26 w 26"/>
                <a:gd name="T17" fmla="*/ 59 h 84"/>
                <a:gd name="T18" fmla="*/ 26 w 26"/>
                <a:gd name="T19" fmla="*/ 59 h 84"/>
                <a:gd name="T20" fmla="*/ 26 w 26"/>
                <a:gd name="T21" fmla="*/ 51 h 84"/>
                <a:gd name="T22" fmla="*/ 26 w 26"/>
                <a:gd name="T23" fmla="*/ 51 h 84"/>
                <a:gd name="T24" fmla="*/ 26 w 26"/>
                <a:gd name="T25" fmla="*/ 42 h 84"/>
                <a:gd name="T26" fmla="*/ 26 w 26"/>
                <a:gd name="T27" fmla="*/ 42 h 84"/>
                <a:gd name="T28" fmla="*/ 26 w 26"/>
                <a:gd name="T29" fmla="*/ 42 h 84"/>
                <a:gd name="T30" fmla="*/ 17 w 26"/>
                <a:gd name="T31" fmla="*/ 42 h 84"/>
                <a:gd name="T32" fmla="*/ 17 w 26"/>
                <a:gd name="T33" fmla="*/ 42 h 84"/>
                <a:gd name="T34" fmla="*/ 17 w 26"/>
                <a:gd name="T35" fmla="*/ 34 h 84"/>
                <a:gd name="T36" fmla="*/ 17 w 26"/>
                <a:gd name="T37" fmla="*/ 26 h 84"/>
                <a:gd name="T38" fmla="*/ 17 w 26"/>
                <a:gd name="T39" fmla="*/ 26 h 84"/>
                <a:gd name="T40" fmla="*/ 17 w 26"/>
                <a:gd name="T41" fmla="*/ 17 h 84"/>
                <a:gd name="T42" fmla="*/ 26 w 26"/>
                <a:gd name="T43" fmla="*/ 17 h 84"/>
                <a:gd name="T44" fmla="*/ 26 w 26"/>
                <a:gd name="T45" fmla="*/ 26 h 84"/>
                <a:gd name="T46" fmla="*/ 26 w 26"/>
                <a:gd name="T47" fmla="*/ 26 h 84"/>
                <a:gd name="T48" fmla="*/ 26 w 26"/>
                <a:gd name="T49" fmla="*/ 26 h 84"/>
                <a:gd name="T50" fmla="*/ 26 w 26"/>
                <a:gd name="T51" fmla="*/ 17 h 84"/>
                <a:gd name="T52" fmla="*/ 26 w 26"/>
                <a:gd name="T53" fmla="*/ 17 h 84"/>
                <a:gd name="T54" fmla="*/ 26 w 26"/>
                <a:gd name="T55" fmla="*/ 17 h 84"/>
                <a:gd name="T56" fmla="*/ 26 w 26"/>
                <a:gd name="T57" fmla="*/ 17 h 84"/>
                <a:gd name="T58" fmla="*/ 26 w 26"/>
                <a:gd name="T59" fmla="*/ 9 h 84"/>
                <a:gd name="T60" fmla="*/ 26 w 26"/>
                <a:gd name="T61" fmla="*/ 9 h 84"/>
                <a:gd name="T62" fmla="*/ 26 w 26"/>
                <a:gd name="T63" fmla="*/ 0 h 84"/>
                <a:gd name="T64" fmla="*/ 26 w 26"/>
                <a:gd name="T65" fmla="*/ 0 h 84"/>
                <a:gd name="T66" fmla="*/ 26 w 26"/>
                <a:gd name="T67" fmla="*/ 9 h 84"/>
                <a:gd name="T68" fmla="*/ 17 w 26"/>
                <a:gd name="T69" fmla="*/ 9 h 84"/>
                <a:gd name="T70" fmla="*/ 17 w 26"/>
                <a:gd name="T71" fmla="*/ 9 h 84"/>
                <a:gd name="T72" fmla="*/ 9 w 26"/>
                <a:gd name="T73" fmla="*/ 9 h 84"/>
                <a:gd name="T74" fmla="*/ 9 w 26"/>
                <a:gd name="T75" fmla="*/ 26 h 84"/>
                <a:gd name="T76" fmla="*/ 9 w 26"/>
                <a:gd name="T77" fmla="*/ 34 h 84"/>
                <a:gd name="T78" fmla="*/ 0 w 26"/>
                <a:gd name="T79" fmla="*/ 42 h 84"/>
                <a:gd name="T80" fmla="*/ 0 w 26"/>
                <a:gd name="T81" fmla="*/ 42 h 84"/>
                <a:gd name="T82" fmla="*/ 9 w 26"/>
                <a:gd name="T83" fmla="*/ 51 h 84"/>
                <a:gd name="T84" fmla="*/ 9 w 26"/>
                <a:gd name="T85" fmla="*/ 51 h 84"/>
                <a:gd name="T86" fmla="*/ 17 w 26"/>
                <a:gd name="T87" fmla="*/ 59 h 84"/>
                <a:gd name="T88" fmla="*/ 17 w 26"/>
                <a:gd name="T89" fmla="*/ 68 h 84"/>
                <a:gd name="T90" fmla="*/ 17 w 26"/>
                <a:gd name="T91" fmla="*/ 76 h 84"/>
                <a:gd name="T92" fmla="*/ 17 w 26"/>
                <a:gd name="T9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" h="84">
                  <a:moveTo>
                    <a:pt x="17" y="84"/>
                  </a:move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6" y="76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17"/>
                  </a:lnTo>
                  <a:lnTo>
                    <a:pt x="26" y="1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9"/>
                  </a:lnTo>
                  <a:lnTo>
                    <a:pt x="9" y="26"/>
                  </a:lnTo>
                  <a:lnTo>
                    <a:pt x="9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17" y="59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17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0" name="Freeform 90">
              <a:extLst>
                <a:ext uri="{FF2B5EF4-FFF2-40B4-BE49-F238E27FC236}">
                  <a16:creationId xmlns:a16="http://schemas.microsoft.com/office/drawing/2014/main" id="{6FDD1041-D9F2-48B0-93F2-43C44D54D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889" y="4307209"/>
              <a:ext cx="9367" cy="19905"/>
            </a:xfrm>
            <a:custGeom>
              <a:avLst/>
              <a:gdLst>
                <a:gd name="T0" fmla="*/ 0 w 8"/>
                <a:gd name="T1" fmla="*/ 17 h 17"/>
                <a:gd name="T2" fmla="*/ 0 w 8"/>
                <a:gd name="T3" fmla="*/ 17 h 17"/>
                <a:gd name="T4" fmla="*/ 0 w 8"/>
                <a:gd name="T5" fmla="*/ 17 h 17"/>
                <a:gd name="T6" fmla="*/ 0 w 8"/>
                <a:gd name="T7" fmla="*/ 9 h 17"/>
                <a:gd name="T8" fmla="*/ 0 w 8"/>
                <a:gd name="T9" fmla="*/ 9 h 17"/>
                <a:gd name="T10" fmla="*/ 0 w 8"/>
                <a:gd name="T11" fmla="*/ 0 h 17"/>
                <a:gd name="T12" fmla="*/ 0 w 8"/>
                <a:gd name="T13" fmla="*/ 0 h 17"/>
                <a:gd name="T14" fmla="*/ 0 w 8"/>
                <a:gd name="T15" fmla="*/ 9 h 17"/>
                <a:gd name="T16" fmla="*/ 8 w 8"/>
                <a:gd name="T17" fmla="*/ 9 h 17"/>
                <a:gd name="T18" fmla="*/ 8 w 8"/>
                <a:gd name="T19" fmla="*/ 17 h 17"/>
                <a:gd name="T20" fmla="*/ 8 w 8"/>
                <a:gd name="T21" fmla="*/ 17 h 17"/>
                <a:gd name="T22" fmla="*/ 8 w 8"/>
                <a:gd name="T23" fmla="*/ 17 h 17"/>
                <a:gd name="T24" fmla="*/ 0 w 8"/>
                <a:gd name="T25" fmla="*/ 17 h 17"/>
                <a:gd name="T26" fmla="*/ 0 w 8"/>
                <a:gd name="T27" fmla="*/ 17 h 17"/>
                <a:gd name="T28" fmla="*/ 0 w 8"/>
                <a:gd name="T2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7"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Freeform 91">
              <a:extLst>
                <a:ext uri="{FF2B5EF4-FFF2-40B4-BE49-F238E27FC236}">
                  <a16:creationId xmlns:a16="http://schemas.microsoft.com/office/drawing/2014/main" id="{967DA1B7-06B9-4D4D-B533-78D023C7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27114"/>
              <a:ext cx="10538" cy="29272"/>
            </a:xfrm>
            <a:custGeom>
              <a:avLst/>
              <a:gdLst>
                <a:gd name="T0" fmla="*/ 9 w 9"/>
                <a:gd name="T1" fmla="*/ 25 h 25"/>
                <a:gd name="T2" fmla="*/ 9 w 9"/>
                <a:gd name="T3" fmla="*/ 25 h 25"/>
                <a:gd name="T4" fmla="*/ 0 w 9"/>
                <a:gd name="T5" fmla="*/ 25 h 25"/>
                <a:gd name="T6" fmla="*/ 0 w 9"/>
                <a:gd name="T7" fmla="*/ 25 h 25"/>
                <a:gd name="T8" fmla="*/ 0 w 9"/>
                <a:gd name="T9" fmla="*/ 17 h 25"/>
                <a:gd name="T10" fmla="*/ 0 w 9"/>
                <a:gd name="T11" fmla="*/ 9 h 25"/>
                <a:gd name="T12" fmla="*/ 0 w 9"/>
                <a:gd name="T13" fmla="*/ 9 h 25"/>
                <a:gd name="T14" fmla="*/ 0 w 9"/>
                <a:gd name="T15" fmla="*/ 0 h 25"/>
                <a:gd name="T16" fmla="*/ 9 w 9"/>
                <a:gd name="T17" fmla="*/ 0 h 25"/>
                <a:gd name="T18" fmla="*/ 9 w 9"/>
                <a:gd name="T19" fmla="*/ 9 h 25"/>
                <a:gd name="T20" fmla="*/ 9 w 9"/>
                <a:gd name="T21" fmla="*/ 9 h 25"/>
                <a:gd name="T22" fmla="*/ 9 w 9"/>
                <a:gd name="T23" fmla="*/ 9 h 25"/>
                <a:gd name="T24" fmla="*/ 9 w 9"/>
                <a:gd name="T25" fmla="*/ 9 h 25"/>
                <a:gd name="T26" fmla="*/ 9 w 9"/>
                <a:gd name="T27" fmla="*/ 9 h 25"/>
                <a:gd name="T28" fmla="*/ 9 w 9"/>
                <a:gd name="T29" fmla="*/ 9 h 25"/>
                <a:gd name="T30" fmla="*/ 9 w 9"/>
                <a:gd name="T31" fmla="*/ 17 h 25"/>
                <a:gd name="T32" fmla="*/ 9 w 9"/>
                <a:gd name="T33" fmla="*/ 17 h 25"/>
                <a:gd name="T34" fmla="*/ 9 w 9"/>
                <a:gd name="T35" fmla="*/ 25 h 25"/>
                <a:gd name="T36" fmla="*/ 9 w 9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25">
                  <a:moveTo>
                    <a:pt x="9" y="25"/>
                  </a:move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Freeform 92">
              <a:extLst>
                <a:ext uri="{FF2B5EF4-FFF2-40B4-BE49-F238E27FC236}">
                  <a16:creationId xmlns:a16="http://schemas.microsoft.com/office/drawing/2014/main" id="{9079DBF5-4103-467D-8BCD-2F4064139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277938"/>
              <a:ext cx="29272" cy="39810"/>
            </a:xfrm>
            <a:custGeom>
              <a:avLst/>
              <a:gdLst>
                <a:gd name="T0" fmla="*/ 0 w 25"/>
                <a:gd name="T1" fmla="*/ 34 h 34"/>
                <a:gd name="T2" fmla="*/ 0 w 25"/>
                <a:gd name="T3" fmla="*/ 34 h 34"/>
                <a:gd name="T4" fmla="*/ 9 w 25"/>
                <a:gd name="T5" fmla="*/ 34 h 34"/>
                <a:gd name="T6" fmla="*/ 9 w 25"/>
                <a:gd name="T7" fmla="*/ 25 h 34"/>
                <a:gd name="T8" fmla="*/ 9 w 25"/>
                <a:gd name="T9" fmla="*/ 25 h 34"/>
                <a:gd name="T10" fmla="*/ 17 w 25"/>
                <a:gd name="T11" fmla="*/ 25 h 34"/>
                <a:gd name="T12" fmla="*/ 17 w 25"/>
                <a:gd name="T13" fmla="*/ 17 h 34"/>
                <a:gd name="T14" fmla="*/ 17 w 25"/>
                <a:gd name="T15" fmla="*/ 17 h 34"/>
                <a:gd name="T16" fmla="*/ 17 w 25"/>
                <a:gd name="T17" fmla="*/ 17 h 34"/>
                <a:gd name="T18" fmla="*/ 25 w 25"/>
                <a:gd name="T19" fmla="*/ 17 h 34"/>
                <a:gd name="T20" fmla="*/ 25 w 25"/>
                <a:gd name="T21" fmla="*/ 17 h 34"/>
                <a:gd name="T22" fmla="*/ 25 w 25"/>
                <a:gd name="T23" fmla="*/ 8 h 34"/>
                <a:gd name="T24" fmla="*/ 17 w 25"/>
                <a:gd name="T25" fmla="*/ 8 h 34"/>
                <a:gd name="T26" fmla="*/ 17 w 25"/>
                <a:gd name="T27" fmla="*/ 8 h 34"/>
                <a:gd name="T28" fmla="*/ 9 w 25"/>
                <a:gd name="T29" fmla="*/ 0 h 34"/>
                <a:gd name="T30" fmla="*/ 9 w 25"/>
                <a:gd name="T31" fmla="*/ 8 h 34"/>
                <a:gd name="T32" fmla="*/ 9 w 25"/>
                <a:gd name="T33" fmla="*/ 8 h 34"/>
                <a:gd name="T34" fmla="*/ 9 w 25"/>
                <a:gd name="T35" fmla="*/ 17 h 34"/>
                <a:gd name="T36" fmla="*/ 0 w 25"/>
                <a:gd name="T37" fmla="*/ 25 h 34"/>
                <a:gd name="T38" fmla="*/ 0 w 25"/>
                <a:gd name="T39" fmla="*/ 25 h 34"/>
                <a:gd name="T40" fmla="*/ 0 w 25"/>
                <a:gd name="T41" fmla="*/ 34 h 34"/>
                <a:gd name="T42" fmla="*/ 0 w 25"/>
                <a:gd name="T4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34">
                  <a:moveTo>
                    <a:pt x="0" y="34"/>
                  </a:moveTo>
                  <a:lnTo>
                    <a:pt x="0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Freeform 93">
              <a:extLst>
                <a:ext uri="{FF2B5EF4-FFF2-40B4-BE49-F238E27FC236}">
                  <a16:creationId xmlns:a16="http://schemas.microsoft.com/office/drawing/2014/main" id="{F14C5852-5ABA-41FD-AFA0-7102DBD8F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07209"/>
              <a:ext cx="88986" cy="108891"/>
            </a:xfrm>
            <a:custGeom>
              <a:avLst/>
              <a:gdLst>
                <a:gd name="T0" fmla="*/ 0 w 76"/>
                <a:gd name="T1" fmla="*/ 76 h 93"/>
                <a:gd name="T2" fmla="*/ 0 w 76"/>
                <a:gd name="T3" fmla="*/ 76 h 93"/>
                <a:gd name="T4" fmla="*/ 0 w 76"/>
                <a:gd name="T5" fmla="*/ 76 h 93"/>
                <a:gd name="T6" fmla="*/ 9 w 76"/>
                <a:gd name="T7" fmla="*/ 76 h 93"/>
                <a:gd name="T8" fmla="*/ 9 w 76"/>
                <a:gd name="T9" fmla="*/ 68 h 93"/>
                <a:gd name="T10" fmla="*/ 9 w 76"/>
                <a:gd name="T11" fmla="*/ 68 h 93"/>
                <a:gd name="T12" fmla="*/ 9 w 76"/>
                <a:gd name="T13" fmla="*/ 59 h 93"/>
                <a:gd name="T14" fmla="*/ 9 w 76"/>
                <a:gd name="T15" fmla="*/ 59 h 93"/>
                <a:gd name="T16" fmla="*/ 9 w 76"/>
                <a:gd name="T17" fmla="*/ 59 h 93"/>
                <a:gd name="T18" fmla="*/ 9 w 76"/>
                <a:gd name="T19" fmla="*/ 51 h 93"/>
                <a:gd name="T20" fmla="*/ 9 w 76"/>
                <a:gd name="T21" fmla="*/ 51 h 93"/>
                <a:gd name="T22" fmla="*/ 9 w 76"/>
                <a:gd name="T23" fmla="*/ 34 h 93"/>
                <a:gd name="T24" fmla="*/ 9 w 76"/>
                <a:gd name="T25" fmla="*/ 34 h 93"/>
                <a:gd name="T26" fmla="*/ 9 w 76"/>
                <a:gd name="T27" fmla="*/ 26 h 93"/>
                <a:gd name="T28" fmla="*/ 9 w 76"/>
                <a:gd name="T29" fmla="*/ 26 h 93"/>
                <a:gd name="T30" fmla="*/ 9 w 76"/>
                <a:gd name="T31" fmla="*/ 26 h 93"/>
                <a:gd name="T32" fmla="*/ 9 w 76"/>
                <a:gd name="T33" fmla="*/ 17 h 93"/>
                <a:gd name="T34" fmla="*/ 9 w 76"/>
                <a:gd name="T35" fmla="*/ 17 h 93"/>
                <a:gd name="T36" fmla="*/ 9 w 76"/>
                <a:gd name="T37" fmla="*/ 17 h 93"/>
                <a:gd name="T38" fmla="*/ 17 w 76"/>
                <a:gd name="T39" fmla="*/ 17 h 93"/>
                <a:gd name="T40" fmla="*/ 17 w 76"/>
                <a:gd name="T41" fmla="*/ 17 h 93"/>
                <a:gd name="T42" fmla="*/ 25 w 76"/>
                <a:gd name="T43" fmla="*/ 17 h 93"/>
                <a:gd name="T44" fmla="*/ 25 w 76"/>
                <a:gd name="T45" fmla="*/ 26 h 93"/>
                <a:gd name="T46" fmla="*/ 25 w 76"/>
                <a:gd name="T47" fmla="*/ 26 h 93"/>
                <a:gd name="T48" fmla="*/ 25 w 76"/>
                <a:gd name="T49" fmla="*/ 26 h 93"/>
                <a:gd name="T50" fmla="*/ 67 w 76"/>
                <a:gd name="T51" fmla="*/ 0 h 93"/>
                <a:gd name="T52" fmla="*/ 76 w 76"/>
                <a:gd name="T53" fmla="*/ 26 h 93"/>
                <a:gd name="T54" fmla="*/ 67 w 76"/>
                <a:gd name="T55" fmla="*/ 26 h 93"/>
                <a:gd name="T56" fmla="*/ 67 w 76"/>
                <a:gd name="T57" fmla="*/ 34 h 93"/>
                <a:gd name="T58" fmla="*/ 42 w 76"/>
                <a:gd name="T59" fmla="*/ 42 h 93"/>
                <a:gd name="T60" fmla="*/ 59 w 76"/>
                <a:gd name="T61" fmla="*/ 59 h 93"/>
                <a:gd name="T62" fmla="*/ 51 w 76"/>
                <a:gd name="T63" fmla="*/ 68 h 93"/>
                <a:gd name="T64" fmla="*/ 51 w 76"/>
                <a:gd name="T65" fmla="*/ 76 h 93"/>
                <a:gd name="T66" fmla="*/ 34 w 76"/>
                <a:gd name="T67" fmla="*/ 76 h 93"/>
                <a:gd name="T68" fmla="*/ 25 w 76"/>
                <a:gd name="T69" fmla="*/ 93 h 93"/>
                <a:gd name="T70" fmla="*/ 9 w 76"/>
                <a:gd name="T71" fmla="*/ 84 h 93"/>
                <a:gd name="T72" fmla="*/ 0 w 76"/>
                <a:gd name="T73" fmla="*/ 84 h 93"/>
                <a:gd name="T74" fmla="*/ 0 w 76"/>
                <a:gd name="T75" fmla="*/ 84 h 93"/>
                <a:gd name="T76" fmla="*/ 0 w 76"/>
                <a:gd name="T77" fmla="*/ 76 h 93"/>
                <a:gd name="T78" fmla="*/ 0 w 76"/>
                <a:gd name="T79" fmla="*/ 76 h 93"/>
                <a:gd name="T80" fmla="*/ 0 w 76"/>
                <a:gd name="T81" fmla="*/ 7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93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9" y="76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67" y="0"/>
                  </a:lnTo>
                  <a:lnTo>
                    <a:pt x="76" y="26"/>
                  </a:lnTo>
                  <a:lnTo>
                    <a:pt x="67" y="26"/>
                  </a:lnTo>
                  <a:lnTo>
                    <a:pt x="67" y="34"/>
                  </a:lnTo>
                  <a:lnTo>
                    <a:pt x="42" y="42"/>
                  </a:lnTo>
                  <a:lnTo>
                    <a:pt x="59" y="59"/>
                  </a:lnTo>
                  <a:lnTo>
                    <a:pt x="51" y="68"/>
                  </a:lnTo>
                  <a:lnTo>
                    <a:pt x="51" y="76"/>
                  </a:lnTo>
                  <a:lnTo>
                    <a:pt x="34" y="76"/>
                  </a:lnTo>
                  <a:lnTo>
                    <a:pt x="25" y="93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Freeform 94">
              <a:extLst>
                <a:ext uri="{FF2B5EF4-FFF2-40B4-BE49-F238E27FC236}">
                  <a16:creationId xmlns:a16="http://schemas.microsoft.com/office/drawing/2014/main" id="{A4A6D5EA-BCC1-4030-A103-F3E3D15F6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37652"/>
              <a:ext cx="422682" cy="364140"/>
            </a:xfrm>
            <a:custGeom>
              <a:avLst/>
              <a:gdLst>
                <a:gd name="T0" fmla="*/ 219 w 361"/>
                <a:gd name="T1" fmla="*/ 67 h 311"/>
                <a:gd name="T2" fmla="*/ 84 w 361"/>
                <a:gd name="T3" fmla="*/ 0 h 311"/>
                <a:gd name="T4" fmla="*/ 42 w 361"/>
                <a:gd name="T5" fmla="*/ 16 h 311"/>
                <a:gd name="T6" fmla="*/ 51 w 361"/>
                <a:gd name="T7" fmla="*/ 50 h 311"/>
                <a:gd name="T8" fmla="*/ 9 w 361"/>
                <a:gd name="T9" fmla="*/ 58 h 311"/>
                <a:gd name="T10" fmla="*/ 0 w 361"/>
                <a:gd name="T11" fmla="*/ 75 h 311"/>
                <a:gd name="T12" fmla="*/ 0 w 361"/>
                <a:gd name="T13" fmla="*/ 75 h 311"/>
                <a:gd name="T14" fmla="*/ 9 w 361"/>
                <a:gd name="T15" fmla="*/ 84 h 311"/>
                <a:gd name="T16" fmla="*/ 17 w 361"/>
                <a:gd name="T17" fmla="*/ 92 h 311"/>
                <a:gd name="T18" fmla="*/ 25 w 361"/>
                <a:gd name="T19" fmla="*/ 100 h 311"/>
                <a:gd name="T20" fmla="*/ 34 w 361"/>
                <a:gd name="T21" fmla="*/ 117 h 311"/>
                <a:gd name="T22" fmla="*/ 34 w 361"/>
                <a:gd name="T23" fmla="*/ 117 h 311"/>
                <a:gd name="T24" fmla="*/ 42 w 361"/>
                <a:gd name="T25" fmla="*/ 134 h 311"/>
                <a:gd name="T26" fmla="*/ 51 w 361"/>
                <a:gd name="T27" fmla="*/ 143 h 311"/>
                <a:gd name="T28" fmla="*/ 51 w 361"/>
                <a:gd name="T29" fmla="*/ 151 h 311"/>
                <a:gd name="T30" fmla="*/ 59 w 361"/>
                <a:gd name="T31" fmla="*/ 151 h 311"/>
                <a:gd name="T32" fmla="*/ 67 w 361"/>
                <a:gd name="T33" fmla="*/ 168 h 311"/>
                <a:gd name="T34" fmla="*/ 76 w 361"/>
                <a:gd name="T35" fmla="*/ 168 h 311"/>
                <a:gd name="T36" fmla="*/ 84 w 361"/>
                <a:gd name="T37" fmla="*/ 185 h 311"/>
                <a:gd name="T38" fmla="*/ 76 w 361"/>
                <a:gd name="T39" fmla="*/ 193 h 311"/>
                <a:gd name="T40" fmla="*/ 84 w 361"/>
                <a:gd name="T41" fmla="*/ 210 h 311"/>
                <a:gd name="T42" fmla="*/ 93 w 361"/>
                <a:gd name="T43" fmla="*/ 227 h 311"/>
                <a:gd name="T44" fmla="*/ 101 w 361"/>
                <a:gd name="T45" fmla="*/ 227 h 311"/>
                <a:gd name="T46" fmla="*/ 109 w 361"/>
                <a:gd name="T47" fmla="*/ 235 h 311"/>
                <a:gd name="T48" fmla="*/ 118 w 361"/>
                <a:gd name="T49" fmla="*/ 243 h 311"/>
                <a:gd name="T50" fmla="*/ 126 w 361"/>
                <a:gd name="T51" fmla="*/ 260 h 311"/>
                <a:gd name="T52" fmla="*/ 143 w 361"/>
                <a:gd name="T53" fmla="*/ 285 h 311"/>
                <a:gd name="T54" fmla="*/ 151 w 361"/>
                <a:gd name="T55" fmla="*/ 294 h 311"/>
                <a:gd name="T56" fmla="*/ 160 w 361"/>
                <a:gd name="T57" fmla="*/ 285 h 311"/>
                <a:gd name="T58" fmla="*/ 168 w 361"/>
                <a:gd name="T59" fmla="*/ 277 h 311"/>
                <a:gd name="T60" fmla="*/ 202 w 361"/>
                <a:gd name="T61" fmla="*/ 285 h 311"/>
                <a:gd name="T62" fmla="*/ 244 w 361"/>
                <a:gd name="T63" fmla="*/ 260 h 311"/>
                <a:gd name="T64" fmla="*/ 361 w 361"/>
                <a:gd name="T65" fmla="*/ 176 h 311"/>
                <a:gd name="T66" fmla="*/ 303 w 361"/>
                <a:gd name="T67" fmla="*/ 176 h 311"/>
                <a:gd name="T68" fmla="*/ 294 w 361"/>
                <a:gd name="T69" fmla="*/ 151 h 311"/>
                <a:gd name="T70" fmla="*/ 294 w 361"/>
                <a:gd name="T71" fmla="*/ 151 h 311"/>
                <a:gd name="T72" fmla="*/ 294 w 361"/>
                <a:gd name="T73" fmla="*/ 143 h 311"/>
                <a:gd name="T74" fmla="*/ 286 w 361"/>
                <a:gd name="T75" fmla="*/ 143 h 311"/>
                <a:gd name="T76" fmla="*/ 277 w 361"/>
                <a:gd name="T77" fmla="*/ 134 h 311"/>
                <a:gd name="T78" fmla="*/ 269 w 361"/>
                <a:gd name="T79" fmla="*/ 117 h 311"/>
                <a:gd name="T80" fmla="*/ 269 w 361"/>
                <a:gd name="T81" fmla="*/ 109 h 311"/>
                <a:gd name="T82" fmla="*/ 261 w 361"/>
                <a:gd name="T83" fmla="*/ 100 h 311"/>
                <a:gd name="T84" fmla="*/ 252 w 361"/>
                <a:gd name="T85" fmla="*/ 92 h 311"/>
                <a:gd name="T86" fmla="*/ 252 w 361"/>
                <a:gd name="T87" fmla="*/ 84 h 311"/>
                <a:gd name="T88" fmla="*/ 244 w 361"/>
                <a:gd name="T89" fmla="*/ 84 h 311"/>
                <a:gd name="T90" fmla="*/ 235 w 361"/>
                <a:gd name="T91" fmla="*/ 67 h 311"/>
                <a:gd name="T92" fmla="*/ 235 w 361"/>
                <a:gd name="T93" fmla="*/ 67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1" h="311">
                  <a:moveTo>
                    <a:pt x="235" y="67"/>
                  </a:moveTo>
                  <a:lnTo>
                    <a:pt x="219" y="67"/>
                  </a:lnTo>
                  <a:lnTo>
                    <a:pt x="219" y="67"/>
                  </a:lnTo>
                  <a:lnTo>
                    <a:pt x="202" y="58"/>
                  </a:lnTo>
                  <a:lnTo>
                    <a:pt x="168" y="58"/>
                  </a:lnTo>
                  <a:lnTo>
                    <a:pt x="84" y="0"/>
                  </a:lnTo>
                  <a:lnTo>
                    <a:pt x="67" y="0"/>
                  </a:lnTo>
                  <a:lnTo>
                    <a:pt x="67" y="8"/>
                  </a:lnTo>
                  <a:lnTo>
                    <a:pt x="42" y="16"/>
                  </a:lnTo>
                  <a:lnTo>
                    <a:pt x="59" y="33"/>
                  </a:lnTo>
                  <a:lnTo>
                    <a:pt x="51" y="42"/>
                  </a:lnTo>
                  <a:lnTo>
                    <a:pt x="51" y="50"/>
                  </a:lnTo>
                  <a:lnTo>
                    <a:pt x="34" y="50"/>
                  </a:lnTo>
                  <a:lnTo>
                    <a:pt x="25" y="67"/>
                  </a:lnTo>
                  <a:lnTo>
                    <a:pt x="9" y="58"/>
                  </a:lnTo>
                  <a:lnTo>
                    <a:pt x="0" y="58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9" y="7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100"/>
                  </a:lnTo>
                  <a:lnTo>
                    <a:pt x="25" y="100"/>
                  </a:lnTo>
                  <a:lnTo>
                    <a:pt x="25" y="100"/>
                  </a:lnTo>
                  <a:lnTo>
                    <a:pt x="34" y="109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51" y="134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67" y="159"/>
                  </a:lnTo>
                  <a:lnTo>
                    <a:pt x="67" y="159"/>
                  </a:lnTo>
                  <a:lnTo>
                    <a:pt x="67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84" y="201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8"/>
                  </a:lnTo>
                  <a:lnTo>
                    <a:pt x="93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9" y="227"/>
                  </a:lnTo>
                  <a:lnTo>
                    <a:pt x="109" y="235"/>
                  </a:lnTo>
                  <a:lnTo>
                    <a:pt x="109" y="235"/>
                  </a:lnTo>
                  <a:lnTo>
                    <a:pt x="118" y="235"/>
                  </a:lnTo>
                  <a:lnTo>
                    <a:pt x="118" y="243"/>
                  </a:lnTo>
                  <a:lnTo>
                    <a:pt x="118" y="243"/>
                  </a:lnTo>
                  <a:lnTo>
                    <a:pt x="118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35" y="277"/>
                  </a:lnTo>
                  <a:lnTo>
                    <a:pt x="143" y="277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85"/>
                  </a:lnTo>
                  <a:lnTo>
                    <a:pt x="160" y="285"/>
                  </a:lnTo>
                  <a:lnTo>
                    <a:pt x="160" y="277"/>
                  </a:lnTo>
                  <a:lnTo>
                    <a:pt x="168" y="277"/>
                  </a:lnTo>
                  <a:lnTo>
                    <a:pt x="168" y="277"/>
                  </a:lnTo>
                  <a:lnTo>
                    <a:pt x="185" y="277"/>
                  </a:lnTo>
                  <a:lnTo>
                    <a:pt x="202" y="285"/>
                  </a:lnTo>
                  <a:lnTo>
                    <a:pt x="210" y="294"/>
                  </a:lnTo>
                  <a:lnTo>
                    <a:pt x="210" y="311"/>
                  </a:lnTo>
                  <a:lnTo>
                    <a:pt x="244" y="260"/>
                  </a:lnTo>
                  <a:lnTo>
                    <a:pt x="361" y="227"/>
                  </a:lnTo>
                  <a:lnTo>
                    <a:pt x="361" y="193"/>
                  </a:lnTo>
                  <a:lnTo>
                    <a:pt x="361" y="176"/>
                  </a:lnTo>
                  <a:lnTo>
                    <a:pt x="361" y="176"/>
                  </a:lnTo>
                  <a:lnTo>
                    <a:pt x="353" y="185"/>
                  </a:lnTo>
                  <a:lnTo>
                    <a:pt x="303" y="176"/>
                  </a:lnTo>
                  <a:lnTo>
                    <a:pt x="303" y="159"/>
                  </a:lnTo>
                  <a:lnTo>
                    <a:pt x="294" y="159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86" y="143"/>
                  </a:lnTo>
                  <a:lnTo>
                    <a:pt x="286" y="143"/>
                  </a:lnTo>
                  <a:lnTo>
                    <a:pt x="286" y="134"/>
                  </a:lnTo>
                  <a:lnTo>
                    <a:pt x="277" y="143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09"/>
                  </a:lnTo>
                  <a:lnTo>
                    <a:pt x="269" y="100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44" y="84"/>
                  </a:lnTo>
                  <a:lnTo>
                    <a:pt x="244" y="75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:a16="http://schemas.microsoft.com/office/drawing/2014/main" id="{777971A0-2DEC-4BCC-A258-F34AF6B53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681" y="4474643"/>
              <a:ext cx="19905" cy="30443"/>
            </a:xfrm>
            <a:custGeom>
              <a:avLst/>
              <a:gdLst>
                <a:gd name="T0" fmla="*/ 17 w 17"/>
                <a:gd name="T1" fmla="*/ 26 h 26"/>
                <a:gd name="T2" fmla="*/ 9 w 17"/>
                <a:gd name="T3" fmla="*/ 26 h 26"/>
                <a:gd name="T4" fmla="*/ 9 w 17"/>
                <a:gd name="T5" fmla="*/ 26 h 26"/>
                <a:gd name="T6" fmla="*/ 9 w 17"/>
                <a:gd name="T7" fmla="*/ 17 h 26"/>
                <a:gd name="T8" fmla="*/ 9 w 17"/>
                <a:gd name="T9" fmla="*/ 17 h 26"/>
                <a:gd name="T10" fmla="*/ 9 w 17"/>
                <a:gd name="T11" fmla="*/ 17 h 26"/>
                <a:gd name="T12" fmla="*/ 9 w 17"/>
                <a:gd name="T13" fmla="*/ 17 h 26"/>
                <a:gd name="T14" fmla="*/ 0 w 17"/>
                <a:gd name="T15" fmla="*/ 17 h 26"/>
                <a:gd name="T16" fmla="*/ 9 w 17"/>
                <a:gd name="T17" fmla="*/ 9 h 26"/>
                <a:gd name="T18" fmla="*/ 9 w 17"/>
                <a:gd name="T19" fmla="*/ 9 h 26"/>
                <a:gd name="T20" fmla="*/ 9 w 17"/>
                <a:gd name="T21" fmla="*/ 9 h 26"/>
                <a:gd name="T22" fmla="*/ 9 w 17"/>
                <a:gd name="T23" fmla="*/ 0 h 26"/>
                <a:gd name="T24" fmla="*/ 9 w 17"/>
                <a:gd name="T25" fmla="*/ 0 h 26"/>
                <a:gd name="T26" fmla="*/ 9 w 17"/>
                <a:gd name="T27" fmla="*/ 0 h 26"/>
                <a:gd name="T28" fmla="*/ 9 w 17"/>
                <a:gd name="T29" fmla="*/ 0 h 26"/>
                <a:gd name="T30" fmla="*/ 9 w 17"/>
                <a:gd name="T31" fmla="*/ 0 h 26"/>
                <a:gd name="T32" fmla="*/ 9 w 17"/>
                <a:gd name="T33" fmla="*/ 0 h 26"/>
                <a:gd name="T34" fmla="*/ 9 w 17"/>
                <a:gd name="T35" fmla="*/ 0 h 26"/>
                <a:gd name="T36" fmla="*/ 9 w 17"/>
                <a:gd name="T37" fmla="*/ 0 h 26"/>
                <a:gd name="T38" fmla="*/ 17 w 17"/>
                <a:gd name="T39" fmla="*/ 0 h 26"/>
                <a:gd name="T40" fmla="*/ 17 w 17"/>
                <a:gd name="T41" fmla="*/ 0 h 26"/>
                <a:gd name="T42" fmla="*/ 17 w 17"/>
                <a:gd name="T43" fmla="*/ 0 h 26"/>
                <a:gd name="T44" fmla="*/ 17 w 17"/>
                <a:gd name="T45" fmla="*/ 0 h 26"/>
                <a:gd name="T46" fmla="*/ 17 w 17"/>
                <a:gd name="T47" fmla="*/ 9 h 26"/>
                <a:gd name="T48" fmla="*/ 17 w 17"/>
                <a:gd name="T49" fmla="*/ 9 h 26"/>
                <a:gd name="T50" fmla="*/ 17 w 17"/>
                <a:gd name="T51" fmla="*/ 17 h 26"/>
                <a:gd name="T52" fmla="*/ 17 w 17"/>
                <a:gd name="T53" fmla="*/ 17 h 26"/>
                <a:gd name="T54" fmla="*/ 17 w 17"/>
                <a:gd name="T55" fmla="*/ 17 h 26"/>
                <a:gd name="T56" fmla="*/ 17 w 17"/>
                <a:gd name="T57" fmla="*/ 26 h 26"/>
                <a:gd name="T58" fmla="*/ 17 w 17"/>
                <a:gd name="T59" fmla="*/ 26 h 26"/>
                <a:gd name="T60" fmla="*/ 17 w 17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" h="26">
                  <a:moveTo>
                    <a:pt x="17" y="26"/>
                  </a:moveTo>
                  <a:lnTo>
                    <a:pt x="9" y="26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:a16="http://schemas.microsoft.com/office/drawing/2014/main" id="{D5017FB5-EA5A-4358-A731-66E3921B6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9586" y="4474643"/>
              <a:ext cx="98353" cy="79619"/>
            </a:xfrm>
            <a:custGeom>
              <a:avLst/>
              <a:gdLst>
                <a:gd name="T0" fmla="*/ 0 w 84"/>
                <a:gd name="T1" fmla="*/ 34 h 68"/>
                <a:gd name="T2" fmla="*/ 0 w 84"/>
                <a:gd name="T3" fmla="*/ 42 h 68"/>
                <a:gd name="T4" fmla="*/ 9 w 84"/>
                <a:gd name="T5" fmla="*/ 42 h 68"/>
                <a:gd name="T6" fmla="*/ 9 w 84"/>
                <a:gd name="T7" fmla="*/ 59 h 68"/>
                <a:gd name="T8" fmla="*/ 59 w 84"/>
                <a:gd name="T9" fmla="*/ 68 h 68"/>
                <a:gd name="T10" fmla="*/ 67 w 84"/>
                <a:gd name="T11" fmla="*/ 59 h 68"/>
                <a:gd name="T12" fmla="*/ 84 w 84"/>
                <a:gd name="T13" fmla="*/ 17 h 68"/>
                <a:gd name="T14" fmla="*/ 84 w 84"/>
                <a:gd name="T15" fmla="*/ 17 h 68"/>
                <a:gd name="T16" fmla="*/ 84 w 84"/>
                <a:gd name="T17" fmla="*/ 9 h 68"/>
                <a:gd name="T18" fmla="*/ 84 w 84"/>
                <a:gd name="T19" fmla="*/ 9 h 68"/>
                <a:gd name="T20" fmla="*/ 84 w 84"/>
                <a:gd name="T21" fmla="*/ 9 h 68"/>
                <a:gd name="T22" fmla="*/ 84 w 84"/>
                <a:gd name="T23" fmla="*/ 9 h 68"/>
                <a:gd name="T24" fmla="*/ 84 w 84"/>
                <a:gd name="T25" fmla="*/ 9 h 68"/>
                <a:gd name="T26" fmla="*/ 84 w 84"/>
                <a:gd name="T27" fmla="*/ 9 h 68"/>
                <a:gd name="T28" fmla="*/ 84 w 84"/>
                <a:gd name="T29" fmla="*/ 0 h 68"/>
                <a:gd name="T30" fmla="*/ 76 w 84"/>
                <a:gd name="T31" fmla="*/ 0 h 68"/>
                <a:gd name="T32" fmla="*/ 76 w 84"/>
                <a:gd name="T33" fmla="*/ 0 h 68"/>
                <a:gd name="T34" fmla="*/ 76 w 84"/>
                <a:gd name="T35" fmla="*/ 0 h 68"/>
                <a:gd name="T36" fmla="*/ 67 w 84"/>
                <a:gd name="T37" fmla="*/ 9 h 68"/>
                <a:gd name="T38" fmla="*/ 67 w 84"/>
                <a:gd name="T39" fmla="*/ 17 h 68"/>
                <a:gd name="T40" fmla="*/ 59 w 84"/>
                <a:gd name="T41" fmla="*/ 26 h 68"/>
                <a:gd name="T42" fmla="*/ 51 w 84"/>
                <a:gd name="T43" fmla="*/ 26 h 68"/>
                <a:gd name="T44" fmla="*/ 59 w 84"/>
                <a:gd name="T45" fmla="*/ 26 h 68"/>
                <a:gd name="T46" fmla="*/ 59 w 84"/>
                <a:gd name="T47" fmla="*/ 26 h 68"/>
                <a:gd name="T48" fmla="*/ 51 w 84"/>
                <a:gd name="T49" fmla="*/ 34 h 68"/>
                <a:gd name="T50" fmla="*/ 51 w 84"/>
                <a:gd name="T51" fmla="*/ 34 h 68"/>
                <a:gd name="T52" fmla="*/ 51 w 84"/>
                <a:gd name="T53" fmla="*/ 34 h 68"/>
                <a:gd name="T54" fmla="*/ 51 w 84"/>
                <a:gd name="T55" fmla="*/ 34 h 68"/>
                <a:gd name="T56" fmla="*/ 51 w 84"/>
                <a:gd name="T57" fmla="*/ 34 h 68"/>
                <a:gd name="T58" fmla="*/ 42 w 84"/>
                <a:gd name="T59" fmla="*/ 34 h 68"/>
                <a:gd name="T60" fmla="*/ 42 w 84"/>
                <a:gd name="T61" fmla="*/ 34 h 68"/>
                <a:gd name="T62" fmla="*/ 42 w 84"/>
                <a:gd name="T63" fmla="*/ 34 h 68"/>
                <a:gd name="T64" fmla="*/ 34 w 84"/>
                <a:gd name="T65" fmla="*/ 34 h 68"/>
                <a:gd name="T66" fmla="*/ 34 w 84"/>
                <a:gd name="T67" fmla="*/ 34 h 68"/>
                <a:gd name="T68" fmla="*/ 34 w 84"/>
                <a:gd name="T69" fmla="*/ 34 h 68"/>
                <a:gd name="T70" fmla="*/ 34 w 84"/>
                <a:gd name="T71" fmla="*/ 34 h 68"/>
                <a:gd name="T72" fmla="*/ 25 w 84"/>
                <a:gd name="T73" fmla="*/ 34 h 68"/>
                <a:gd name="T74" fmla="*/ 25 w 84"/>
                <a:gd name="T75" fmla="*/ 34 h 68"/>
                <a:gd name="T76" fmla="*/ 17 w 84"/>
                <a:gd name="T77" fmla="*/ 42 h 68"/>
                <a:gd name="T78" fmla="*/ 9 w 84"/>
                <a:gd name="T79" fmla="*/ 42 h 68"/>
                <a:gd name="T80" fmla="*/ 9 w 84"/>
                <a:gd name="T81" fmla="*/ 42 h 68"/>
                <a:gd name="T82" fmla="*/ 9 w 84"/>
                <a:gd name="T83" fmla="*/ 42 h 68"/>
                <a:gd name="T84" fmla="*/ 9 w 84"/>
                <a:gd name="T85" fmla="*/ 34 h 68"/>
                <a:gd name="T86" fmla="*/ 0 w 84"/>
                <a:gd name="T87" fmla="*/ 34 h 68"/>
                <a:gd name="T88" fmla="*/ 0 w 84"/>
                <a:gd name="T89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68">
                  <a:moveTo>
                    <a:pt x="0" y="34"/>
                  </a:moveTo>
                  <a:lnTo>
                    <a:pt x="0" y="42"/>
                  </a:lnTo>
                  <a:lnTo>
                    <a:pt x="9" y="42"/>
                  </a:lnTo>
                  <a:lnTo>
                    <a:pt x="9" y="59"/>
                  </a:lnTo>
                  <a:lnTo>
                    <a:pt x="59" y="68"/>
                  </a:lnTo>
                  <a:lnTo>
                    <a:pt x="67" y="59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67" y="17"/>
                  </a:lnTo>
                  <a:lnTo>
                    <a:pt x="59" y="26"/>
                  </a:lnTo>
                  <a:lnTo>
                    <a:pt x="51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:a16="http://schemas.microsoft.com/office/drawing/2014/main" id="{551C38E3-68C1-41AE-AA5C-E543874E2E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6671" y="4179585"/>
              <a:ext cx="58543" cy="29272"/>
            </a:xfrm>
            <a:custGeom>
              <a:avLst/>
              <a:gdLst>
                <a:gd name="T0" fmla="*/ 25 w 50"/>
                <a:gd name="T1" fmla="*/ 0 h 25"/>
                <a:gd name="T2" fmla="*/ 25 w 50"/>
                <a:gd name="T3" fmla="*/ 0 h 25"/>
                <a:gd name="T4" fmla="*/ 25 w 50"/>
                <a:gd name="T5" fmla="*/ 0 h 25"/>
                <a:gd name="T6" fmla="*/ 25 w 50"/>
                <a:gd name="T7" fmla="*/ 0 h 25"/>
                <a:gd name="T8" fmla="*/ 25 w 50"/>
                <a:gd name="T9" fmla="*/ 0 h 25"/>
                <a:gd name="T10" fmla="*/ 25 w 50"/>
                <a:gd name="T11" fmla="*/ 0 h 25"/>
                <a:gd name="T12" fmla="*/ 8 w 50"/>
                <a:gd name="T13" fmla="*/ 0 h 25"/>
                <a:gd name="T14" fmla="*/ 8 w 50"/>
                <a:gd name="T15" fmla="*/ 8 h 25"/>
                <a:gd name="T16" fmla="*/ 8 w 50"/>
                <a:gd name="T17" fmla="*/ 0 h 25"/>
                <a:gd name="T18" fmla="*/ 8 w 50"/>
                <a:gd name="T19" fmla="*/ 0 h 25"/>
                <a:gd name="T20" fmla="*/ 8 w 50"/>
                <a:gd name="T21" fmla="*/ 0 h 25"/>
                <a:gd name="T22" fmla="*/ 0 w 50"/>
                <a:gd name="T23" fmla="*/ 8 h 25"/>
                <a:gd name="T24" fmla="*/ 0 w 50"/>
                <a:gd name="T25" fmla="*/ 8 h 25"/>
                <a:gd name="T26" fmla="*/ 8 w 50"/>
                <a:gd name="T27" fmla="*/ 8 h 25"/>
                <a:gd name="T28" fmla="*/ 8 w 50"/>
                <a:gd name="T29" fmla="*/ 8 h 25"/>
                <a:gd name="T30" fmla="*/ 0 w 50"/>
                <a:gd name="T31" fmla="*/ 8 h 25"/>
                <a:gd name="T32" fmla="*/ 0 w 50"/>
                <a:gd name="T33" fmla="*/ 8 h 25"/>
                <a:gd name="T34" fmla="*/ 0 w 50"/>
                <a:gd name="T35" fmla="*/ 8 h 25"/>
                <a:gd name="T36" fmla="*/ 50 w 50"/>
                <a:gd name="T37" fmla="*/ 25 h 25"/>
                <a:gd name="T38" fmla="*/ 42 w 50"/>
                <a:gd name="T39" fmla="*/ 25 h 25"/>
                <a:gd name="T40" fmla="*/ 50 w 50"/>
                <a:gd name="T41" fmla="*/ 25 h 25"/>
                <a:gd name="T42" fmla="*/ 50 w 50"/>
                <a:gd name="T43" fmla="*/ 25 h 25"/>
                <a:gd name="T44" fmla="*/ 50 w 50"/>
                <a:gd name="T45" fmla="*/ 25 h 25"/>
                <a:gd name="T46" fmla="*/ 50 w 50"/>
                <a:gd name="T47" fmla="*/ 25 h 25"/>
                <a:gd name="T48" fmla="*/ 50 w 50"/>
                <a:gd name="T4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5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close/>
                  <a:moveTo>
                    <a:pt x="8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50" y="25"/>
                  </a:move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Freeform 98">
              <a:extLst>
                <a:ext uri="{FF2B5EF4-FFF2-40B4-BE49-F238E27FC236}">
                  <a16:creationId xmlns:a16="http://schemas.microsoft.com/office/drawing/2014/main" id="{02DB7847-B0F6-43B1-89A5-833FAC428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327114"/>
              <a:ext cx="9367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  <a:gd name="T4" fmla="*/ 1 w 1"/>
                <a:gd name="T5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Freeform 99">
              <a:extLst>
                <a:ext uri="{FF2B5EF4-FFF2-40B4-BE49-F238E27FC236}">
                  <a16:creationId xmlns:a16="http://schemas.microsoft.com/office/drawing/2014/main" id="{3076CABC-D4F1-4A24-9326-3BEA9719A4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3376" y="4416100"/>
              <a:ext cx="98353" cy="29272"/>
            </a:xfrm>
            <a:custGeom>
              <a:avLst/>
              <a:gdLst>
                <a:gd name="T0" fmla="*/ 2 w 10"/>
                <a:gd name="T1" fmla="*/ 2 h 3"/>
                <a:gd name="T2" fmla="*/ 2 w 10"/>
                <a:gd name="T3" fmla="*/ 2 h 3"/>
                <a:gd name="T4" fmla="*/ 2 w 10"/>
                <a:gd name="T5" fmla="*/ 2 h 3"/>
                <a:gd name="T6" fmla="*/ 2 w 10"/>
                <a:gd name="T7" fmla="*/ 2 h 3"/>
                <a:gd name="T8" fmla="*/ 2 w 10"/>
                <a:gd name="T9" fmla="*/ 2 h 3"/>
                <a:gd name="T10" fmla="*/ 2 w 10"/>
                <a:gd name="T11" fmla="*/ 2 h 3"/>
                <a:gd name="T12" fmla="*/ 1 w 10"/>
                <a:gd name="T13" fmla="*/ 3 h 3"/>
                <a:gd name="T14" fmla="*/ 0 w 10"/>
                <a:gd name="T15" fmla="*/ 3 h 3"/>
                <a:gd name="T16" fmla="*/ 1 w 10"/>
                <a:gd name="T17" fmla="*/ 3 h 3"/>
                <a:gd name="T18" fmla="*/ 1 w 10"/>
                <a:gd name="T19" fmla="*/ 3 h 3"/>
                <a:gd name="T20" fmla="*/ 1 w 10"/>
                <a:gd name="T21" fmla="*/ 3 h 3"/>
                <a:gd name="T22" fmla="*/ 1 w 10"/>
                <a:gd name="T23" fmla="*/ 3 h 3"/>
                <a:gd name="T24" fmla="*/ 1 w 10"/>
                <a:gd name="T25" fmla="*/ 3 h 3"/>
                <a:gd name="T26" fmla="*/ 1 w 10"/>
                <a:gd name="T27" fmla="*/ 1 h 3"/>
                <a:gd name="T28" fmla="*/ 1 w 10"/>
                <a:gd name="T29" fmla="*/ 1 h 3"/>
                <a:gd name="T30" fmla="*/ 1 w 10"/>
                <a:gd name="T31" fmla="*/ 0 h 3"/>
                <a:gd name="T32" fmla="*/ 1 w 10"/>
                <a:gd name="T33" fmla="*/ 0 h 3"/>
                <a:gd name="T34" fmla="*/ 1 w 10"/>
                <a:gd name="T35" fmla="*/ 0 h 3"/>
                <a:gd name="T36" fmla="*/ 1 w 10"/>
                <a:gd name="T37" fmla="*/ 1 h 3"/>
                <a:gd name="T38" fmla="*/ 1 w 10"/>
                <a:gd name="T39" fmla="*/ 1 h 3"/>
                <a:gd name="T40" fmla="*/ 4 w 10"/>
                <a:gd name="T41" fmla="*/ 2 h 3"/>
                <a:gd name="T42" fmla="*/ 4 w 10"/>
                <a:gd name="T43" fmla="*/ 2 h 3"/>
                <a:gd name="T44" fmla="*/ 3 w 10"/>
                <a:gd name="T45" fmla="*/ 2 h 3"/>
                <a:gd name="T46" fmla="*/ 3 w 10"/>
                <a:gd name="T47" fmla="*/ 2 h 3"/>
                <a:gd name="T48" fmla="*/ 3 w 10"/>
                <a:gd name="T49" fmla="*/ 2 h 3"/>
                <a:gd name="T50" fmla="*/ 3 w 10"/>
                <a:gd name="T51" fmla="*/ 1 h 3"/>
                <a:gd name="T52" fmla="*/ 3 w 10"/>
                <a:gd name="T53" fmla="*/ 1 h 3"/>
                <a:gd name="T54" fmla="*/ 4 w 10"/>
                <a:gd name="T55" fmla="*/ 1 h 3"/>
                <a:gd name="T56" fmla="*/ 4 w 10"/>
                <a:gd name="T57" fmla="*/ 1 h 3"/>
                <a:gd name="T58" fmla="*/ 4 w 10"/>
                <a:gd name="T59" fmla="*/ 1 h 3"/>
                <a:gd name="T60" fmla="*/ 4 w 10"/>
                <a:gd name="T61" fmla="*/ 2 h 3"/>
                <a:gd name="T62" fmla="*/ 5 w 10"/>
                <a:gd name="T63" fmla="*/ 2 h 3"/>
                <a:gd name="T64" fmla="*/ 5 w 10"/>
                <a:gd name="T65" fmla="*/ 2 h 3"/>
                <a:gd name="T66" fmla="*/ 5 w 10"/>
                <a:gd name="T67" fmla="*/ 3 h 3"/>
                <a:gd name="T68" fmla="*/ 6 w 10"/>
                <a:gd name="T69" fmla="*/ 2 h 3"/>
                <a:gd name="T70" fmla="*/ 6 w 10"/>
                <a:gd name="T71" fmla="*/ 2 h 3"/>
                <a:gd name="T72" fmla="*/ 6 w 10"/>
                <a:gd name="T73" fmla="*/ 2 h 3"/>
                <a:gd name="T74" fmla="*/ 5 w 10"/>
                <a:gd name="T75" fmla="*/ 2 h 3"/>
                <a:gd name="T76" fmla="*/ 5 w 10"/>
                <a:gd name="T77" fmla="*/ 2 h 3"/>
                <a:gd name="T78" fmla="*/ 9 w 10"/>
                <a:gd name="T79" fmla="*/ 0 h 3"/>
                <a:gd name="T80" fmla="*/ 9 w 10"/>
                <a:gd name="T81" fmla="*/ 0 h 3"/>
                <a:gd name="T82" fmla="*/ 10 w 10"/>
                <a:gd name="T83" fmla="*/ 0 h 3"/>
                <a:gd name="T84" fmla="*/ 10 w 10"/>
                <a:gd name="T85" fmla="*/ 0 h 3"/>
                <a:gd name="T86" fmla="*/ 9 w 10"/>
                <a:gd name="T87" fmla="*/ 0 h 3"/>
                <a:gd name="T88" fmla="*/ 9 w 10"/>
                <a:gd name="T89" fmla="*/ 0 h 3"/>
                <a:gd name="T90" fmla="*/ 8 w 10"/>
                <a:gd name="T91" fmla="*/ 2 h 3"/>
                <a:gd name="T92" fmla="*/ 8 w 10"/>
                <a:gd name="T93" fmla="*/ 1 h 3"/>
                <a:gd name="T94" fmla="*/ 8 w 10"/>
                <a:gd name="T95" fmla="*/ 1 h 3"/>
                <a:gd name="T96" fmla="*/ 9 w 10"/>
                <a:gd name="T97" fmla="*/ 1 h 3"/>
                <a:gd name="T98" fmla="*/ 9 w 10"/>
                <a:gd name="T99" fmla="*/ 1 h 3"/>
                <a:gd name="T100" fmla="*/ 8 w 10"/>
                <a:gd name="T101" fmla="*/ 2 h 3"/>
                <a:gd name="T102" fmla="*/ 8 w 10"/>
                <a:gd name="T10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" h="3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lose/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8" y="2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Freeform 100">
              <a:extLst>
                <a:ext uri="{FF2B5EF4-FFF2-40B4-BE49-F238E27FC236}">
                  <a16:creationId xmlns:a16="http://schemas.microsoft.com/office/drawing/2014/main" id="{38F39CE9-66C2-4A49-B028-525F929DA0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5847" y="4671349"/>
              <a:ext cx="49176" cy="50347"/>
            </a:xfrm>
            <a:custGeom>
              <a:avLst/>
              <a:gdLst>
                <a:gd name="T0" fmla="*/ 0 w 5"/>
                <a:gd name="T1" fmla="*/ 0 h 5"/>
                <a:gd name="T2" fmla="*/ 1 w 5"/>
                <a:gd name="T3" fmla="*/ 0 h 5"/>
                <a:gd name="T4" fmla="*/ 1 w 5"/>
                <a:gd name="T5" fmla="*/ 0 h 5"/>
                <a:gd name="T6" fmla="*/ 0 w 5"/>
                <a:gd name="T7" fmla="*/ 0 h 5"/>
                <a:gd name="T8" fmla="*/ 0 w 5"/>
                <a:gd name="T9" fmla="*/ 0 h 5"/>
                <a:gd name="T10" fmla="*/ 0 w 5"/>
                <a:gd name="T11" fmla="*/ 0 h 5"/>
                <a:gd name="T12" fmla="*/ 0 w 5"/>
                <a:gd name="T13" fmla="*/ 0 h 5"/>
                <a:gd name="T14" fmla="*/ 0 w 5"/>
                <a:gd name="T15" fmla="*/ 0 h 5"/>
                <a:gd name="T16" fmla="*/ 1 w 5"/>
                <a:gd name="T17" fmla="*/ 0 h 5"/>
                <a:gd name="T18" fmla="*/ 1 w 5"/>
                <a:gd name="T19" fmla="*/ 0 h 5"/>
                <a:gd name="T20" fmla="*/ 1 w 5"/>
                <a:gd name="T21" fmla="*/ 0 h 5"/>
                <a:gd name="T22" fmla="*/ 1 w 5"/>
                <a:gd name="T23" fmla="*/ 0 h 5"/>
                <a:gd name="T24" fmla="*/ 1 w 5"/>
                <a:gd name="T25" fmla="*/ 0 h 5"/>
                <a:gd name="T26" fmla="*/ 1 w 5"/>
                <a:gd name="T27" fmla="*/ 0 h 5"/>
                <a:gd name="T28" fmla="*/ 2 w 5"/>
                <a:gd name="T29" fmla="*/ 1 h 5"/>
                <a:gd name="T30" fmla="*/ 2 w 5"/>
                <a:gd name="T31" fmla="*/ 1 h 5"/>
                <a:gd name="T32" fmla="*/ 2 w 5"/>
                <a:gd name="T33" fmla="*/ 1 h 5"/>
                <a:gd name="T34" fmla="*/ 2 w 5"/>
                <a:gd name="T35" fmla="*/ 1 h 5"/>
                <a:gd name="T36" fmla="*/ 2 w 5"/>
                <a:gd name="T37" fmla="*/ 1 h 5"/>
                <a:gd name="T38" fmla="*/ 2 w 5"/>
                <a:gd name="T39" fmla="*/ 1 h 5"/>
                <a:gd name="T40" fmla="*/ 2 w 5"/>
                <a:gd name="T41" fmla="*/ 1 h 5"/>
                <a:gd name="T42" fmla="*/ 2 w 5"/>
                <a:gd name="T43" fmla="*/ 1 h 5"/>
                <a:gd name="T44" fmla="*/ 2 w 5"/>
                <a:gd name="T45" fmla="*/ 1 h 5"/>
                <a:gd name="T46" fmla="*/ 3 w 5"/>
                <a:gd name="T47" fmla="*/ 1 h 5"/>
                <a:gd name="T48" fmla="*/ 3 w 5"/>
                <a:gd name="T49" fmla="*/ 1 h 5"/>
                <a:gd name="T50" fmla="*/ 3 w 5"/>
                <a:gd name="T51" fmla="*/ 1 h 5"/>
                <a:gd name="T52" fmla="*/ 3 w 5"/>
                <a:gd name="T53" fmla="*/ 1 h 5"/>
                <a:gd name="T54" fmla="*/ 3 w 5"/>
                <a:gd name="T55" fmla="*/ 1 h 5"/>
                <a:gd name="T56" fmla="*/ 5 w 5"/>
                <a:gd name="T57" fmla="*/ 1 h 5"/>
                <a:gd name="T58" fmla="*/ 5 w 5"/>
                <a:gd name="T59" fmla="*/ 0 h 5"/>
                <a:gd name="T60" fmla="*/ 5 w 5"/>
                <a:gd name="T61" fmla="*/ 0 h 5"/>
                <a:gd name="T62" fmla="*/ 5 w 5"/>
                <a:gd name="T63" fmla="*/ 1 h 5"/>
                <a:gd name="T64" fmla="*/ 5 w 5"/>
                <a:gd name="T65" fmla="*/ 1 h 5"/>
                <a:gd name="T66" fmla="*/ 5 w 5"/>
                <a:gd name="T67" fmla="*/ 2 h 5"/>
                <a:gd name="T68" fmla="*/ 4 w 5"/>
                <a:gd name="T69" fmla="*/ 2 h 5"/>
                <a:gd name="T70" fmla="*/ 5 w 5"/>
                <a:gd name="T71" fmla="*/ 2 h 5"/>
                <a:gd name="T72" fmla="*/ 5 w 5"/>
                <a:gd name="T73" fmla="*/ 2 h 5"/>
                <a:gd name="T74" fmla="*/ 5 w 5"/>
                <a:gd name="T75" fmla="*/ 2 h 5"/>
                <a:gd name="T76" fmla="*/ 5 w 5"/>
                <a:gd name="T77" fmla="*/ 2 h 5"/>
                <a:gd name="T78" fmla="*/ 5 w 5"/>
                <a:gd name="T79" fmla="*/ 2 h 5"/>
                <a:gd name="T80" fmla="*/ 4 w 5"/>
                <a:gd name="T81" fmla="*/ 4 h 5"/>
                <a:gd name="T82" fmla="*/ 4 w 5"/>
                <a:gd name="T83" fmla="*/ 4 h 5"/>
                <a:gd name="T84" fmla="*/ 4 w 5"/>
                <a:gd name="T85" fmla="*/ 4 h 5"/>
                <a:gd name="T86" fmla="*/ 4 w 5"/>
                <a:gd name="T87" fmla="*/ 4 h 5"/>
                <a:gd name="T88" fmla="*/ 4 w 5"/>
                <a:gd name="T89" fmla="*/ 4 h 5"/>
                <a:gd name="T90" fmla="*/ 3 w 5"/>
                <a:gd name="T91" fmla="*/ 4 h 5"/>
                <a:gd name="T92" fmla="*/ 3 w 5"/>
                <a:gd name="T93" fmla="*/ 4 h 5"/>
                <a:gd name="T94" fmla="*/ 3 w 5"/>
                <a:gd name="T95" fmla="*/ 4 h 5"/>
                <a:gd name="T96" fmla="*/ 3 w 5"/>
                <a:gd name="T97" fmla="*/ 4 h 5"/>
                <a:gd name="T98" fmla="*/ 4 w 5"/>
                <a:gd name="T99" fmla="*/ 4 h 5"/>
                <a:gd name="T100" fmla="*/ 4 w 5"/>
                <a:gd name="T101" fmla="*/ 5 h 5"/>
                <a:gd name="T102" fmla="*/ 3 w 5"/>
                <a:gd name="T10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  <a:moveTo>
                    <a:pt x="5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5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Freeform 101">
              <a:extLst>
                <a:ext uri="{FF2B5EF4-FFF2-40B4-BE49-F238E27FC236}">
                  <a16:creationId xmlns:a16="http://schemas.microsoft.com/office/drawing/2014/main" id="{E5444862-CD8E-4FF6-8863-62A088C10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9491" y="4465277"/>
              <a:ext cx="156896" cy="216611"/>
            </a:xfrm>
            <a:custGeom>
              <a:avLst/>
              <a:gdLst>
                <a:gd name="T0" fmla="*/ 50 w 134"/>
                <a:gd name="T1" fmla="*/ 118 h 185"/>
                <a:gd name="T2" fmla="*/ 50 w 134"/>
                <a:gd name="T3" fmla="*/ 67 h 185"/>
                <a:gd name="T4" fmla="*/ 67 w 134"/>
                <a:gd name="T5" fmla="*/ 25 h 185"/>
                <a:gd name="T6" fmla="*/ 76 w 134"/>
                <a:gd name="T7" fmla="*/ 42 h 185"/>
                <a:gd name="T8" fmla="*/ 84 w 134"/>
                <a:gd name="T9" fmla="*/ 50 h 185"/>
                <a:gd name="T10" fmla="*/ 92 w 134"/>
                <a:gd name="T11" fmla="*/ 50 h 185"/>
                <a:gd name="T12" fmla="*/ 101 w 134"/>
                <a:gd name="T13" fmla="*/ 50 h 185"/>
                <a:gd name="T14" fmla="*/ 109 w 134"/>
                <a:gd name="T15" fmla="*/ 50 h 185"/>
                <a:gd name="T16" fmla="*/ 118 w 134"/>
                <a:gd name="T17" fmla="*/ 59 h 185"/>
                <a:gd name="T18" fmla="*/ 118 w 134"/>
                <a:gd name="T19" fmla="*/ 67 h 185"/>
                <a:gd name="T20" fmla="*/ 134 w 134"/>
                <a:gd name="T21" fmla="*/ 76 h 185"/>
                <a:gd name="T22" fmla="*/ 134 w 134"/>
                <a:gd name="T23" fmla="*/ 76 h 185"/>
                <a:gd name="T24" fmla="*/ 126 w 134"/>
                <a:gd name="T25" fmla="*/ 84 h 185"/>
                <a:gd name="T26" fmla="*/ 126 w 134"/>
                <a:gd name="T27" fmla="*/ 101 h 185"/>
                <a:gd name="T28" fmla="*/ 118 w 134"/>
                <a:gd name="T29" fmla="*/ 101 h 185"/>
                <a:gd name="T30" fmla="*/ 109 w 134"/>
                <a:gd name="T31" fmla="*/ 109 h 185"/>
                <a:gd name="T32" fmla="*/ 109 w 134"/>
                <a:gd name="T33" fmla="*/ 109 h 185"/>
                <a:gd name="T34" fmla="*/ 109 w 134"/>
                <a:gd name="T35" fmla="*/ 109 h 185"/>
                <a:gd name="T36" fmla="*/ 109 w 134"/>
                <a:gd name="T37" fmla="*/ 109 h 185"/>
                <a:gd name="T38" fmla="*/ 101 w 134"/>
                <a:gd name="T39" fmla="*/ 109 h 185"/>
                <a:gd name="T40" fmla="*/ 101 w 134"/>
                <a:gd name="T41" fmla="*/ 118 h 185"/>
                <a:gd name="T42" fmla="*/ 101 w 134"/>
                <a:gd name="T43" fmla="*/ 126 h 185"/>
                <a:gd name="T44" fmla="*/ 101 w 134"/>
                <a:gd name="T45" fmla="*/ 126 h 185"/>
                <a:gd name="T46" fmla="*/ 101 w 134"/>
                <a:gd name="T47" fmla="*/ 134 h 185"/>
                <a:gd name="T48" fmla="*/ 101 w 134"/>
                <a:gd name="T49" fmla="*/ 143 h 185"/>
                <a:gd name="T50" fmla="*/ 92 w 134"/>
                <a:gd name="T51" fmla="*/ 143 h 185"/>
                <a:gd name="T52" fmla="*/ 92 w 134"/>
                <a:gd name="T53" fmla="*/ 143 h 185"/>
                <a:gd name="T54" fmla="*/ 84 w 134"/>
                <a:gd name="T55" fmla="*/ 151 h 185"/>
                <a:gd name="T56" fmla="*/ 76 w 134"/>
                <a:gd name="T57" fmla="*/ 160 h 185"/>
                <a:gd name="T58" fmla="*/ 76 w 134"/>
                <a:gd name="T59" fmla="*/ 160 h 185"/>
                <a:gd name="T60" fmla="*/ 59 w 134"/>
                <a:gd name="T61" fmla="*/ 160 h 185"/>
                <a:gd name="T62" fmla="*/ 59 w 134"/>
                <a:gd name="T63" fmla="*/ 168 h 185"/>
                <a:gd name="T64" fmla="*/ 59 w 134"/>
                <a:gd name="T65" fmla="*/ 168 h 185"/>
                <a:gd name="T66" fmla="*/ 59 w 134"/>
                <a:gd name="T67" fmla="*/ 168 h 185"/>
                <a:gd name="T68" fmla="*/ 59 w 134"/>
                <a:gd name="T69" fmla="*/ 168 h 185"/>
                <a:gd name="T70" fmla="*/ 50 w 134"/>
                <a:gd name="T71" fmla="*/ 176 h 185"/>
                <a:gd name="T72" fmla="*/ 50 w 134"/>
                <a:gd name="T73" fmla="*/ 176 h 185"/>
                <a:gd name="T74" fmla="*/ 34 w 134"/>
                <a:gd name="T75" fmla="*/ 176 h 185"/>
                <a:gd name="T76" fmla="*/ 34 w 134"/>
                <a:gd name="T77" fmla="*/ 185 h 185"/>
                <a:gd name="T78" fmla="*/ 25 w 134"/>
                <a:gd name="T79" fmla="*/ 185 h 185"/>
                <a:gd name="T80" fmla="*/ 17 w 134"/>
                <a:gd name="T81" fmla="*/ 168 h 185"/>
                <a:gd name="T82" fmla="*/ 0 w 134"/>
                <a:gd name="T83" fmla="*/ 143 h 185"/>
                <a:gd name="T84" fmla="*/ 0 w 134"/>
                <a:gd name="T85" fmla="*/ 134 h 185"/>
                <a:gd name="T86" fmla="*/ 67 w 134"/>
                <a:gd name="T87" fmla="*/ 8 h 185"/>
                <a:gd name="T88" fmla="*/ 67 w 134"/>
                <a:gd name="T89" fmla="*/ 0 h 185"/>
                <a:gd name="T90" fmla="*/ 67 w 134"/>
                <a:gd name="T91" fmla="*/ 0 h 185"/>
                <a:gd name="T92" fmla="*/ 67 w 134"/>
                <a:gd name="T93" fmla="*/ 0 h 185"/>
                <a:gd name="T94" fmla="*/ 67 w 134"/>
                <a:gd name="T95" fmla="*/ 0 h 185"/>
                <a:gd name="T96" fmla="*/ 67 w 134"/>
                <a:gd name="T97" fmla="*/ 0 h 185"/>
                <a:gd name="T98" fmla="*/ 59 w 134"/>
                <a:gd name="T99" fmla="*/ 8 h 185"/>
                <a:gd name="T100" fmla="*/ 59 w 134"/>
                <a:gd name="T101" fmla="*/ 8 h 185"/>
                <a:gd name="T102" fmla="*/ 67 w 134"/>
                <a:gd name="T103" fmla="*/ 8 h 185"/>
                <a:gd name="T104" fmla="*/ 67 w 134"/>
                <a:gd name="T105" fmla="*/ 1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" h="185">
                  <a:moveTo>
                    <a:pt x="0" y="134"/>
                  </a:moveTo>
                  <a:lnTo>
                    <a:pt x="50" y="118"/>
                  </a:lnTo>
                  <a:lnTo>
                    <a:pt x="50" y="84"/>
                  </a:lnTo>
                  <a:lnTo>
                    <a:pt x="50" y="67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34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1" y="50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26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84" y="143"/>
                  </a:lnTo>
                  <a:lnTo>
                    <a:pt x="84" y="151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76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42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0" y="143"/>
                  </a:lnTo>
                  <a:lnTo>
                    <a:pt x="0" y="134"/>
                  </a:lnTo>
                  <a:lnTo>
                    <a:pt x="0" y="134"/>
                  </a:lnTo>
                  <a:close/>
                  <a:moveTo>
                    <a:pt x="67" y="17"/>
                  </a:moveTo>
                  <a:lnTo>
                    <a:pt x="67" y="8"/>
                  </a:lnTo>
                  <a:lnTo>
                    <a:pt x="67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8"/>
                  </a:lnTo>
                  <a:lnTo>
                    <a:pt x="59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Freeform 102">
              <a:extLst>
                <a:ext uri="{FF2B5EF4-FFF2-40B4-BE49-F238E27FC236}">
                  <a16:creationId xmlns:a16="http://schemas.microsoft.com/office/drawing/2014/main" id="{C04EB76D-C297-49B0-9713-31B559D2B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52" y="4622173"/>
              <a:ext cx="245882" cy="158067"/>
            </a:xfrm>
            <a:custGeom>
              <a:avLst/>
              <a:gdLst>
                <a:gd name="T0" fmla="*/ 0 w 210"/>
                <a:gd name="T1" fmla="*/ 51 h 135"/>
                <a:gd name="T2" fmla="*/ 9 w 210"/>
                <a:gd name="T3" fmla="*/ 51 h 135"/>
                <a:gd name="T4" fmla="*/ 9 w 210"/>
                <a:gd name="T5" fmla="*/ 42 h 135"/>
                <a:gd name="T6" fmla="*/ 17 w 210"/>
                <a:gd name="T7" fmla="*/ 34 h 135"/>
                <a:gd name="T8" fmla="*/ 34 w 210"/>
                <a:gd name="T9" fmla="*/ 34 h 135"/>
                <a:gd name="T10" fmla="*/ 59 w 210"/>
                <a:gd name="T11" fmla="*/ 51 h 135"/>
                <a:gd name="T12" fmla="*/ 93 w 210"/>
                <a:gd name="T13" fmla="*/ 17 h 135"/>
                <a:gd name="T14" fmla="*/ 160 w 210"/>
                <a:gd name="T15" fmla="*/ 9 h 135"/>
                <a:gd name="T16" fmla="*/ 177 w 210"/>
                <a:gd name="T17" fmla="*/ 34 h 135"/>
                <a:gd name="T18" fmla="*/ 177 w 210"/>
                <a:gd name="T19" fmla="*/ 51 h 135"/>
                <a:gd name="T20" fmla="*/ 168 w 210"/>
                <a:gd name="T21" fmla="*/ 59 h 135"/>
                <a:gd name="T22" fmla="*/ 168 w 210"/>
                <a:gd name="T23" fmla="*/ 68 h 135"/>
                <a:gd name="T24" fmla="*/ 168 w 210"/>
                <a:gd name="T25" fmla="*/ 68 h 135"/>
                <a:gd name="T26" fmla="*/ 160 w 210"/>
                <a:gd name="T27" fmla="*/ 76 h 135"/>
                <a:gd name="T28" fmla="*/ 143 w 210"/>
                <a:gd name="T29" fmla="*/ 76 h 135"/>
                <a:gd name="T30" fmla="*/ 118 w 210"/>
                <a:gd name="T31" fmla="*/ 85 h 135"/>
                <a:gd name="T32" fmla="*/ 118 w 210"/>
                <a:gd name="T33" fmla="*/ 85 h 135"/>
                <a:gd name="T34" fmla="*/ 101 w 210"/>
                <a:gd name="T35" fmla="*/ 101 h 135"/>
                <a:gd name="T36" fmla="*/ 101 w 210"/>
                <a:gd name="T37" fmla="*/ 101 h 135"/>
                <a:gd name="T38" fmla="*/ 101 w 210"/>
                <a:gd name="T39" fmla="*/ 101 h 135"/>
                <a:gd name="T40" fmla="*/ 93 w 210"/>
                <a:gd name="T41" fmla="*/ 101 h 135"/>
                <a:gd name="T42" fmla="*/ 84 w 210"/>
                <a:gd name="T43" fmla="*/ 101 h 135"/>
                <a:gd name="T44" fmla="*/ 76 w 210"/>
                <a:gd name="T45" fmla="*/ 110 h 135"/>
                <a:gd name="T46" fmla="*/ 68 w 210"/>
                <a:gd name="T47" fmla="*/ 110 h 135"/>
                <a:gd name="T48" fmla="*/ 59 w 210"/>
                <a:gd name="T49" fmla="*/ 110 h 135"/>
                <a:gd name="T50" fmla="*/ 59 w 210"/>
                <a:gd name="T51" fmla="*/ 110 h 135"/>
                <a:gd name="T52" fmla="*/ 51 w 210"/>
                <a:gd name="T53" fmla="*/ 110 h 135"/>
                <a:gd name="T54" fmla="*/ 42 w 210"/>
                <a:gd name="T55" fmla="*/ 118 h 135"/>
                <a:gd name="T56" fmla="*/ 42 w 210"/>
                <a:gd name="T57" fmla="*/ 118 h 135"/>
                <a:gd name="T58" fmla="*/ 34 w 210"/>
                <a:gd name="T59" fmla="*/ 118 h 135"/>
                <a:gd name="T60" fmla="*/ 26 w 210"/>
                <a:gd name="T61" fmla="*/ 127 h 135"/>
                <a:gd name="T62" fmla="*/ 17 w 210"/>
                <a:gd name="T63" fmla="*/ 127 h 135"/>
                <a:gd name="T64" fmla="*/ 17 w 210"/>
                <a:gd name="T65" fmla="*/ 118 h 135"/>
                <a:gd name="T66" fmla="*/ 9 w 210"/>
                <a:gd name="T67" fmla="*/ 110 h 135"/>
                <a:gd name="T68" fmla="*/ 9 w 210"/>
                <a:gd name="T69" fmla="*/ 110 h 135"/>
                <a:gd name="T70" fmla="*/ 9 w 210"/>
                <a:gd name="T71" fmla="*/ 101 h 135"/>
                <a:gd name="T72" fmla="*/ 0 w 210"/>
                <a:gd name="T73" fmla="*/ 76 h 135"/>
                <a:gd name="T74" fmla="*/ 0 w 210"/>
                <a:gd name="T75" fmla="*/ 76 h 135"/>
                <a:gd name="T76" fmla="*/ 0 w 210"/>
                <a:gd name="T77" fmla="*/ 68 h 135"/>
                <a:gd name="T78" fmla="*/ 0 w 210"/>
                <a:gd name="T79" fmla="*/ 68 h 135"/>
                <a:gd name="T80" fmla="*/ 0 w 210"/>
                <a:gd name="T81" fmla="*/ 51 h 135"/>
                <a:gd name="T82" fmla="*/ 0 w 210"/>
                <a:gd name="T83" fmla="*/ 51 h 135"/>
                <a:gd name="T84" fmla="*/ 168 w 210"/>
                <a:gd name="T85" fmla="*/ 135 h 135"/>
                <a:gd name="T86" fmla="*/ 168 w 210"/>
                <a:gd name="T87" fmla="*/ 135 h 135"/>
                <a:gd name="T88" fmla="*/ 168 w 210"/>
                <a:gd name="T89" fmla="*/ 135 h 135"/>
                <a:gd name="T90" fmla="*/ 194 w 210"/>
                <a:gd name="T91" fmla="*/ 127 h 135"/>
                <a:gd name="T92" fmla="*/ 194 w 210"/>
                <a:gd name="T93" fmla="*/ 118 h 135"/>
                <a:gd name="T94" fmla="*/ 194 w 210"/>
                <a:gd name="T95" fmla="*/ 127 h 135"/>
                <a:gd name="T96" fmla="*/ 202 w 210"/>
                <a:gd name="T97" fmla="*/ 127 h 135"/>
                <a:gd name="T98" fmla="*/ 210 w 210"/>
                <a:gd name="T99" fmla="*/ 127 h 135"/>
                <a:gd name="T100" fmla="*/ 210 w 210"/>
                <a:gd name="T101" fmla="*/ 127 h 135"/>
                <a:gd name="T102" fmla="*/ 210 w 210"/>
                <a:gd name="T103" fmla="*/ 127 h 135"/>
                <a:gd name="T104" fmla="*/ 202 w 210"/>
                <a:gd name="T105" fmla="*/ 127 h 135"/>
                <a:gd name="T106" fmla="*/ 194 w 210"/>
                <a:gd name="T107" fmla="*/ 12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0" h="135">
                  <a:moveTo>
                    <a:pt x="0" y="51"/>
                  </a:moveTo>
                  <a:lnTo>
                    <a:pt x="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34" y="34"/>
                  </a:lnTo>
                  <a:lnTo>
                    <a:pt x="51" y="42"/>
                  </a:lnTo>
                  <a:lnTo>
                    <a:pt x="59" y="51"/>
                  </a:lnTo>
                  <a:lnTo>
                    <a:pt x="59" y="68"/>
                  </a:lnTo>
                  <a:lnTo>
                    <a:pt x="93" y="17"/>
                  </a:lnTo>
                  <a:lnTo>
                    <a:pt x="160" y="0"/>
                  </a:lnTo>
                  <a:lnTo>
                    <a:pt x="160" y="9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85" y="51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68" y="59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0" y="68"/>
                  </a:lnTo>
                  <a:lnTo>
                    <a:pt x="160" y="76"/>
                  </a:lnTo>
                  <a:lnTo>
                    <a:pt x="152" y="76"/>
                  </a:lnTo>
                  <a:lnTo>
                    <a:pt x="143" y="76"/>
                  </a:lnTo>
                  <a:lnTo>
                    <a:pt x="135" y="85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0" y="93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10"/>
                  </a:lnTo>
                  <a:lnTo>
                    <a:pt x="76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34" y="118"/>
                  </a:lnTo>
                  <a:lnTo>
                    <a:pt x="34" y="118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6" y="118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168" y="135"/>
                  </a:moveTo>
                  <a:lnTo>
                    <a:pt x="168" y="135"/>
                  </a:lnTo>
                  <a:lnTo>
                    <a:pt x="177" y="135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8" y="135"/>
                  </a:lnTo>
                  <a:close/>
                  <a:moveTo>
                    <a:pt x="194" y="127"/>
                  </a:moveTo>
                  <a:lnTo>
                    <a:pt x="194" y="127"/>
                  </a:lnTo>
                  <a:lnTo>
                    <a:pt x="194" y="127"/>
                  </a:lnTo>
                  <a:lnTo>
                    <a:pt x="194" y="118"/>
                  </a:lnTo>
                  <a:lnTo>
                    <a:pt x="194" y="118"/>
                  </a:lnTo>
                  <a:lnTo>
                    <a:pt x="194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4" y="127"/>
                  </a:lnTo>
                  <a:lnTo>
                    <a:pt x="194" y="127"/>
                  </a:lnTo>
                  <a:lnTo>
                    <a:pt x="194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Freeform 103">
              <a:extLst>
                <a:ext uri="{FF2B5EF4-FFF2-40B4-BE49-F238E27FC236}">
                  <a16:creationId xmlns:a16="http://schemas.microsoft.com/office/drawing/2014/main" id="{742CB3A8-F5D1-4FAB-8581-41E48A896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279" y="4347019"/>
              <a:ext cx="255249" cy="216611"/>
            </a:xfrm>
            <a:custGeom>
              <a:avLst/>
              <a:gdLst>
                <a:gd name="T0" fmla="*/ 176 w 218"/>
                <a:gd name="T1" fmla="*/ 34 h 185"/>
                <a:gd name="T2" fmla="*/ 168 w 218"/>
                <a:gd name="T3" fmla="*/ 17 h 185"/>
                <a:gd name="T4" fmla="*/ 159 w 218"/>
                <a:gd name="T5" fmla="*/ 8 h 185"/>
                <a:gd name="T6" fmla="*/ 134 w 218"/>
                <a:gd name="T7" fmla="*/ 17 h 185"/>
                <a:gd name="T8" fmla="*/ 126 w 218"/>
                <a:gd name="T9" fmla="*/ 17 h 185"/>
                <a:gd name="T10" fmla="*/ 126 w 218"/>
                <a:gd name="T11" fmla="*/ 8 h 185"/>
                <a:gd name="T12" fmla="*/ 117 w 218"/>
                <a:gd name="T13" fmla="*/ 8 h 185"/>
                <a:gd name="T14" fmla="*/ 109 w 218"/>
                <a:gd name="T15" fmla="*/ 8 h 185"/>
                <a:gd name="T16" fmla="*/ 109 w 218"/>
                <a:gd name="T17" fmla="*/ 8 h 185"/>
                <a:gd name="T18" fmla="*/ 101 w 218"/>
                <a:gd name="T19" fmla="*/ 8 h 185"/>
                <a:gd name="T20" fmla="*/ 101 w 218"/>
                <a:gd name="T21" fmla="*/ 8 h 185"/>
                <a:gd name="T22" fmla="*/ 101 w 218"/>
                <a:gd name="T23" fmla="*/ 8 h 185"/>
                <a:gd name="T24" fmla="*/ 92 w 218"/>
                <a:gd name="T25" fmla="*/ 8 h 185"/>
                <a:gd name="T26" fmla="*/ 75 w 218"/>
                <a:gd name="T27" fmla="*/ 17 h 185"/>
                <a:gd name="T28" fmla="*/ 67 w 218"/>
                <a:gd name="T29" fmla="*/ 17 h 185"/>
                <a:gd name="T30" fmla="*/ 50 w 218"/>
                <a:gd name="T31" fmla="*/ 8 h 185"/>
                <a:gd name="T32" fmla="*/ 33 w 218"/>
                <a:gd name="T33" fmla="*/ 8 h 185"/>
                <a:gd name="T34" fmla="*/ 8 w 218"/>
                <a:gd name="T35" fmla="*/ 8 h 185"/>
                <a:gd name="T36" fmla="*/ 8 w 218"/>
                <a:gd name="T37" fmla="*/ 8 h 185"/>
                <a:gd name="T38" fmla="*/ 8 w 218"/>
                <a:gd name="T39" fmla="*/ 25 h 185"/>
                <a:gd name="T40" fmla="*/ 0 w 218"/>
                <a:gd name="T41" fmla="*/ 42 h 185"/>
                <a:gd name="T42" fmla="*/ 218 w 218"/>
                <a:gd name="T43" fmla="*/ 185 h 185"/>
                <a:gd name="T44" fmla="*/ 218 w 218"/>
                <a:gd name="T45" fmla="*/ 185 h 185"/>
                <a:gd name="T46" fmla="*/ 210 w 218"/>
                <a:gd name="T47" fmla="*/ 177 h 185"/>
                <a:gd name="T48" fmla="*/ 193 w 218"/>
                <a:gd name="T49" fmla="*/ 168 h 185"/>
                <a:gd name="T50" fmla="*/ 193 w 218"/>
                <a:gd name="T51" fmla="*/ 151 h 185"/>
                <a:gd name="T52" fmla="*/ 193 w 218"/>
                <a:gd name="T53" fmla="*/ 151 h 185"/>
                <a:gd name="T54" fmla="*/ 193 w 218"/>
                <a:gd name="T55" fmla="*/ 151 h 185"/>
                <a:gd name="T56" fmla="*/ 193 w 218"/>
                <a:gd name="T57" fmla="*/ 143 h 185"/>
                <a:gd name="T58" fmla="*/ 185 w 218"/>
                <a:gd name="T59" fmla="*/ 126 h 185"/>
                <a:gd name="T60" fmla="*/ 168 w 218"/>
                <a:gd name="T61" fmla="*/ 109 h 185"/>
                <a:gd name="T62" fmla="*/ 168 w 218"/>
                <a:gd name="T63" fmla="*/ 92 h 185"/>
                <a:gd name="T64" fmla="*/ 159 w 218"/>
                <a:gd name="T65" fmla="*/ 84 h 185"/>
                <a:gd name="T66" fmla="*/ 151 w 218"/>
                <a:gd name="T67" fmla="*/ 76 h 185"/>
                <a:gd name="T68" fmla="*/ 134 w 218"/>
                <a:gd name="T69" fmla="*/ 50 h 185"/>
                <a:gd name="T70" fmla="*/ 134 w 218"/>
                <a:gd name="T71" fmla="*/ 42 h 185"/>
                <a:gd name="T72" fmla="*/ 134 w 218"/>
                <a:gd name="T73" fmla="*/ 42 h 185"/>
                <a:gd name="T74" fmla="*/ 143 w 218"/>
                <a:gd name="T75" fmla="*/ 50 h 185"/>
                <a:gd name="T76" fmla="*/ 151 w 218"/>
                <a:gd name="T77" fmla="*/ 59 h 185"/>
                <a:gd name="T78" fmla="*/ 151 w 218"/>
                <a:gd name="T79" fmla="*/ 67 h 185"/>
                <a:gd name="T80" fmla="*/ 168 w 218"/>
                <a:gd name="T81" fmla="*/ 76 h 185"/>
                <a:gd name="T82" fmla="*/ 176 w 218"/>
                <a:gd name="T83" fmla="*/ 67 h 185"/>
                <a:gd name="T84" fmla="*/ 176 w 218"/>
                <a:gd name="T85" fmla="*/ 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185">
                  <a:moveTo>
                    <a:pt x="176" y="50"/>
                  </a:moveTo>
                  <a:lnTo>
                    <a:pt x="176" y="42"/>
                  </a:lnTo>
                  <a:lnTo>
                    <a:pt x="176" y="34"/>
                  </a:lnTo>
                  <a:lnTo>
                    <a:pt x="176" y="25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1" y="17"/>
                  </a:lnTo>
                  <a:lnTo>
                    <a:pt x="143" y="8"/>
                  </a:lnTo>
                  <a:lnTo>
                    <a:pt x="134" y="17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17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17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01" y="177"/>
                  </a:lnTo>
                  <a:lnTo>
                    <a:pt x="201" y="177"/>
                  </a:lnTo>
                  <a:lnTo>
                    <a:pt x="193" y="168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193" y="151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85" y="143"/>
                  </a:lnTo>
                  <a:lnTo>
                    <a:pt x="185" y="126"/>
                  </a:lnTo>
                  <a:lnTo>
                    <a:pt x="176" y="126"/>
                  </a:lnTo>
                  <a:lnTo>
                    <a:pt x="176" y="118"/>
                  </a:lnTo>
                  <a:lnTo>
                    <a:pt x="168" y="109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2"/>
                  </a:lnTo>
                  <a:lnTo>
                    <a:pt x="159" y="92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51" y="76"/>
                  </a:lnTo>
                  <a:lnTo>
                    <a:pt x="143" y="67"/>
                  </a:lnTo>
                  <a:lnTo>
                    <a:pt x="143" y="59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9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6" y="67"/>
                  </a:lnTo>
                  <a:lnTo>
                    <a:pt x="168" y="67"/>
                  </a:lnTo>
                  <a:lnTo>
                    <a:pt x="176" y="59"/>
                  </a:lnTo>
                  <a:lnTo>
                    <a:pt x="176" y="59"/>
                  </a:lnTo>
                  <a:lnTo>
                    <a:pt x="176" y="50"/>
                  </a:lnTo>
                  <a:lnTo>
                    <a:pt x="176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Freeform 104">
              <a:extLst>
                <a:ext uri="{FF2B5EF4-FFF2-40B4-BE49-F238E27FC236}">
                  <a16:creationId xmlns:a16="http://schemas.microsoft.com/office/drawing/2014/main" id="{475AA23E-A81B-458C-8974-26200CBCC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03" y="4563629"/>
              <a:ext cx="344234" cy="393412"/>
            </a:xfrm>
            <a:custGeom>
              <a:avLst/>
              <a:gdLst>
                <a:gd name="T0" fmla="*/ 260 w 294"/>
                <a:gd name="T1" fmla="*/ 8 h 336"/>
                <a:gd name="T2" fmla="*/ 269 w 294"/>
                <a:gd name="T3" fmla="*/ 17 h 336"/>
                <a:gd name="T4" fmla="*/ 269 w 294"/>
                <a:gd name="T5" fmla="*/ 17 h 336"/>
                <a:gd name="T6" fmla="*/ 269 w 294"/>
                <a:gd name="T7" fmla="*/ 50 h 336"/>
                <a:gd name="T8" fmla="*/ 285 w 294"/>
                <a:gd name="T9" fmla="*/ 67 h 336"/>
                <a:gd name="T10" fmla="*/ 294 w 294"/>
                <a:gd name="T11" fmla="*/ 76 h 336"/>
                <a:gd name="T12" fmla="*/ 277 w 294"/>
                <a:gd name="T13" fmla="*/ 84 h 336"/>
                <a:gd name="T14" fmla="*/ 269 w 294"/>
                <a:gd name="T15" fmla="*/ 92 h 336"/>
                <a:gd name="T16" fmla="*/ 269 w 294"/>
                <a:gd name="T17" fmla="*/ 101 h 336"/>
                <a:gd name="T18" fmla="*/ 260 w 294"/>
                <a:gd name="T19" fmla="*/ 126 h 336"/>
                <a:gd name="T20" fmla="*/ 260 w 294"/>
                <a:gd name="T21" fmla="*/ 143 h 336"/>
                <a:gd name="T22" fmla="*/ 252 w 294"/>
                <a:gd name="T23" fmla="*/ 168 h 336"/>
                <a:gd name="T24" fmla="*/ 243 w 294"/>
                <a:gd name="T25" fmla="*/ 185 h 336"/>
                <a:gd name="T26" fmla="*/ 227 w 294"/>
                <a:gd name="T27" fmla="*/ 202 h 336"/>
                <a:gd name="T28" fmla="*/ 227 w 294"/>
                <a:gd name="T29" fmla="*/ 219 h 336"/>
                <a:gd name="T30" fmla="*/ 218 w 294"/>
                <a:gd name="T31" fmla="*/ 244 h 336"/>
                <a:gd name="T32" fmla="*/ 210 w 294"/>
                <a:gd name="T33" fmla="*/ 244 h 336"/>
                <a:gd name="T34" fmla="*/ 210 w 294"/>
                <a:gd name="T35" fmla="*/ 261 h 336"/>
                <a:gd name="T36" fmla="*/ 218 w 294"/>
                <a:gd name="T37" fmla="*/ 269 h 336"/>
                <a:gd name="T38" fmla="*/ 235 w 294"/>
                <a:gd name="T39" fmla="*/ 278 h 336"/>
                <a:gd name="T40" fmla="*/ 243 w 294"/>
                <a:gd name="T41" fmla="*/ 294 h 336"/>
                <a:gd name="T42" fmla="*/ 227 w 294"/>
                <a:gd name="T43" fmla="*/ 320 h 336"/>
                <a:gd name="T44" fmla="*/ 218 w 294"/>
                <a:gd name="T45" fmla="*/ 328 h 336"/>
                <a:gd name="T46" fmla="*/ 201 w 294"/>
                <a:gd name="T47" fmla="*/ 328 h 336"/>
                <a:gd name="T48" fmla="*/ 193 w 294"/>
                <a:gd name="T49" fmla="*/ 336 h 336"/>
                <a:gd name="T50" fmla="*/ 176 w 294"/>
                <a:gd name="T51" fmla="*/ 336 h 336"/>
                <a:gd name="T52" fmla="*/ 168 w 294"/>
                <a:gd name="T53" fmla="*/ 336 h 336"/>
                <a:gd name="T54" fmla="*/ 159 w 294"/>
                <a:gd name="T55" fmla="*/ 336 h 336"/>
                <a:gd name="T56" fmla="*/ 151 w 294"/>
                <a:gd name="T57" fmla="*/ 320 h 336"/>
                <a:gd name="T58" fmla="*/ 143 w 294"/>
                <a:gd name="T59" fmla="*/ 311 h 336"/>
                <a:gd name="T60" fmla="*/ 134 w 294"/>
                <a:gd name="T61" fmla="*/ 320 h 336"/>
                <a:gd name="T62" fmla="*/ 117 w 294"/>
                <a:gd name="T63" fmla="*/ 320 h 336"/>
                <a:gd name="T64" fmla="*/ 109 w 294"/>
                <a:gd name="T65" fmla="*/ 311 h 336"/>
                <a:gd name="T66" fmla="*/ 101 w 294"/>
                <a:gd name="T67" fmla="*/ 303 h 336"/>
                <a:gd name="T68" fmla="*/ 92 w 294"/>
                <a:gd name="T69" fmla="*/ 294 h 336"/>
                <a:gd name="T70" fmla="*/ 84 w 294"/>
                <a:gd name="T71" fmla="*/ 286 h 336"/>
                <a:gd name="T72" fmla="*/ 67 w 294"/>
                <a:gd name="T73" fmla="*/ 269 h 336"/>
                <a:gd name="T74" fmla="*/ 67 w 294"/>
                <a:gd name="T75" fmla="*/ 269 h 336"/>
                <a:gd name="T76" fmla="*/ 59 w 294"/>
                <a:gd name="T77" fmla="*/ 261 h 336"/>
                <a:gd name="T78" fmla="*/ 42 w 294"/>
                <a:gd name="T79" fmla="*/ 252 h 336"/>
                <a:gd name="T80" fmla="*/ 42 w 294"/>
                <a:gd name="T81" fmla="*/ 244 h 336"/>
                <a:gd name="T82" fmla="*/ 33 w 294"/>
                <a:gd name="T83" fmla="*/ 227 h 336"/>
                <a:gd name="T84" fmla="*/ 25 w 294"/>
                <a:gd name="T85" fmla="*/ 210 h 336"/>
                <a:gd name="T86" fmla="*/ 16 w 294"/>
                <a:gd name="T87" fmla="*/ 202 h 336"/>
                <a:gd name="T88" fmla="*/ 16 w 294"/>
                <a:gd name="T89" fmla="*/ 185 h 336"/>
                <a:gd name="T90" fmla="*/ 8 w 294"/>
                <a:gd name="T91" fmla="*/ 177 h 336"/>
                <a:gd name="T92" fmla="*/ 0 w 294"/>
                <a:gd name="T93" fmla="*/ 168 h 336"/>
                <a:gd name="T94" fmla="*/ 8 w 294"/>
                <a:gd name="T95" fmla="*/ 151 h 336"/>
                <a:gd name="T96" fmla="*/ 16 w 294"/>
                <a:gd name="T97" fmla="*/ 135 h 336"/>
                <a:gd name="T98" fmla="*/ 25 w 294"/>
                <a:gd name="T99" fmla="*/ 118 h 336"/>
                <a:gd name="T100" fmla="*/ 42 w 294"/>
                <a:gd name="T101" fmla="*/ 118 h 336"/>
                <a:gd name="T102" fmla="*/ 50 w 294"/>
                <a:gd name="T103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4" h="336">
                  <a:moveTo>
                    <a:pt x="50" y="0"/>
                  </a:moveTo>
                  <a:lnTo>
                    <a:pt x="260" y="0"/>
                  </a:lnTo>
                  <a:lnTo>
                    <a:pt x="260" y="0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25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77" y="59"/>
                  </a:lnTo>
                  <a:lnTo>
                    <a:pt x="277" y="59"/>
                  </a:lnTo>
                  <a:lnTo>
                    <a:pt x="285" y="67"/>
                  </a:lnTo>
                  <a:lnTo>
                    <a:pt x="285" y="67"/>
                  </a:lnTo>
                  <a:lnTo>
                    <a:pt x="294" y="67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84"/>
                  </a:lnTo>
                  <a:lnTo>
                    <a:pt x="285" y="84"/>
                  </a:lnTo>
                  <a:lnTo>
                    <a:pt x="285" y="84"/>
                  </a:lnTo>
                  <a:lnTo>
                    <a:pt x="285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9"/>
                  </a:lnTo>
                  <a:lnTo>
                    <a:pt x="269" y="118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35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51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2" y="177"/>
                  </a:lnTo>
                  <a:lnTo>
                    <a:pt x="243" y="177"/>
                  </a:lnTo>
                  <a:lnTo>
                    <a:pt x="243" y="185"/>
                  </a:lnTo>
                  <a:lnTo>
                    <a:pt x="243" y="185"/>
                  </a:lnTo>
                  <a:lnTo>
                    <a:pt x="235" y="193"/>
                  </a:lnTo>
                  <a:lnTo>
                    <a:pt x="235" y="202"/>
                  </a:lnTo>
                  <a:lnTo>
                    <a:pt x="235" y="202"/>
                  </a:lnTo>
                  <a:lnTo>
                    <a:pt x="227" y="20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7" y="227"/>
                  </a:lnTo>
                  <a:lnTo>
                    <a:pt x="218" y="227"/>
                  </a:lnTo>
                  <a:lnTo>
                    <a:pt x="227" y="235"/>
                  </a:lnTo>
                  <a:lnTo>
                    <a:pt x="218" y="244"/>
                  </a:lnTo>
                  <a:lnTo>
                    <a:pt x="218" y="244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44"/>
                  </a:lnTo>
                  <a:lnTo>
                    <a:pt x="210" y="252"/>
                  </a:lnTo>
                  <a:lnTo>
                    <a:pt x="210" y="244"/>
                  </a:lnTo>
                  <a:lnTo>
                    <a:pt x="210" y="252"/>
                  </a:lnTo>
                  <a:lnTo>
                    <a:pt x="201" y="252"/>
                  </a:lnTo>
                  <a:lnTo>
                    <a:pt x="201" y="252"/>
                  </a:lnTo>
                  <a:lnTo>
                    <a:pt x="201" y="261"/>
                  </a:lnTo>
                  <a:lnTo>
                    <a:pt x="210" y="261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18" y="269"/>
                  </a:lnTo>
                  <a:lnTo>
                    <a:pt x="218" y="269"/>
                  </a:lnTo>
                  <a:lnTo>
                    <a:pt x="218" y="269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35" y="278"/>
                  </a:lnTo>
                  <a:lnTo>
                    <a:pt x="235" y="278"/>
                  </a:lnTo>
                  <a:lnTo>
                    <a:pt x="235" y="286"/>
                  </a:lnTo>
                  <a:lnTo>
                    <a:pt x="235" y="286"/>
                  </a:lnTo>
                  <a:lnTo>
                    <a:pt x="243" y="294"/>
                  </a:lnTo>
                  <a:lnTo>
                    <a:pt x="243" y="294"/>
                  </a:lnTo>
                  <a:lnTo>
                    <a:pt x="243" y="303"/>
                  </a:lnTo>
                  <a:lnTo>
                    <a:pt x="235" y="311"/>
                  </a:lnTo>
                  <a:lnTo>
                    <a:pt x="235" y="311"/>
                  </a:lnTo>
                  <a:lnTo>
                    <a:pt x="227" y="311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18" y="320"/>
                  </a:lnTo>
                  <a:lnTo>
                    <a:pt x="218" y="320"/>
                  </a:lnTo>
                  <a:lnTo>
                    <a:pt x="218" y="328"/>
                  </a:lnTo>
                  <a:lnTo>
                    <a:pt x="218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01" y="328"/>
                  </a:lnTo>
                  <a:lnTo>
                    <a:pt x="201" y="328"/>
                  </a:lnTo>
                  <a:lnTo>
                    <a:pt x="193" y="328"/>
                  </a:lnTo>
                  <a:lnTo>
                    <a:pt x="193" y="336"/>
                  </a:lnTo>
                  <a:lnTo>
                    <a:pt x="193" y="328"/>
                  </a:lnTo>
                  <a:lnTo>
                    <a:pt x="193" y="336"/>
                  </a:lnTo>
                  <a:lnTo>
                    <a:pt x="193" y="336"/>
                  </a:lnTo>
                  <a:lnTo>
                    <a:pt x="185" y="336"/>
                  </a:lnTo>
                  <a:lnTo>
                    <a:pt x="185" y="336"/>
                  </a:lnTo>
                  <a:lnTo>
                    <a:pt x="185" y="336"/>
                  </a:lnTo>
                  <a:lnTo>
                    <a:pt x="176" y="328"/>
                  </a:lnTo>
                  <a:lnTo>
                    <a:pt x="176" y="336"/>
                  </a:lnTo>
                  <a:lnTo>
                    <a:pt x="176" y="328"/>
                  </a:lnTo>
                  <a:lnTo>
                    <a:pt x="168" y="328"/>
                  </a:lnTo>
                  <a:lnTo>
                    <a:pt x="168" y="328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1" y="328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09" y="320"/>
                  </a:lnTo>
                  <a:lnTo>
                    <a:pt x="109" y="320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1" y="311"/>
                  </a:lnTo>
                  <a:lnTo>
                    <a:pt x="101" y="303"/>
                  </a:lnTo>
                  <a:lnTo>
                    <a:pt x="101" y="303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78"/>
                  </a:lnTo>
                  <a:lnTo>
                    <a:pt x="84" y="278"/>
                  </a:lnTo>
                  <a:lnTo>
                    <a:pt x="75" y="269"/>
                  </a:lnTo>
                  <a:lnTo>
                    <a:pt x="75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59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59" y="261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42" y="252"/>
                  </a:lnTo>
                  <a:lnTo>
                    <a:pt x="42" y="244"/>
                  </a:lnTo>
                  <a:lnTo>
                    <a:pt x="50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35"/>
                  </a:lnTo>
                  <a:lnTo>
                    <a:pt x="33" y="235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19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6" y="193"/>
                  </a:lnTo>
                  <a:lnTo>
                    <a:pt x="25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8" y="177"/>
                  </a:lnTo>
                  <a:lnTo>
                    <a:pt x="16" y="177"/>
                  </a:lnTo>
                  <a:lnTo>
                    <a:pt x="8" y="177"/>
                  </a:lnTo>
                  <a:lnTo>
                    <a:pt x="8" y="177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77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6" y="143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25" y="135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42" y="11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59" y="42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Freeform 105">
              <a:extLst>
                <a:ext uri="{FF2B5EF4-FFF2-40B4-BE49-F238E27FC236}">
                  <a16:creationId xmlns:a16="http://schemas.microsoft.com/office/drawing/2014/main" id="{5AB0503A-7F7A-4C68-8B94-F689415CE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447" y="4721697"/>
              <a:ext cx="314963" cy="235344"/>
            </a:xfrm>
            <a:custGeom>
              <a:avLst/>
              <a:gdLst>
                <a:gd name="T0" fmla="*/ 42 w 269"/>
                <a:gd name="T1" fmla="*/ 159 h 201"/>
                <a:gd name="T2" fmla="*/ 34 w 269"/>
                <a:gd name="T3" fmla="*/ 143 h 201"/>
                <a:gd name="T4" fmla="*/ 26 w 269"/>
                <a:gd name="T5" fmla="*/ 143 h 201"/>
                <a:gd name="T6" fmla="*/ 17 w 269"/>
                <a:gd name="T7" fmla="*/ 134 h 201"/>
                <a:gd name="T8" fmla="*/ 17 w 269"/>
                <a:gd name="T9" fmla="*/ 126 h 201"/>
                <a:gd name="T10" fmla="*/ 0 w 269"/>
                <a:gd name="T11" fmla="*/ 126 h 201"/>
                <a:gd name="T12" fmla="*/ 9 w 269"/>
                <a:gd name="T13" fmla="*/ 117 h 201"/>
                <a:gd name="T14" fmla="*/ 17 w 269"/>
                <a:gd name="T15" fmla="*/ 109 h 201"/>
                <a:gd name="T16" fmla="*/ 17 w 269"/>
                <a:gd name="T17" fmla="*/ 109 h 201"/>
                <a:gd name="T18" fmla="*/ 17 w 269"/>
                <a:gd name="T19" fmla="*/ 92 h 201"/>
                <a:gd name="T20" fmla="*/ 26 w 269"/>
                <a:gd name="T21" fmla="*/ 84 h 201"/>
                <a:gd name="T22" fmla="*/ 26 w 269"/>
                <a:gd name="T23" fmla="*/ 75 h 201"/>
                <a:gd name="T24" fmla="*/ 34 w 269"/>
                <a:gd name="T25" fmla="*/ 67 h 201"/>
                <a:gd name="T26" fmla="*/ 42 w 269"/>
                <a:gd name="T27" fmla="*/ 50 h 201"/>
                <a:gd name="T28" fmla="*/ 51 w 269"/>
                <a:gd name="T29" fmla="*/ 33 h 201"/>
                <a:gd name="T30" fmla="*/ 59 w 269"/>
                <a:gd name="T31" fmla="*/ 33 h 201"/>
                <a:gd name="T32" fmla="*/ 59 w 269"/>
                <a:gd name="T33" fmla="*/ 8 h 201"/>
                <a:gd name="T34" fmla="*/ 68 w 269"/>
                <a:gd name="T35" fmla="*/ 8 h 201"/>
                <a:gd name="T36" fmla="*/ 76 w 269"/>
                <a:gd name="T37" fmla="*/ 0 h 201"/>
                <a:gd name="T38" fmla="*/ 84 w 269"/>
                <a:gd name="T39" fmla="*/ 0 h 201"/>
                <a:gd name="T40" fmla="*/ 101 w 269"/>
                <a:gd name="T41" fmla="*/ 0 h 201"/>
                <a:gd name="T42" fmla="*/ 101 w 269"/>
                <a:gd name="T43" fmla="*/ 0 h 201"/>
                <a:gd name="T44" fmla="*/ 110 w 269"/>
                <a:gd name="T45" fmla="*/ 0 h 201"/>
                <a:gd name="T46" fmla="*/ 126 w 269"/>
                <a:gd name="T47" fmla="*/ 8 h 201"/>
                <a:gd name="T48" fmla="*/ 135 w 269"/>
                <a:gd name="T49" fmla="*/ 16 h 201"/>
                <a:gd name="T50" fmla="*/ 143 w 269"/>
                <a:gd name="T51" fmla="*/ 16 h 201"/>
                <a:gd name="T52" fmla="*/ 152 w 269"/>
                <a:gd name="T53" fmla="*/ 25 h 201"/>
                <a:gd name="T54" fmla="*/ 160 w 269"/>
                <a:gd name="T55" fmla="*/ 42 h 201"/>
                <a:gd name="T56" fmla="*/ 160 w 269"/>
                <a:gd name="T57" fmla="*/ 42 h 201"/>
                <a:gd name="T58" fmla="*/ 160 w 269"/>
                <a:gd name="T59" fmla="*/ 58 h 201"/>
                <a:gd name="T60" fmla="*/ 152 w 269"/>
                <a:gd name="T61" fmla="*/ 67 h 201"/>
                <a:gd name="T62" fmla="*/ 168 w 269"/>
                <a:gd name="T63" fmla="*/ 67 h 201"/>
                <a:gd name="T64" fmla="*/ 177 w 269"/>
                <a:gd name="T65" fmla="*/ 67 h 201"/>
                <a:gd name="T66" fmla="*/ 185 w 269"/>
                <a:gd name="T67" fmla="*/ 92 h 201"/>
                <a:gd name="T68" fmla="*/ 194 w 269"/>
                <a:gd name="T69" fmla="*/ 100 h 201"/>
                <a:gd name="T70" fmla="*/ 269 w 269"/>
                <a:gd name="T71" fmla="*/ 117 h 201"/>
                <a:gd name="T72" fmla="*/ 194 w 269"/>
                <a:gd name="T73" fmla="*/ 176 h 201"/>
                <a:gd name="T74" fmla="*/ 185 w 269"/>
                <a:gd name="T75" fmla="*/ 176 h 201"/>
                <a:gd name="T76" fmla="*/ 177 w 269"/>
                <a:gd name="T77" fmla="*/ 185 h 201"/>
                <a:gd name="T78" fmla="*/ 160 w 269"/>
                <a:gd name="T79" fmla="*/ 193 h 201"/>
                <a:gd name="T80" fmla="*/ 152 w 269"/>
                <a:gd name="T81" fmla="*/ 193 h 201"/>
                <a:gd name="T82" fmla="*/ 143 w 269"/>
                <a:gd name="T83" fmla="*/ 185 h 201"/>
                <a:gd name="T84" fmla="*/ 126 w 269"/>
                <a:gd name="T85" fmla="*/ 193 h 201"/>
                <a:gd name="T86" fmla="*/ 118 w 269"/>
                <a:gd name="T87" fmla="*/ 201 h 201"/>
                <a:gd name="T88" fmla="*/ 110 w 269"/>
                <a:gd name="T89" fmla="*/ 201 h 201"/>
                <a:gd name="T90" fmla="*/ 93 w 269"/>
                <a:gd name="T91" fmla="*/ 201 h 201"/>
                <a:gd name="T92" fmla="*/ 84 w 269"/>
                <a:gd name="T93" fmla="*/ 193 h 201"/>
                <a:gd name="T94" fmla="*/ 68 w 269"/>
                <a:gd name="T95" fmla="*/ 185 h 201"/>
                <a:gd name="T96" fmla="*/ 51 w 269"/>
                <a:gd name="T97" fmla="*/ 185 h 201"/>
                <a:gd name="T98" fmla="*/ 51 w 269"/>
                <a:gd name="T99" fmla="*/ 168 h 201"/>
                <a:gd name="T100" fmla="*/ 42 w 269"/>
                <a:gd name="T101" fmla="*/ 16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201">
                  <a:moveTo>
                    <a:pt x="42" y="168"/>
                  </a:moveTo>
                  <a:lnTo>
                    <a:pt x="42" y="159"/>
                  </a:lnTo>
                  <a:lnTo>
                    <a:pt x="42" y="159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9" y="126"/>
                  </a:lnTo>
                  <a:lnTo>
                    <a:pt x="0" y="12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9" y="117"/>
                  </a:lnTo>
                  <a:lnTo>
                    <a:pt x="9" y="109"/>
                  </a:lnTo>
                  <a:lnTo>
                    <a:pt x="9" y="117"/>
                  </a:lnTo>
                  <a:lnTo>
                    <a:pt x="17" y="109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6" y="100"/>
                  </a:lnTo>
                  <a:lnTo>
                    <a:pt x="17" y="92"/>
                  </a:lnTo>
                  <a:lnTo>
                    <a:pt x="26" y="92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5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59" y="16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0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6" y="8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8" y="42"/>
                  </a:lnTo>
                  <a:lnTo>
                    <a:pt x="160" y="42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67"/>
                  </a:lnTo>
                  <a:lnTo>
                    <a:pt x="152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75"/>
                  </a:lnTo>
                  <a:lnTo>
                    <a:pt x="177" y="84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100"/>
                  </a:lnTo>
                  <a:lnTo>
                    <a:pt x="194" y="100"/>
                  </a:lnTo>
                  <a:lnTo>
                    <a:pt x="194" y="100"/>
                  </a:lnTo>
                  <a:lnTo>
                    <a:pt x="244" y="117"/>
                  </a:lnTo>
                  <a:lnTo>
                    <a:pt x="269" y="117"/>
                  </a:lnTo>
                  <a:lnTo>
                    <a:pt x="219" y="176"/>
                  </a:lnTo>
                  <a:lnTo>
                    <a:pt x="202" y="176"/>
                  </a:lnTo>
                  <a:lnTo>
                    <a:pt x="194" y="176"/>
                  </a:lnTo>
                  <a:lnTo>
                    <a:pt x="194" y="176"/>
                  </a:lnTo>
                  <a:lnTo>
                    <a:pt x="185" y="176"/>
                  </a:lnTo>
                  <a:lnTo>
                    <a:pt x="185" y="176"/>
                  </a:lnTo>
                  <a:lnTo>
                    <a:pt x="185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68" y="18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85"/>
                  </a:lnTo>
                  <a:lnTo>
                    <a:pt x="135" y="185"/>
                  </a:lnTo>
                  <a:lnTo>
                    <a:pt x="135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18" y="201"/>
                  </a:lnTo>
                  <a:lnTo>
                    <a:pt x="118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01" y="201"/>
                  </a:lnTo>
                  <a:lnTo>
                    <a:pt x="101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193"/>
                  </a:lnTo>
                  <a:lnTo>
                    <a:pt x="84" y="193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68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1" y="185"/>
                  </a:lnTo>
                  <a:lnTo>
                    <a:pt x="51" y="176"/>
                  </a:lnTo>
                  <a:lnTo>
                    <a:pt x="51" y="168"/>
                  </a:lnTo>
                  <a:lnTo>
                    <a:pt x="51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Freeform 106">
              <a:extLst>
                <a:ext uri="{FF2B5EF4-FFF2-40B4-BE49-F238E27FC236}">
                  <a16:creationId xmlns:a16="http://schemas.microsoft.com/office/drawing/2014/main" id="{AE8910D7-4CAD-49FC-AD1C-8267CC12F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4528" y="4652615"/>
              <a:ext cx="138162" cy="118258"/>
            </a:xfrm>
            <a:custGeom>
              <a:avLst/>
              <a:gdLst>
                <a:gd name="T0" fmla="*/ 101 w 118"/>
                <a:gd name="T1" fmla="*/ 101 h 101"/>
                <a:gd name="T2" fmla="*/ 101 w 118"/>
                <a:gd name="T3" fmla="*/ 92 h 101"/>
                <a:gd name="T4" fmla="*/ 93 w 118"/>
                <a:gd name="T5" fmla="*/ 84 h 101"/>
                <a:gd name="T6" fmla="*/ 84 w 118"/>
                <a:gd name="T7" fmla="*/ 84 h 101"/>
                <a:gd name="T8" fmla="*/ 84 w 118"/>
                <a:gd name="T9" fmla="*/ 75 h 101"/>
                <a:gd name="T10" fmla="*/ 76 w 118"/>
                <a:gd name="T11" fmla="*/ 75 h 101"/>
                <a:gd name="T12" fmla="*/ 67 w 118"/>
                <a:gd name="T13" fmla="*/ 75 h 101"/>
                <a:gd name="T14" fmla="*/ 59 w 118"/>
                <a:gd name="T15" fmla="*/ 67 h 101"/>
                <a:gd name="T16" fmla="*/ 51 w 118"/>
                <a:gd name="T17" fmla="*/ 59 h 101"/>
                <a:gd name="T18" fmla="*/ 51 w 118"/>
                <a:gd name="T19" fmla="*/ 67 h 101"/>
                <a:gd name="T20" fmla="*/ 42 w 118"/>
                <a:gd name="T21" fmla="*/ 59 h 101"/>
                <a:gd name="T22" fmla="*/ 42 w 118"/>
                <a:gd name="T23" fmla="*/ 59 h 101"/>
                <a:gd name="T24" fmla="*/ 34 w 118"/>
                <a:gd name="T25" fmla="*/ 59 h 101"/>
                <a:gd name="T26" fmla="*/ 25 w 118"/>
                <a:gd name="T27" fmla="*/ 59 h 101"/>
                <a:gd name="T28" fmla="*/ 17 w 118"/>
                <a:gd name="T29" fmla="*/ 59 h 101"/>
                <a:gd name="T30" fmla="*/ 9 w 118"/>
                <a:gd name="T31" fmla="*/ 67 h 101"/>
                <a:gd name="T32" fmla="*/ 9 w 118"/>
                <a:gd name="T33" fmla="*/ 67 h 101"/>
                <a:gd name="T34" fmla="*/ 0 w 118"/>
                <a:gd name="T35" fmla="*/ 67 h 101"/>
                <a:gd name="T36" fmla="*/ 0 w 118"/>
                <a:gd name="T37" fmla="*/ 50 h 101"/>
                <a:gd name="T38" fmla="*/ 0 w 118"/>
                <a:gd name="T39" fmla="*/ 50 h 101"/>
                <a:gd name="T40" fmla="*/ 9 w 118"/>
                <a:gd name="T41" fmla="*/ 33 h 101"/>
                <a:gd name="T42" fmla="*/ 9 w 118"/>
                <a:gd name="T43" fmla="*/ 25 h 101"/>
                <a:gd name="T44" fmla="*/ 9 w 118"/>
                <a:gd name="T45" fmla="*/ 25 h 101"/>
                <a:gd name="T46" fmla="*/ 9 w 118"/>
                <a:gd name="T47" fmla="*/ 16 h 101"/>
                <a:gd name="T48" fmla="*/ 17 w 118"/>
                <a:gd name="T49" fmla="*/ 16 h 101"/>
                <a:gd name="T50" fmla="*/ 17 w 118"/>
                <a:gd name="T51" fmla="*/ 8 h 101"/>
                <a:gd name="T52" fmla="*/ 17 w 118"/>
                <a:gd name="T53" fmla="*/ 8 h 101"/>
                <a:gd name="T54" fmla="*/ 25 w 118"/>
                <a:gd name="T55" fmla="*/ 8 h 101"/>
                <a:gd name="T56" fmla="*/ 34 w 118"/>
                <a:gd name="T57" fmla="*/ 8 h 101"/>
                <a:gd name="T58" fmla="*/ 34 w 118"/>
                <a:gd name="T59" fmla="*/ 0 h 101"/>
                <a:gd name="T60" fmla="*/ 42 w 118"/>
                <a:gd name="T61" fmla="*/ 0 h 101"/>
                <a:gd name="T62" fmla="*/ 51 w 118"/>
                <a:gd name="T63" fmla="*/ 33 h 101"/>
                <a:gd name="T64" fmla="*/ 51 w 118"/>
                <a:gd name="T65" fmla="*/ 42 h 101"/>
                <a:gd name="T66" fmla="*/ 51 w 118"/>
                <a:gd name="T67" fmla="*/ 42 h 101"/>
                <a:gd name="T68" fmla="*/ 59 w 118"/>
                <a:gd name="T69" fmla="*/ 50 h 101"/>
                <a:gd name="T70" fmla="*/ 59 w 118"/>
                <a:gd name="T71" fmla="*/ 50 h 101"/>
                <a:gd name="T72" fmla="*/ 59 w 118"/>
                <a:gd name="T73" fmla="*/ 42 h 101"/>
                <a:gd name="T74" fmla="*/ 59 w 118"/>
                <a:gd name="T75" fmla="*/ 50 h 101"/>
                <a:gd name="T76" fmla="*/ 67 w 118"/>
                <a:gd name="T77" fmla="*/ 50 h 101"/>
                <a:gd name="T78" fmla="*/ 67 w 118"/>
                <a:gd name="T79" fmla="*/ 59 h 101"/>
                <a:gd name="T80" fmla="*/ 76 w 118"/>
                <a:gd name="T81" fmla="*/ 59 h 101"/>
                <a:gd name="T82" fmla="*/ 76 w 118"/>
                <a:gd name="T83" fmla="*/ 59 h 101"/>
                <a:gd name="T84" fmla="*/ 84 w 118"/>
                <a:gd name="T85" fmla="*/ 59 h 101"/>
                <a:gd name="T86" fmla="*/ 93 w 118"/>
                <a:gd name="T87" fmla="*/ 67 h 101"/>
                <a:gd name="T88" fmla="*/ 101 w 118"/>
                <a:gd name="T89" fmla="*/ 75 h 101"/>
                <a:gd name="T90" fmla="*/ 101 w 118"/>
                <a:gd name="T91" fmla="*/ 75 h 101"/>
                <a:gd name="T92" fmla="*/ 101 w 118"/>
                <a:gd name="T93" fmla="*/ 84 h 101"/>
                <a:gd name="T94" fmla="*/ 109 w 118"/>
                <a:gd name="T95" fmla="*/ 84 h 101"/>
                <a:gd name="T96" fmla="*/ 109 w 118"/>
                <a:gd name="T97" fmla="*/ 92 h 101"/>
                <a:gd name="T98" fmla="*/ 109 w 118"/>
                <a:gd name="T99" fmla="*/ 92 h 101"/>
                <a:gd name="T100" fmla="*/ 118 w 118"/>
                <a:gd name="T101" fmla="*/ 92 h 101"/>
                <a:gd name="T102" fmla="*/ 118 w 118"/>
                <a:gd name="T103" fmla="*/ 101 h 101"/>
                <a:gd name="T104" fmla="*/ 109 w 118"/>
                <a:gd name="T105" fmla="*/ 101 h 101"/>
                <a:gd name="T106" fmla="*/ 109 w 118"/>
                <a:gd name="T10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01">
                  <a:moveTo>
                    <a:pt x="109" y="101"/>
                  </a:moveTo>
                  <a:lnTo>
                    <a:pt x="101" y="101"/>
                  </a:lnTo>
                  <a:lnTo>
                    <a:pt x="101" y="101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84" y="84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1" y="5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51" y="25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93" y="67"/>
                  </a:lnTo>
                  <a:lnTo>
                    <a:pt x="93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84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18" y="92"/>
                  </a:lnTo>
                  <a:lnTo>
                    <a:pt x="118" y="92"/>
                  </a:lnTo>
                  <a:lnTo>
                    <a:pt x="118" y="92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Freeform 107">
              <a:extLst>
                <a:ext uri="{FF2B5EF4-FFF2-40B4-BE49-F238E27FC236}">
                  <a16:creationId xmlns:a16="http://schemas.microsoft.com/office/drawing/2014/main" id="{60642DB6-C375-4918-A4AC-3EB6B70E5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418" y="4770873"/>
              <a:ext cx="38639" cy="29272"/>
            </a:xfrm>
            <a:custGeom>
              <a:avLst/>
              <a:gdLst>
                <a:gd name="T0" fmla="*/ 25 w 33"/>
                <a:gd name="T1" fmla="*/ 25 h 25"/>
                <a:gd name="T2" fmla="*/ 16 w 33"/>
                <a:gd name="T3" fmla="*/ 25 h 25"/>
                <a:gd name="T4" fmla="*/ 16 w 33"/>
                <a:gd name="T5" fmla="*/ 25 h 25"/>
                <a:gd name="T6" fmla="*/ 8 w 33"/>
                <a:gd name="T7" fmla="*/ 25 h 25"/>
                <a:gd name="T8" fmla="*/ 8 w 33"/>
                <a:gd name="T9" fmla="*/ 25 h 25"/>
                <a:gd name="T10" fmla="*/ 0 w 33"/>
                <a:gd name="T11" fmla="*/ 25 h 25"/>
                <a:gd name="T12" fmla="*/ 8 w 33"/>
                <a:gd name="T13" fmla="*/ 25 h 25"/>
                <a:gd name="T14" fmla="*/ 8 w 33"/>
                <a:gd name="T15" fmla="*/ 16 h 25"/>
                <a:gd name="T16" fmla="*/ 8 w 33"/>
                <a:gd name="T17" fmla="*/ 16 h 25"/>
                <a:gd name="T18" fmla="*/ 8 w 33"/>
                <a:gd name="T19" fmla="*/ 8 h 25"/>
                <a:gd name="T20" fmla="*/ 8 w 33"/>
                <a:gd name="T21" fmla="*/ 8 h 25"/>
                <a:gd name="T22" fmla="*/ 8 w 33"/>
                <a:gd name="T23" fmla="*/ 0 h 25"/>
                <a:gd name="T24" fmla="*/ 16 w 33"/>
                <a:gd name="T25" fmla="*/ 0 h 25"/>
                <a:gd name="T26" fmla="*/ 16 w 33"/>
                <a:gd name="T27" fmla="*/ 0 h 25"/>
                <a:gd name="T28" fmla="*/ 25 w 33"/>
                <a:gd name="T29" fmla="*/ 0 h 25"/>
                <a:gd name="T30" fmla="*/ 25 w 33"/>
                <a:gd name="T31" fmla="*/ 0 h 25"/>
                <a:gd name="T32" fmla="*/ 25 w 33"/>
                <a:gd name="T33" fmla="*/ 0 h 25"/>
                <a:gd name="T34" fmla="*/ 25 w 33"/>
                <a:gd name="T35" fmla="*/ 0 h 25"/>
                <a:gd name="T36" fmla="*/ 25 w 33"/>
                <a:gd name="T37" fmla="*/ 0 h 25"/>
                <a:gd name="T38" fmla="*/ 33 w 33"/>
                <a:gd name="T39" fmla="*/ 0 h 25"/>
                <a:gd name="T40" fmla="*/ 33 w 33"/>
                <a:gd name="T41" fmla="*/ 0 h 25"/>
                <a:gd name="T42" fmla="*/ 33 w 33"/>
                <a:gd name="T43" fmla="*/ 8 h 25"/>
                <a:gd name="T44" fmla="*/ 25 w 33"/>
                <a:gd name="T45" fmla="*/ 8 h 25"/>
                <a:gd name="T46" fmla="*/ 25 w 33"/>
                <a:gd name="T47" fmla="*/ 16 h 25"/>
                <a:gd name="T48" fmla="*/ 25 w 33"/>
                <a:gd name="T49" fmla="*/ 16 h 25"/>
                <a:gd name="T50" fmla="*/ 25 w 33"/>
                <a:gd name="T51" fmla="*/ 16 h 25"/>
                <a:gd name="T52" fmla="*/ 16 w 33"/>
                <a:gd name="T53" fmla="*/ 16 h 25"/>
                <a:gd name="T54" fmla="*/ 16 w 33"/>
                <a:gd name="T55" fmla="*/ 16 h 25"/>
                <a:gd name="T56" fmla="*/ 16 w 33"/>
                <a:gd name="T57" fmla="*/ 16 h 25"/>
                <a:gd name="T58" fmla="*/ 25 w 33"/>
                <a:gd name="T59" fmla="*/ 16 h 25"/>
                <a:gd name="T60" fmla="*/ 25 w 33"/>
                <a:gd name="T61" fmla="*/ 16 h 25"/>
                <a:gd name="T62" fmla="*/ 25 w 33"/>
                <a:gd name="T63" fmla="*/ 16 h 25"/>
                <a:gd name="T64" fmla="*/ 25 w 33"/>
                <a:gd name="T65" fmla="*/ 25 h 25"/>
                <a:gd name="T66" fmla="*/ 25 w 33"/>
                <a:gd name="T6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25">
                  <a:moveTo>
                    <a:pt x="25" y="25"/>
                  </a:moveTo>
                  <a:lnTo>
                    <a:pt x="16" y="25"/>
                  </a:lnTo>
                  <a:lnTo>
                    <a:pt x="16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Freeform 108">
              <a:extLst>
                <a:ext uri="{FF2B5EF4-FFF2-40B4-BE49-F238E27FC236}">
                  <a16:creationId xmlns:a16="http://schemas.microsoft.com/office/drawing/2014/main" id="{7CC43C89-9630-4C5F-9835-F28BCC8C5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880" y="4780240"/>
              <a:ext cx="216610" cy="285692"/>
            </a:xfrm>
            <a:custGeom>
              <a:avLst/>
              <a:gdLst>
                <a:gd name="T0" fmla="*/ 17 w 185"/>
                <a:gd name="T1" fmla="*/ 143 h 244"/>
                <a:gd name="T2" fmla="*/ 34 w 185"/>
                <a:gd name="T3" fmla="*/ 135 h 244"/>
                <a:gd name="T4" fmla="*/ 42 w 185"/>
                <a:gd name="T5" fmla="*/ 126 h 244"/>
                <a:gd name="T6" fmla="*/ 59 w 185"/>
                <a:gd name="T7" fmla="*/ 126 h 244"/>
                <a:gd name="T8" fmla="*/ 101 w 185"/>
                <a:gd name="T9" fmla="*/ 67 h 244"/>
                <a:gd name="T10" fmla="*/ 42 w 185"/>
                <a:gd name="T11" fmla="*/ 50 h 244"/>
                <a:gd name="T12" fmla="*/ 34 w 185"/>
                <a:gd name="T13" fmla="*/ 34 h 244"/>
                <a:gd name="T14" fmla="*/ 34 w 185"/>
                <a:gd name="T15" fmla="*/ 17 h 244"/>
                <a:gd name="T16" fmla="*/ 42 w 185"/>
                <a:gd name="T17" fmla="*/ 8 h 244"/>
                <a:gd name="T18" fmla="*/ 51 w 185"/>
                <a:gd name="T19" fmla="*/ 25 h 244"/>
                <a:gd name="T20" fmla="*/ 67 w 185"/>
                <a:gd name="T21" fmla="*/ 34 h 244"/>
                <a:gd name="T22" fmla="*/ 76 w 185"/>
                <a:gd name="T23" fmla="*/ 25 h 244"/>
                <a:gd name="T24" fmla="*/ 84 w 185"/>
                <a:gd name="T25" fmla="*/ 25 h 244"/>
                <a:gd name="T26" fmla="*/ 93 w 185"/>
                <a:gd name="T27" fmla="*/ 25 h 244"/>
                <a:gd name="T28" fmla="*/ 109 w 185"/>
                <a:gd name="T29" fmla="*/ 17 h 244"/>
                <a:gd name="T30" fmla="*/ 126 w 185"/>
                <a:gd name="T31" fmla="*/ 17 h 244"/>
                <a:gd name="T32" fmla="*/ 135 w 185"/>
                <a:gd name="T33" fmla="*/ 17 h 244"/>
                <a:gd name="T34" fmla="*/ 151 w 185"/>
                <a:gd name="T35" fmla="*/ 8 h 244"/>
                <a:gd name="T36" fmla="*/ 160 w 185"/>
                <a:gd name="T37" fmla="*/ 8 h 244"/>
                <a:gd name="T38" fmla="*/ 168 w 185"/>
                <a:gd name="T39" fmla="*/ 8 h 244"/>
                <a:gd name="T40" fmla="*/ 168 w 185"/>
                <a:gd name="T41" fmla="*/ 0 h 244"/>
                <a:gd name="T42" fmla="*/ 177 w 185"/>
                <a:gd name="T43" fmla="*/ 0 h 244"/>
                <a:gd name="T44" fmla="*/ 177 w 185"/>
                <a:gd name="T45" fmla="*/ 0 h 244"/>
                <a:gd name="T46" fmla="*/ 177 w 185"/>
                <a:gd name="T47" fmla="*/ 8 h 244"/>
                <a:gd name="T48" fmla="*/ 177 w 185"/>
                <a:gd name="T49" fmla="*/ 17 h 244"/>
                <a:gd name="T50" fmla="*/ 177 w 185"/>
                <a:gd name="T51" fmla="*/ 25 h 244"/>
                <a:gd name="T52" fmla="*/ 177 w 185"/>
                <a:gd name="T53" fmla="*/ 34 h 244"/>
                <a:gd name="T54" fmla="*/ 177 w 185"/>
                <a:gd name="T55" fmla="*/ 25 h 244"/>
                <a:gd name="T56" fmla="*/ 177 w 185"/>
                <a:gd name="T57" fmla="*/ 34 h 244"/>
                <a:gd name="T58" fmla="*/ 177 w 185"/>
                <a:gd name="T59" fmla="*/ 34 h 244"/>
                <a:gd name="T60" fmla="*/ 177 w 185"/>
                <a:gd name="T61" fmla="*/ 42 h 244"/>
                <a:gd name="T62" fmla="*/ 160 w 185"/>
                <a:gd name="T63" fmla="*/ 67 h 244"/>
                <a:gd name="T64" fmla="*/ 151 w 185"/>
                <a:gd name="T65" fmla="*/ 76 h 244"/>
                <a:gd name="T66" fmla="*/ 151 w 185"/>
                <a:gd name="T67" fmla="*/ 76 h 244"/>
                <a:gd name="T68" fmla="*/ 135 w 185"/>
                <a:gd name="T69" fmla="*/ 109 h 244"/>
                <a:gd name="T70" fmla="*/ 126 w 185"/>
                <a:gd name="T71" fmla="*/ 135 h 244"/>
                <a:gd name="T72" fmla="*/ 93 w 185"/>
                <a:gd name="T73" fmla="*/ 168 h 244"/>
                <a:gd name="T74" fmla="*/ 67 w 185"/>
                <a:gd name="T75" fmla="*/ 185 h 244"/>
                <a:gd name="T76" fmla="*/ 51 w 185"/>
                <a:gd name="T77" fmla="*/ 202 h 244"/>
                <a:gd name="T78" fmla="*/ 34 w 185"/>
                <a:gd name="T79" fmla="*/ 219 h 244"/>
                <a:gd name="T80" fmla="*/ 25 w 185"/>
                <a:gd name="T81" fmla="*/ 227 h 244"/>
                <a:gd name="T82" fmla="*/ 0 w 185"/>
                <a:gd name="T83" fmla="*/ 227 h 244"/>
                <a:gd name="T84" fmla="*/ 17 w 185"/>
                <a:gd name="T85" fmla="*/ 14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5" h="244">
                  <a:moveTo>
                    <a:pt x="17" y="143"/>
                  </a:moveTo>
                  <a:lnTo>
                    <a:pt x="17" y="143"/>
                  </a:lnTo>
                  <a:lnTo>
                    <a:pt x="17" y="143"/>
                  </a:lnTo>
                  <a:lnTo>
                    <a:pt x="25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42" y="135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9" y="126"/>
                  </a:lnTo>
                  <a:lnTo>
                    <a:pt x="76" y="126"/>
                  </a:lnTo>
                  <a:lnTo>
                    <a:pt x="126" y="67"/>
                  </a:lnTo>
                  <a:lnTo>
                    <a:pt x="101" y="67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4" y="34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101" y="25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43" y="17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85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50"/>
                  </a:lnTo>
                  <a:lnTo>
                    <a:pt x="168" y="59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60" y="76"/>
                  </a:lnTo>
                  <a:lnTo>
                    <a:pt x="151" y="76"/>
                  </a:lnTo>
                  <a:lnTo>
                    <a:pt x="143" y="101"/>
                  </a:lnTo>
                  <a:lnTo>
                    <a:pt x="143" y="101"/>
                  </a:lnTo>
                  <a:lnTo>
                    <a:pt x="135" y="109"/>
                  </a:lnTo>
                  <a:lnTo>
                    <a:pt x="135" y="118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18" y="143"/>
                  </a:lnTo>
                  <a:lnTo>
                    <a:pt x="109" y="151"/>
                  </a:lnTo>
                  <a:lnTo>
                    <a:pt x="93" y="168"/>
                  </a:lnTo>
                  <a:lnTo>
                    <a:pt x="84" y="177"/>
                  </a:lnTo>
                  <a:lnTo>
                    <a:pt x="76" y="177"/>
                  </a:lnTo>
                  <a:lnTo>
                    <a:pt x="67" y="185"/>
                  </a:lnTo>
                  <a:lnTo>
                    <a:pt x="67" y="185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25" y="219"/>
                  </a:lnTo>
                  <a:lnTo>
                    <a:pt x="25" y="227"/>
                  </a:lnTo>
                  <a:lnTo>
                    <a:pt x="17" y="236"/>
                  </a:lnTo>
                  <a:lnTo>
                    <a:pt x="17" y="244"/>
                  </a:lnTo>
                  <a:lnTo>
                    <a:pt x="0" y="227"/>
                  </a:lnTo>
                  <a:lnTo>
                    <a:pt x="0" y="160"/>
                  </a:lnTo>
                  <a:lnTo>
                    <a:pt x="17" y="143"/>
                  </a:lnTo>
                  <a:lnTo>
                    <a:pt x="17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Freeform 109">
              <a:extLst>
                <a:ext uri="{FF2B5EF4-FFF2-40B4-BE49-F238E27FC236}">
                  <a16:creationId xmlns:a16="http://schemas.microsoft.com/office/drawing/2014/main" id="{5688B51B-56B7-42A5-B542-A6E617DB0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6175" y="4918402"/>
              <a:ext cx="216610" cy="206073"/>
            </a:xfrm>
            <a:custGeom>
              <a:avLst/>
              <a:gdLst>
                <a:gd name="T0" fmla="*/ 51 w 185"/>
                <a:gd name="T1" fmla="*/ 17 h 176"/>
                <a:gd name="T2" fmla="*/ 51 w 185"/>
                <a:gd name="T3" fmla="*/ 17 h 176"/>
                <a:gd name="T4" fmla="*/ 59 w 185"/>
                <a:gd name="T5" fmla="*/ 8 h 176"/>
                <a:gd name="T6" fmla="*/ 67 w 185"/>
                <a:gd name="T7" fmla="*/ 0 h 176"/>
                <a:gd name="T8" fmla="*/ 76 w 185"/>
                <a:gd name="T9" fmla="*/ 0 h 176"/>
                <a:gd name="T10" fmla="*/ 76 w 185"/>
                <a:gd name="T11" fmla="*/ 8 h 176"/>
                <a:gd name="T12" fmla="*/ 84 w 185"/>
                <a:gd name="T13" fmla="*/ 17 h 176"/>
                <a:gd name="T14" fmla="*/ 93 w 185"/>
                <a:gd name="T15" fmla="*/ 17 h 176"/>
                <a:gd name="T16" fmla="*/ 101 w 185"/>
                <a:gd name="T17" fmla="*/ 17 h 176"/>
                <a:gd name="T18" fmla="*/ 118 w 185"/>
                <a:gd name="T19" fmla="*/ 25 h 176"/>
                <a:gd name="T20" fmla="*/ 118 w 185"/>
                <a:gd name="T21" fmla="*/ 33 h 176"/>
                <a:gd name="T22" fmla="*/ 126 w 185"/>
                <a:gd name="T23" fmla="*/ 33 h 176"/>
                <a:gd name="T24" fmla="*/ 135 w 185"/>
                <a:gd name="T25" fmla="*/ 33 h 176"/>
                <a:gd name="T26" fmla="*/ 143 w 185"/>
                <a:gd name="T27" fmla="*/ 33 h 176"/>
                <a:gd name="T28" fmla="*/ 151 w 185"/>
                <a:gd name="T29" fmla="*/ 25 h 176"/>
                <a:gd name="T30" fmla="*/ 160 w 185"/>
                <a:gd name="T31" fmla="*/ 25 h 176"/>
                <a:gd name="T32" fmla="*/ 168 w 185"/>
                <a:gd name="T33" fmla="*/ 17 h 176"/>
                <a:gd name="T34" fmla="*/ 168 w 185"/>
                <a:gd name="T35" fmla="*/ 25 h 176"/>
                <a:gd name="T36" fmla="*/ 177 w 185"/>
                <a:gd name="T37" fmla="*/ 25 h 176"/>
                <a:gd name="T38" fmla="*/ 168 w 185"/>
                <a:gd name="T39" fmla="*/ 42 h 176"/>
                <a:gd name="T40" fmla="*/ 185 w 185"/>
                <a:gd name="T41" fmla="*/ 126 h 176"/>
                <a:gd name="T42" fmla="*/ 177 w 185"/>
                <a:gd name="T43" fmla="*/ 126 h 176"/>
                <a:gd name="T44" fmla="*/ 168 w 185"/>
                <a:gd name="T45" fmla="*/ 134 h 176"/>
                <a:gd name="T46" fmla="*/ 168 w 185"/>
                <a:gd name="T47" fmla="*/ 134 h 176"/>
                <a:gd name="T48" fmla="*/ 160 w 185"/>
                <a:gd name="T49" fmla="*/ 143 h 176"/>
                <a:gd name="T50" fmla="*/ 160 w 185"/>
                <a:gd name="T51" fmla="*/ 143 h 176"/>
                <a:gd name="T52" fmla="*/ 151 w 185"/>
                <a:gd name="T53" fmla="*/ 151 h 176"/>
                <a:gd name="T54" fmla="*/ 151 w 185"/>
                <a:gd name="T55" fmla="*/ 151 h 176"/>
                <a:gd name="T56" fmla="*/ 151 w 185"/>
                <a:gd name="T57" fmla="*/ 160 h 176"/>
                <a:gd name="T58" fmla="*/ 143 w 185"/>
                <a:gd name="T59" fmla="*/ 176 h 176"/>
                <a:gd name="T60" fmla="*/ 135 w 185"/>
                <a:gd name="T61" fmla="*/ 176 h 176"/>
                <a:gd name="T62" fmla="*/ 109 w 185"/>
                <a:gd name="T63" fmla="*/ 160 h 176"/>
                <a:gd name="T64" fmla="*/ 109 w 185"/>
                <a:gd name="T65" fmla="*/ 160 h 176"/>
                <a:gd name="T66" fmla="*/ 42 w 185"/>
                <a:gd name="T67" fmla="*/ 109 h 176"/>
                <a:gd name="T68" fmla="*/ 42 w 185"/>
                <a:gd name="T69" fmla="*/ 92 h 176"/>
                <a:gd name="T70" fmla="*/ 51 w 185"/>
                <a:gd name="T71" fmla="*/ 84 h 176"/>
                <a:gd name="T72" fmla="*/ 51 w 185"/>
                <a:gd name="T73" fmla="*/ 84 h 176"/>
                <a:gd name="T74" fmla="*/ 59 w 185"/>
                <a:gd name="T75" fmla="*/ 75 h 176"/>
                <a:gd name="T76" fmla="*/ 59 w 185"/>
                <a:gd name="T77" fmla="*/ 75 h 176"/>
                <a:gd name="T78" fmla="*/ 59 w 185"/>
                <a:gd name="T79" fmla="*/ 67 h 176"/>
                <a:gd name="T80" fmla="*/ 67 w 185"/>
                <a:gd name="T81" fmla="*/ 59 h 176"/>
                <a:gd name="T82" fmla="*/ 59 w 185"/>
                <a:gd name="T83" fmla="*/ 50 h 176"/>
                <a:gd name="T84" fmla="*/ 59 w 185"/>
                <a:gd name="T85" fmla="*/ 50 h 176"/>
                <a:gd name="T86" fmla="*/ 59 w 185"/>
                <a:gd name="T87" fmla="*/ 42 h 176"/>
                <a:gd name="T88" fmla="*/ 51 w 185"/>
                <a:gd name="T89" fmla="*/ 33 h 176"/>
                <a:gd name="T90" fmla="*/ 51 w 185"/>
                <a:gd name="T91" fmla="*/ 33 h 176"/>
                <a:gd name="T92" fmla="*/ 51 w 185"/>
                <a:gd name="T93" fmla="*/ 25 h 176"/>
                <a:gd name="T94" fmla="*/ 42 w 185"/>
                <a:gd name="T95" fmla="*/ 17 h 176"/>
                <a:gd name="T96" fmla="*/ 42 w 185"/>
                <a:gd name="T97" fmla="*/ 17 h 176"/>
                <a:gd name="T98" fmla="*/ 0 w 185"/>
                <a:gd name="T99" fmla="*/ 118 h 176"/>
                <a:gd name="T100" fmla="*/ 17 w 185"/>
                <a:gd name="T101" fmla="*/ 118 h 176"/>
                <a:gd name="T102" fmla="*/ 0 w 185"/>
                <a:gd name="T103" fmla="*/ 11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5" h="176">
                  <a:moveTo>
                    <a:pt x="42" y="17"/>
                  </a:move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76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9" y="25"/>
                  </a:lnTo>
                  <a:lnTo>
                    <a:pt x="118" y="25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60" y="25"/>
                  </a:lnTo>
                  <a:lnTo>
                    <a:pt x="160" y="17"/>
                  </a:lnTo>
                  <a:lnTo>
                    <a:pt x="168" y="17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85" y="25"/>
                  </a:lnTo>
                  <a:lnTo>
                    <a:pt x="168" y="42"/>
                  </a:lnTo>
                  <a:lnTo>
                    <a:pt x="168" y="109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77" y="126"/>
                  </a:lnTo>
                  <a:lnTo>
                    <a:pt x="177" y="134"/>
                  </a:lnTo>
                  <a:lnTo>
                    <a:pt x="168" y="134"/>
                  </a:lnTo>
                  <a:lnTo>
                    <a:pt x="177" y="134"/>
                  </a:lnTo>
                  <a:lnTo>
                    <a:pt x="168" y="134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1" y="143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43" y="168"/>
                  </a:lnTo>
                  <a:lnTo>
                    <a:pt x="143" y="176"/>
                  </a:lnTo>
                  <a:lnTo>
                    <a:pt x="135" y="176"/>
                  </a:lnTo>
                  <a:lnTo>
                    <a:pt x="135" y="176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5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75"/>
                  </a:lnTo>
                  <a:lnTo>
                    <a:pt x="59" y="75"/>
                  </a:lnTo>
                  <a:lnTo>
                    <a:pt x="51" y="75"/>
                  </a:lnTo>
                  <a:lnTo>
                    <a:pt x="59" y="75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0" y="118"/>
                  </a:moveTo>
                  <a:lnTo>
                    <a:pt x="9" y="118"/>
                  </a:lnTo>
                  <a:lnTo>
                    <a:pt x="17" y="118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Freeform 110">
              <a:extLst>
                <a:ext uri="{FF2B5EF4-FFF2-40B4-BE49-F238E27FC236}">
                  <a16:creationId xmlns:a16="http://schemas.microsoft.com/office/drawing/2014/main" id="{02C809F1-E1E9-4796-A4E1-379B3C0DB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537" y="4938307"/>
              <a:ext cx="117087" cy="118258"/>
            </a:xfrm>
            <a:custGeom>
              <a:avLst/>
              <a:gdLst>
                <a:gd name="T0" fmla="*/ 75 w 100"/>
                <a:gd name="T1" fmla="*/ 75 h 101"/>
                <a:gd name="T2" fmla="*/ 84 w 100"/>
                <a:gd name="T3" fmla="*/ 67 h 101"/>
                <a:gd name="T4" fmla="*/ 84 w 100"/>
                <a:gd name="T5" fmla="*/ 58 h 101"/>
                <a:gd name="T6" fmla="*/ 84 w 100"/>
                <a:gd name="T7" fmla="*/ 58 h 101"/>
                <a:gd name="T8" fmla="*/ 92 w 100"/>
                <a:gd name="T9" fmla="*/ 50 h 101"/>
                <a:gd name="T10" fmla="*/ 100 w 100"/>
                <a:gd name="T11" fmla="*/ 42 h 101"/>
                <a:gd name="T12" fmla="*/ 100 w 100"/>
                <a:gd name="T13" fmla="*/ 42 h 101"/>
                <a:gd name="T14" fmla="*/ 100 w 100"/>
                <a:gd name="T15" fmla="*/ 33 h 101"/>
                <a:gd name="T16" fmla="*/ 92 w 100"/>
                <a:gd name="T17" fmla="*/ 33 h 101"/>
                <a:gd name="T18" fmla="*/ 84 w 100"/>
                <a:gd name="T19" fmla="*/ 25 h 101"/>
                <a:gd name="T20" fmla="*/ 84 w 100"/>
                <a:gd name="T21" fmla="*/ 16 h 101"/>
                <a:gd name="T22" fmla="*/ 84 w 100"/>
                <a:gd name="T23" fmla="*/ 8 h 101"/>
                <a:gd name="T24" fmla="*/ 84 w 100"/>
                <a:gd name="T25" fmla="*/ 8 h 101"/>
                <a:gd name="T26" fmla="*/ 75 w 100"/>
                <a:gd name="T27" fmla="*/ 8 h 101"/>
                <a:gd name="T28" fmla="*/ 67 w 100"/>
                <a:gd name="T29" fmla="*/ 8 h 101"/>
                <a:gd name="T30" fmla="*/ 58 w 100"/>
                <a:gd name="T31" fmla="*/ 8 h 101"/>
                <a:gd name="T32" fmla="*/ 50 w 100"/>
                <a:gd name="T33" fmla="*/ 8 h 101"/>
                <a:gd name="T34" fmla="*/ 50 w 100"/>
                <a:gd name="T35" fmla="*/ 8 h 101"/>
                <a:gd name="T36" fmla="*/ 50 w 100"/>
                <a:gd name="T37" fmla="*/ 16 h 101"/>
                <a:gd name="T38" fmla="*/ 42 w 100"/>
                <a:gd name="T39" fmla="*/ 16 h 101"/>
                <a:gd name="T40" fmla="*/ 33 w 100"/>
                <a:gd name="T41" fmla="*/ 8 h 101"/>
                <a:gd name="T42" fmla="*/ 33 w 100"/>
                <a:gd name="T43" fmla="*/ 8 h 101"/>
                <a:gd name="T44" fmla="*/ 25 w 100"/>
                <a:gd name="T45" fmla="*/ 8 h 101"/>
                <a:gd name="T46" fmla="*/ 25 w 100"/>
                <a:gd name="T47" fmla="*/ 16 h 101"/>
                <a:gd name="T48" fmla="*/ 25 w 100"/>
                <a:gd name="T49" fmla="*/ 16 h 101"/>
                <a:gd name="T50" fmla="*/ 25 w 100"/>
                <a:gd name="T51" fmla="*/ 25 h 101"/>
                <a:gd name="T52" fmla="*/ 16 w 100"/>
                <a:gd name="T53" fmla="*/ 33 h 101"/>
                <a:gd name="T54" fmla="*/ 25 w 100"/>
                <a:gd name="T55" fmla="*/ 42 h 101"/>
                <a:gd name="T56" fmla="*/ 25 w 100"/>
                <a:gd name="T57" fmla="*/ 42 h 101"/>
                <a:gd name="T58" fmla="*/ 16 w 100"/>
                <a:gd name="T59" fmla="*/ 58 h 101"/>
                <a:gd name="T60" fmla="*/ 8 w 100"/>
                <a:gd name="T61" fmla="*/ 67 h 101"/>
                <a:gd name="T62" fmla="*/ 0 w 100"/>
                <a:gd name="T63" fmla="*/ 84 h 101"/>
                <a:gd name="T64" fmla="*/ 0 w 100"/>
                <a:gd name="T65" fmla="*/ 92 h 101"/>
                <a:gd name="T66" fmla="*/ 0 w 100"/>
                <a:gd name="T67" fmla="*/ 101 h 101"/>
                <a:gd name="T68" fmla="*/ 0 w 100"/>
                <a:gd name="T69" fmla="*/ 101 h 101"/>
                <a:gd name="T70" fmla="*/ 8 w 100"/>
                <a:gd name="T71" fmla="*/ 101 h 101"/>
                <a:gd name="T72" fmla="*/ 8 w 100"/>
                <a:gd name="T73" fmla="*/ 101 h 101"/>
                <a:gd name="T74" fmla="*/ 8 w 100"/>
                <a:gd name="T75" fmla="*/ 101 h 101"/>
                <a:gd name="T76" fmla="*/ 16 w 100"/>
                <a:gd name="T77" fmla="*/ 101 h 101"/>
                <a:gd name="T78" fmla="*/ 16 w 100"/>
                <a:gd name="T79" fmla="*/ 101 h 101"/>
                <a:gd name="T80" fmla="*/ 16 w 100"/>
                <a:gd name="T81" fmla="*/ 101 h 101"/>
                <a:gd name="T82" fmla="*/ 33 w 100"/>
                <a:gd name="T83" fmla="*/ 101 h 101"/>
                <a:gd name="T84" fmla="*/ 75 w 100"/>
                <a:gd name="T85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01">
                  <a:moveTo>
                    <a:pt x="75" y="75"/>
                  </a:moveTo>
                  <a:lnTo>
                    <a:pt x="75" y="75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92" y="33"/>
                  </a:lnTo>
                  <a:lnTo>
                    <a:pt x="100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25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3" y="8"/>
                  </a:lnTo>
                  <a:lnTo>
                    <a:pt x="33" y="16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16" y="5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9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50" y="101"/>
                  </a:lnTo>
                  <a:lnTo>
                    <a:pt x="75" y="92"/>
                  </a:lnTo>
                  <a:lnTo>
                    <a:pt x="75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1" name="Freeform 111">
              <a:extLst>
                <a:ext uri="{FF2B5EF4-FFF2-40B4-BE49-F238E27FC236}">
                  <a16:creationId xmlns:a16="http://schemas.microsoft.com/office/drawing/2014/main" id="{6F4F025B-F1AC-4A82-A60F-514FBDF08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74" y="4800145"/>
              <a:ext cx="275153" cy="176801"/>
            </a:xfrm>
            <a:custGeom>
              <a:avLst/>
              <a:gdLst>
                <a:gd name="T0" fmla="*/ 151 w 235"/>
                <a:gd name="T1" fmla="*/ 8 h 151"/>
                <a:gd name="T2" fmla="*/ 159 w 235"/>
                <a:gd name="T3" fmla="*/ 25 h 151"/>
                <a:gd name="T4" fmla="*/ 159 w 235"/>
                <a:gd name="T5" fmla="*/ 33 h 151"/>
                <a:gd name="T6" fmla="*/ 168 w 235"/>
                <a:gd name="T7" fmla="*/ 42 h 151"/>
                <a:gd name="T8" fmla="*/ 168 w 235"/>
                <a:gd name="T9" fmla="*/ 50 h 151"/>
                <a:gd name="T10" fmla="*/ 185 w 235"/>
                <a:gd name="T11" fmla="*/ 50 h 151"/>
                <a:gd name="T12" fmla="*/ 193 w 235"/>
                <a:gd name="T13" fmla="*/ 59 h 151"/>
                <a:gd name="T14" fmla="*/ 185 w 235"/>
                <a:gd name="T15" fmla="*/ 67 h 151"/>
                <a:gd name="T16" fmla="*/ 201 w 235"/>
                <a:gd name="T17" fmla="*/ 67 h 151"/>
                <a:gd name="T18" fmla="*/ 210 w 235"/>
                <a:gd name="T19" fmla="*/ 84 h 151"/>
                <a:gd name="T20" fmla="*/ 218 w 235"/>
                <a:gd name="T21" fmla="*/ 92 h 151"/>
                <a:gd name="T22" fmla="*/ 227 w 235"/>
                <a:gd name="T23" fmla="*/ 92 h 151"/>
                <a:gd name="T24" fmla="*/ 235 w 235"/>
                <a:gd name="T25" fmla="*/ 109 h 151"/>
                <a:gd name="T26" fmla="*/ 227 w 235"/>
                <a:gd name="T27" fmla="*/ 109 h 151"/>
                <a:gd name="T28" fmla="*/ 210 w 235"/>
                <a:gd name="T29" fmla="*/ 109 h 151"/>
                <a:gd name="T30" fmla="*/ 201 w 235"/>
                <a:gd name="T31" fmla="*/ 101 h 151"/>
                <a:gd name="T32" fmla="*/ 193 w 235"/>
                <a:gd name="T33" fmla="*/ 101 h 151"/>
                <a:gd name="T34" fmla="*/ 185 w 235"/>
                <a:gd name="T35" fmla="*/ 109 h 151"/>
                <a:gd name="T36" fmla="*/ 176 w 235"/>
                <a:gd name="T37" fmla="*/ 109 h 151"/>
                <a:gd name="T38" fmla="*/ 168 w 235"/>
                <a:gd name="T39" fmla="*/ 109 h 151"/>
                <a:gd name="T40" fmla="*/ 151 w 235"/>
                <a:gd name="T41" fmla="*/ 109 h 151"/>
                <a:gd name="T42" fmla="*/ 142 w 235"/>
                <a:gd name="T43" fmla="*/ 118 h 151"/>
                <a:gd name="T44" fmla="*/ 134 w 235"/>
                <a:gd name="T45" fmla="*/ 126 h 151"/>
                <a:gd name="T46" fmla="*/ 126 w 235"/>
                <a:gd name="T47" fmla="*/ 118 h 151"/>
                <a:gd name="T48" fmla="*/ 109 w 235"/>
                <a:gd name="T49" fmla="*/ 118 h 151"/>
                <a:gd name="T50" fmla="*/ 100 w 235"/>
                <a:gd name="T51" fmla="*/ 109 h 151"/>
                <a:gd name="T52" fmla="*/ 92 w 235"/>
                <a:gd name="T53" fmla="*/ 109 h 151"/>
                <a:gd name="T54" fmla="*/ 84 w 235"/>
                <a:gd name="T55" fmla="*/ 109 h 151"/>
                <a:gd name="T56" fmla="*/ 75 w 235"/>
                <a:gd name="T57" fmla="*/ 118 h 151"/>
                <a:gd name="T58" fmla="*/ 75 w 235"/>
                <a:gd name="T59" fmla="*/ 126 h 151"/>
                <a:gd name="T60" fmla="*/ 75 w 235"/>
                <a:gd name="T61" fmla="*/ 134 h 151"/>
                <a:gd name="T62" fmla="*/ 67 w 235"/>
                <a:gd name="T63" fmla="*/ 126 h 151"/>
                <a:gd name="T64" fmla="*/ 50 w 235"/>
                <a:gd name="T65" fmla="*/ 134 h 151"/>
                <a:gd name="T66" fmla="*/ 33 w 235"/>
                <a:gd name="T67" fmla="*/ 151 h 151"/>
                <a:gd name="T68" fmla="*/ 33 w 235"/>
                <a:gd name="T69" fmla="*/ 143 h 151"/>
                <a:gd name="T70" fmla="*/ 16 w 235"/>
                <a:gd name="T71" fmla="*/ 126 h 151"/>
                <a:gd name="T72" fmla="*/ 8 w 235"/>
                <a:gd name="T73" fmla="*/ 118 h 151"/>
                <a:gd name="T74" fmla="*/ 0 w 235"/>
                <a:gd name="T75" fmla="*/ 101 h 151"/>
                <a:gd name="T76" fmla="*/ 8 w 235"/>
                <a:gd name="T77" fmla="*/ 84 h 151"/>
                <a:gd name="T78" fmla="*/ 16 w 235"/>
                <a:gd name="T79" fmla="*/ 67 h 151"/>
                <a:gd name="T80" fmla="*/ 25 w 235"/>
                <a:gd name="T81" fmla="*/ 59 h 151"/>
                <a:gd name="T82" fmla="*/ 33 w 235"/>
                <a:gd name="T83" fmla="*/ 67 h 151"/>
                <a:gd name="T84" fmla="*/ 42 w 235"/>
                <a:gd name="T85" fmla="*/ 59 h 151"/>
                <a:gd name="T86" fmla="*/ 50 w 235"/>
                <a:gd name="T87" fmla="*/ 59 h 151"/>
                <a:gd name="T88" fmla="*/ 75 w 235"/>
                <a:gd name="T89" fmla="*/ 50 h 151"/>
                <a:gd name="T90" fmla="*/ 84 w 235"/>
                <a:gd name="T91" fmla="*/ 42 h 151"/>
                <a:gd name="T92" fmla="*/ 84 w 235"/>
                <a:gd name="T93" fmla="*/ 33 h 151"/>
                <a:gd name="T94" fmla="*/ 100 w 235"/>
                <a:gd name="T95" fmla="*/ 33 h 151"/>
                <a:gd name="T96" fmla="*/ 109 w 235"/>
                <a:gd name="T97" fmla="*/ 25 h 151"/>
                <a:gd name="T98" fmla="*/ 117 w 235"/>
                <a:gd name="T99" fmla="*/ 17 h 151"/>
                <a:gd name="T100" fmla="*/ 126 w 235"/>
                <a:gd name="T101" fmla="*/ 8 h 151"/>
                <a:gd name="T102" fmla="*/ 134 w 235"/>
                <a:gd name="T103" fmla="*/ 0 h 151"/>
                <a:gd name="T104" fmla="*/ 142 w 235"/>
                <a:gd name="T10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151">
                  <a:moveTo>
                    <a:pt x="142" y="0"/>
                  </a:moveTo>
                  <a:lnTo>
                    <a:pt x="151" y="0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59" y="17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68" y="50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85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85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8" y="84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27" y="92"/>
                  </a:lnTo>
                  <a:lnTo>
                    <a:pt x="227" y="92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01" y="109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59" y="109"/>
                  </a:lnTo>
                  <a:lnTo>
                    <a:pt x="159" y="118"/>
                  </a:lnTo>
                  <a:lnTo>
                    <a:pt x="151" y="118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2" y="109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26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0" y="118"/>
                  </a:lnTo>
                  <a:lnTo>
                    <a:pt x="100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5" y="134"/>
                  </a:lnTo>
                  <a:lnTo>
                    <a:pt x="75" y="134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58" y="126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42" y="134"/>
                  </a:lnTo>
                  <a:lnTo>
                    <a:pt x="42" y="143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16" y="134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8" y="59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5" y="42"/>
                  </a:lnTo>
                  <a:lnTo>
                    <a:pt x="75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2" name="Freeform 112">
              <a:extLst>
                <a:ext uri="{FF2B5EF4-FFF2-40B4-BE49-F238E27FC236}">
                  <a16:creationId xmlns:a16="http://schemas.microsoft.com/office/drawing/2014/main" id="{3C1D17BD-0E8F-4B2D-8A1C-C90207152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683" y="4317747"/>
              <a:ext cx="325501" cy="304426"/>
            </a:xfrm>
            <a:custGeom>
              <a:avLst/>
              <a:gdLst>
                <a:gd name="T0" fmla="*/ 261 w 278"/>
                <a:gd name="T1" fmla="*/ 252 h 260"/>
                <a:gd name="T2" fmla="*/ 269 w 278"/>
                <a:gd name="T3" fmla="*/ 75 h 260"/>
                <a:gd name="T4" fmla="*/ 261 w 278"/>
                <a:gd name="T5" fmla="*/ 59 h 260"/>
                <a:gd name="T6" fmla="*/ 269 w 278"/>
                <a:gd name="T7" fmla="*/ 50 h 260"/>
                <a:gd name="T8" fmla="*/ 261 w 278"/>
                <a:gd name="T9" fmla="*/ 42 h 260"/>
                <a:gd name="T10" fmla="*/ 269 w 278"/>
                <a:gd name="T11" fmla="*/ 33 h 260"/>
                <a:gd name="T12" fmla="*/ 261 w 278"/>
                <a:gd name="T13" fmla="*/ 25 h 260"/>
                <a:gd name="T14" fmla="*/ 252 w 278"/>
                <a:gd name="T15" fmla="*/ 25 h 260"/>
                <a:gd name="T16" fmla="*/ 244 w 278"/>
                <a:gd name="T17" fmla="*/ 17 h 260"/>
                <a:gd name="T18" fmla="*/ 235 w 278"/>
                <a:gd name="T19" fmla="*/ 17 h 260"/>
                <a:gd name="T20" fmla="*/ 235 w 278"/>
                <a:gd name="T21" fmla="*/ 17 h 260"/>
                <a:gd name="T22" fmla="*/ 227 w 278"/>
                <a:gd name="T23" fmla="*/ 8 h 260"/>
                <a:gd name="T24" fmla="*/ 210 w 278"/>
                <a:gd name="T25" fmla="*/ 8 h 260"/>
                <a:gd name="T26" fmla="*/ 210 w 278"/>
                <a:gd name="T27" fmla="*/ 8 h 260"/>
                <a:gd name="T28" fmla="*/ 202 w 278"/>
                <a:gd name="T29" fmla="*/ 8 h 260"/>
                <a:gd name="T30" fmla="*/ 193 w 278"/>
                <a:gd name="T31" fmla="*/ 8 h 260"/>
                <a:gd name="T32" fmla="*/ 177 w 278"/>
                <a:gd name="T33" fmla="*/ 17 h 260"/>
                <a:gd name="T34" fmla="*/ 177 w 278"/>
                <a:gd name="T35" fmla="*/ 25 h 260"/>
                <a:gd name="T36" fmla="*/ 177 w 278"/>
                <a:gd name="T37" fmla="*/ 33 h 260"/>
                <a:gd name="T38" fmla="*/ 177 w 278"/>
                <a:gd name="T39" fmla="*/ 50 h 260"/>
                <a:gd name="T40" fmla="*/ 177 w 278"/>
                <a:gd name="T41" fmla="*/ 50 h 260"/>
                <a:gd name="T42" fmla="*/ 168 w 278"/>
                <a:gd name="T43" fmla="*/ 59 h 260"/>
                <a:gd name="T44" fmla="*/ 151 w 278"/>
                <a:gd name="T45" fmla="*/ 50 h 260"/>
                <a:gd name="T46" fmla="*/ 135 w 278"/>
                <a:gd name="T47" fmla="*/ 42 h 260"/>
                <a:gd name="T48" fmla="*/ 118 w 278"/>
                <a:gd name="T49" fmla="*/ 33 h 260"/>
                <a:gd name="T50" fmla="*/ 109 w 278"/>
                <a:gd name="T51" fmla="*/ 42 h 260"/>
                <a:gd name="T52" fmla="*/ 101 w 278"/>
                <a:gd name="T53" fmla="*/ 25 h 260"/>
                <a:gd name="T54" fmla="*/ 93 w 278"/>
                <a:gd name="T55" fmla="*/ 17 h 260"/>
                <a:gd name="T56" fmla="*/ 76 w 278"/>
                <a:gd name="T57" fmla="*/ 8 h 260"/>
                <a:gd name="T58" fmla="*/ 59 w 278"/>
                <a:gd name="T59" fmla="*/ 8 h 260"/>
                <a:gd name="T60" fmla="*/ 42 w 278"/>
                <a:gd name="T61" fmla="*/ 8 h 260"/>
                <a:gd name="T62" fmla="*/ 34 w 278"/>
                <a:gd name="T63" fmla="*/ 0 h 260"/>
                <a:gd name="T64" fmla="*/ 34 w 278"/>
                <a:gd name="T65" fmla="*/ 8 h 260"/>
                <a:gd name="T66" fmla="*/ 34 w 278"/>
                <a:gd name="T67" fmla="*/ 17 h 260"/>
                <a:gd name="T68" fmla="*/ 17 w 278"/>
                <a:gd name="T69" fmla="*/ 25 h 260"/>
                <a:gd name="T70" fmla="*/ 17 w 278"/>
                <a:gd name="T71" fmla="*/ 33 h 260"/>
                <a:gd name="T72" fmla="*/ 9 w 278"/>
                <a:gd name="T73" fmla="*/ 33 h 260"/>
                <a:gd name="T74" fmla="*/ 9 w 278"/>
                <a:gd name="T75" fmla="*/ 42 h 260"/>
                <a:gd name="T76" fmla="*/ 9 w 278"/>
                <a:gd name="T77" fmla="*/ 50 h 260"/>
                <a:gd name="T78" fmla="*/ 9 w 278"/>
                <a:gd name="T79" fmla="*/ 50 h 260"/>
                <a:gd name="T80" fmla="*/ 9 w 278"/>
                <a:gd name="T81" fmla="*/ 59 h 260"/>
                <a:gd name="T82" fmla="*/ 0 w 278"/>
                <a:gd name="T83" fmla="*/ 59 h 260"/>
                <a:gd name="T84" fmla="*/ 0 w 278"/>
                <a:gd name="T85" fmla="*/ 59 h 260"/>
                <a:gd name="T86" fmla="*/ 0 w 278"/>
                <a:gd name="T87" fmla="*/ 67 h 260"/>
                <a:gd name="T88" fmla="*/ 9 w 278"/>
                <a:gd name="T89" fmla="*/ 84 h 260"/>
                <a:gd name="T90" fmla="*/ 9 w 278"/>
                <a:gd name="T91" fmla="*/ 92 h 260"/>
                <a:gd name="T92" fmla="*/ 9 w 278"/>
                <a:gd name="T93" fmla="*/ 101 h 260"/>
                <a:gd name="T94" fmla="*/ 9 w 278"/>
                <a:gd name="T95" fmla="*/ 117 h 260"/>
                <a:gd name="T96" fmla="*/ 9 w 278"/>
                <a:gd name="T97" fmla="*/ 126 h 260"/>
                <a:gd name="T98" fmla="*/ 0 w 278"/>
                <a:gd name="T99" fmla="*/ 126 h 260"/>
                <a:gd name="T100" fmla="*/ 0 w 278"/>
                <a:gd name="T101" fmla="*/ 134 h 260"/>
                <a:gd name="T102" fmla="*/ 9 w 278"/>
                <a:gd name="T103" fmla="*/ 143 h 260"/>
                <a:gd name="T104" fmla="*/ 9 w 278"/>
                <a:gd name="T105" fmla="*/ 151 h 260"/>
                <a:gd name="T106" fmla="*/ 9 w 278"/>
                <a:gd name="T107" fmla="*/ 160 h 260"/>
                <a:gd name="T108" fmla="*/ 17 w 278"/>
                <a:gd name="T109" fmla="*/ 160 h 260"/>
                <a:gd name="T110" fmla="*/ 17 w 278"/>
                <a:gd name="T111" fmla="*/ 168 h 260"/>
                <a:gd name="T112" fmla="*/ 34 w 278"/>
                <a:gd name="T113" fmla="*/ 168 h 260"/>
                <a:gd name="T114" fmla="*/ 34 w 278"/>
                <a:gd name="T115" fmla="*/ 176 h 260"/>
                <a:gd name="T116" fmla="*/ 42 w 278"/>
                <a:gd name="T117" fmla="*/ 185 h 260"/>
                <a:gd name="T118" fmla="*/ 42 w 278"/>
                <a:gd name="T119" fmla="*/ 185 h 260"/>
                <a:gd name="T120" fmla="*/ 76 w 278"/>
                <a:gd name="T121" fmla="*/ 202 h 260"/>
                <a:gd name="T122" fmla="*/ 261 w 278"/>
                <a:gd name="T123" fmla="*/ 260 h 260"/>
                <a:gd name="T124" fmla="*/ 261 w 278"/>
                <a:gd name="T125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" h="260">
                  <a:moveTo>
                    <a:pt x="261" y="260"/>
                  </a:moveTo>
                  <a:lnTo>
                    <a:pt x="261" y="252"/>
                  </a:lnTo>
                  <a:lnTo>
                    <a:pt x="278" y="252"/>
                  </a:lnTo>
                  <a:lnTo>
                    <a:pt x="269" y="75"/>
                  </a:lnTo>
                  <a:lnTo>
                    <a:pt x="261" y="67"/>
                  </a:lnTo>
                  <a:lnTo>
                    <a:pt x="261" y="59"/>
                  </a:lnTo>
                  <a:lnTo>
                    <a:pt x="261" y="59"/>
                  </a:lnTo>
                  <a:lnTo>
                    <a:pt x="269" y="50"/>
                  </a:lnTo>
                  <a:lnTo>
                    <a:pt x="269" y="42"/>
                  </a:lnTo>
                  <a:lnTo>
                    <a:pt x="261" y="42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69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52" y="25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27" y="17"/>
                  </a:lnTo>
                  <a:lnTo>
                    <a:pt x="235" y="17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19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193" y="8"/>
                  </a:lnTo>
                  <a:lnTo>
                    <a:pt x="185" y="8"/>
                  </a:lnTo>
                  <a:lnTo>
                    <a:pt x="177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85" y="42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0" y="59"/>
                  </a:lnTo>
                  <a:lnTo>
                    <a:pt x="151" y="50"/>
                  </a:lnTo>
                  <a:lnTo>
                    <a:pt x="143" y="50"/>
                  </a:lnTo>
                  <a:lnTo>
                    <a:pt x="135" y="42"/>
                  </a:lnTo>
                  <a:lnTo>
                    <a:pt x="126" y="42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09" y="42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101" y="17"/>
                  </a:lnTo>
                  <a:lnTo>
                    <a:pt x="93" y="17"/>
                  </a:lnTo>
                  <a:lnTo>
                    <a:pt x="84" y="8"/>
                  </a:lnTo>
                  <a:lnTo>
                    <a:pt x="76" y="8"/>
                  </a:lnTo>
                  <a:lnTo>
                    <a:pt x="67" y="8"/>
                  </a:lnTo>
                  <a:lnTo>
                    <a:pt x="59" y="8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9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0" y="126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9" y="143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17" y="160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25" y="168"/>
                  </a:lnTo>
                  <a:lnTo>
                    <a:pt x="34" y="168"/>
                  </a:lnTo>
                  <a:lnTo>
                    <a:pt x="34" y="168"/>
                  </a:lnTo>
                  <a:lnTo>
                    <a:pt x="34" y="176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76" y="193"/>
                  </a:lnTo>
                  <a:lnTo>
                    <a:pt x="76" y="202"/>
                  </a:lnTo>
                  <a:lnTo>
                    <a:pt x="118" y="185"/>
                  </a:lnTo>
                  <a:lnTo>
                    <a:pt x="261" y="260"/>
                  </a:lnTo>
                  <a:lnTo>
                    <a:pt x="261" y="260"/>
                  </a:lnTo>
                  <a:lnTo>
                    <a:pt x="261" y="2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3" name="Freeform 113">
              <a:extLst>
                <a:ext uri="{FF2B5EF4-FFF2-40B4-BE49-F238E27FC236}">
                  <a16:creationId xmlns:a16="http://schemas.microsoft.com/office/drawing/2014/main" id="{86AA3A4D-21BD-400A-903A-914E0861E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5045" y="4219394"/>
              <a:ext cx="78448" cy="167434"/>
            </a:xfrm>
            <a:custGeom>
              <a:avLst/>
              <a:gdLst>
                <a:gd name="T0" fmla="*/ 42 w 67"/>
                <a:gd name="T1" fmla="*/ 143 h 143"/>
                <a:gd name="T2" fmla="*/ 42 w 67"/>
                <a:gd name="T3" fmla="*/ 134 h 143"/>
                <a:gd name="T4" fmla="*/ 42 w 67"/>
                <a:gd name="T5" fmla="*/ 134 h 143"/>
                <a:gd name="T6" fmla="*/ 42 w 67"/>
                <a:gd name="T7" fmla="*/ 134 h 143"/>
                <a:gd name="T8" fmla="*/ 42 w 67"/>
                <a:gd name="T9" fmla="*/ 117 h 143"/>
                <a:gd name="T10" fmla="*/ 42 w 67"/>
                <a:gd name="T11" fmla="*/ 117 h 143"/>
                <a:gd name="T12" fmla="*/ 50 w 67"/>
                <a:gd name="T13" fmla="*/ 117 h 143"/>
                <a:gd name="T14" fmla="*/ 50 w 67"/>
                <a:gd name="T15" fmla="*/ 109 h 143"/>
                <a:gd name="T16" fmla="*/ 67 w 67"/>
                <a:gd name="T17" fmla="*/ 92 h 143"/>
                <a:gd name="T18" fmla="*/ 67 w 67"/>
                <a:gd name="T19" fmla="*/ 84 h 143"/>
                <a:gd name="T20" fmla="*/ 67 w 67"/>
                <a:gd name="T21" fmla="*/ 84 h 143"/>
                <a:gd name="T22" fmla="*/ 58 w 67"/>
                <a:gd name="T23" fmla="*/ 84 h 143"/>
                <a:gd name="T24" fmla="*/ 58 w 67"/>
                <a:gd name="T25" fmla="*/ 75 h 143"/>
                <a:gd name="T26" fmla="*/ 58 w 67"/>
                <a:gd name="T27" fmla="*/ 75 h 143"/>
                <a:gd name="T28" fmla="*/ 50 w 67"/>
                <a:gd name="T29" fmla="*/ 75 h 143"/>
                <a:gd name="T30" fmla="*/ 50 w 67"/>
                <a:gd name="T31" fmla="*/ 75 h 143"/>
                <a:gd name="T32" fmla="*/ 42 w 67"/>
                <a:gd name="T33" fmla="*/ 67 h 143"/>
                <a:gd name="T34" fmla="*/ 50 w 67"/>
                <a:gd name="T35" fmla="*/ 58 h 143"/>
                <a:gd name="T36" fmla="*/ 58 w 67"/>
                <a:gd name="T37" fmla="*/ 50 h 143"/>
                <a:gd name="T38" fmla="*/ 58 w 67"/>
                <a:gd name="T39" fmla="*/ 50 h 143"/>
                <a:gd name="T40" fmla="*/ 58 w 67"/>
                <a:gd name="T41" fmla="*/ 42 h 143"/>
                <a:gd name="T42" fmla="*/ 50 w 67"/>
                <a:gd name="T43" fmla="*/ 33 h 143"/>
                <a:gd name="T44" fmla="*/ 50 w 67"/>
                <a:gd name="T45" fmla="*/ 25 h 143"/>
                <a:gd name="T46" fmla="*/ 50 w 67"/>
                <a:gd name="T47" fmla="*/ 16 h 143"/>
                <a:gd name="T48" fmla="*/ 50 w 67"/>
                <a:gd name="T49" fmla="*/ 8 h 143"/>
                <a:gd name="T50" fmla="*/ 50 w 67"/>
                <a:gd name="T51" fmla="*/ 16 h 143"/>
                <a:gd name="T52" fmla="*/ 42 w 67"/>
                <a:gd name="T53" fmla="*/ 16 h 143"/>
                <a:gd name="T54" fmla="*/ 42 w 67"/>
                <a:gd name="T55" fmla="*/ 8 h 143"/>
                <a:gd name="T56" fmla="*/ 33 w 67"/>
                <a:gd name="T57" fmla="*/ 0 h 143"/>
                <a:gd name="T58" fmla="*/ 33 w 67"/>
                <a:gd name="T59" fmla="*/ 8 h 143"/>
                <a:gd name="T60" fmla="*/ 25 w 67"/>
                <a:gd name="T61" fmla="*/ 8 h 143"/>
                <a:gd name="T62" fmla="*/ 16 w 67"/>
                <a:gd name="T63" fmla="*/ 8 h 143"/>
                <a:gd name="T64" fmla="*/ 16 w 67"/>
                <a:gd name="T65" fmla="*/ 16 h 143"/>
                <a:gd name="T66" fmla="*/ 16 w 67"/>
                <a:gd name="T67" fmla="*/ 25 h 143"/>
                <a:gd name="T68" fmla="*/ 8 w 67"/>
                <a:gd name="T69" fmla="*/ 33 h 143"/>
                <a:gd name="T70" fmla="*/ 16 w 67"/>
                <a:gd name="T71" fmla="*/ 42 h 143"/>
                <a:gd name="T72" fmla="*/ 16 w 67"/>
                <a:gd name="T73" fmla="*/ 42 h 143"/>
                <a:gd name="T74" fmla="*/ 16 w 67"/>
                <a:gd name="T75" fmla="*/ 50 h 143"/>
                <a:gd name="T76" fmla="*/ 8 w 67"/>
                <a:gd name="T77" fmla="*/ 58 h 143"/>
                <a:gd name="T78" fmla="*/ 8 w 67"/>
                <a:gd name="T79" fmla="*/ 58 h 143"/>
                <a:gd name="T80" fmla="*/ 0 w 67"/>
                <a:gd name="T81" fmla="*/ 67 h 143"/>
                <a:gd name="T82" fmla="*/ 0 w 67"/>
                <a:gd name="T83" fmla="*/ 75 h 143"/>
                <a:gd name="T84" fmla="*/ 0 w 67"/>
                <a:gd name="T85" fmla="*/ 84 h 143"/>
                <a:gd name="T86" fmla="*/ 8 w 67"/>
                <a:gd name="T87" fmla="*/ 84 h 143"/>
                <a:gd name="T88" fmla="*/ 8 w 67"/>
                <a:gd name="T89" fmla="*/ 92 h 143"/>
                <a:gd name="T90" fmla="*/ 16 w 67"/>
                <a:gd name="T91" fmla="*/ 101 h 143"/>
                <a:gd name="T92" fmla="*/ 25 w 67"/>
                <a:gd name="T93" fmla="*/ 109 h 143"/>
                <a:gd name="T94" fmla="*/ 33 w 67"/>
                <a:gd name="T95" fmla="*/ 143 h 143"/>
                <a:gd name="T96" fmla="*/ 50 w 67"/>
                <a:gd name="T97" fmla="*/ 75 h 143"/>
                <a:gd name="T98" fmla="*/ 58 w 67"/>
                <a:gd name="T99" fmla="*/ 75 h 143"/>
                <a:gd name="T100" fmla="*/ 50 w 67"/>
                <a:gd name="T101" fmla="*/ 7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" h="143">
                  <a:moveTo>
                    <a:pt x="33" y="143"/>
                  </a:moveTo>
                  <a:lnTo>
                    <a:pt x="42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67" y="101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0" y="84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42" y="75"/>
                  </a:lnTo>
                  <a:lnTo>
                    <a:pt x="42" y="67"/>
                  </a:lnTo>
                  <a:lnTo>
                    <a:pt x="42" y="58"/>
                  </a:lnTo>
                  <a:lnTo>
                    <a:pt x="50" y="5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33"/>
                  </a:lnTo>
                  <a:lnTo>
                    <a:pt x="50" y="33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5" y="109"/>
                  </a:lnTo>
                  <a:lnTo>
                    <a:pt x="33" y="143"/>
                  </a:lnTo>
                  <a:lnTo>
                    <a:pt x="33" y="143"/>
                  </a:lnTo>
                  <a:close/>
                  <a:moveTo>
                    <a:pt x="50" y="75"/>
                  </a:moveTo>
                  <a:lnTo>
                    <a:pt x="50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0" y="75"/>
                  </a:lnTo>
                  <a:lnTo>
                    <a:pt x="50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4" name="Freeform 114">
              <a:extLst>
                <a:ext uri="{FF2B5EF4-FFF2-40B4-BE49-F238E27FC236}">
                  <a16:creationId xmlns:a16="http://schemas.microsoft.com/office/drawing/2014/main" id="{CDB09A1B-6327-4817-A77F-EDFAAD1EF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544" y="4228761"/>
              <a:ext cx="413316" cy="403949"/>
            </a:xfrm>
            <a:custGeom>
              <a:avLst/>
              <a:gdLst>
                <a:gd name="T0" fmla="*/ 353 w 353"/>
                <a:gd name="T1" fmla="*/ 261 h 345"/>
                <a:gd name="T2" fmla="*/ 345 w 353"/>
                <a:gd name="T3" fmla="*/ 244 h 345"/>
                <a:gd name="T4" fmla="*/ 328 w 353"/>
                <a:gd name="T5" fmla="*/ 244 h 345"/>
                <a:gd name="T6" fmla="*/ 320 w 353"/>
                <a:gd name="T7" fmla="*/ 236 h 345"/>
                <a:gd name="T8" fmla="*/ 320 w 353"/>
                <a:gd name="T9" fmla="*/ 227 h 345"/>
                <a:gd name="T10" fmla="*/ 311 w 353"/>
                <a:gd name="T11" fmla="*/ 210 h 345"/>
                <a:gd name="T12" fmla="*/ 311 w 353"/>
                <a:gd name="T13" fmla="*/ 202 h 345"/>
                <a:gd name="T14" fmla="*/ 320 w 353"/>
                <a:gd name="T15" fmla="*/ 193 h 345"/>
                <a:gd name="T16" fmla="*/ 320 w 353"/>
                <a:gd name="T17" fmla="*/ 177 h 345"/>
                <a:gd name="T18" fmla="*/ 320 w 353"/>
                <a:gd name="T19" fmla="*/ 160 h 345"/>
                <a:gd name="T20" fmla="*/ 311 w 353"/>
                <a:gd name="T21" fmla="*/ 143 h 345"/>
                <a:gd name="T22" fmla="*/ 311 w 353"/>
                <a:gd name="T23" fmla="*/ 135 h 345"/>
                <a:gd name="T24" fmla="*/ 294 w 353"/>
                <a:gd name="T25" fmla="*/ 93 h 345"/>
                <a:gd name="T26" fmla="*/ 286 w 353"/>
                <a:gd name="T27" fmla="*/ 84 h 345"/>
                <a:gd name="T28" fmla="*/ 278 w 353"/>
                <a:gd name="T29" fmla="*/ 76 h 345"/>
                <a:gd name="T30" fmla="*/ 278 w 353"/>
                <a:gd name="T31" fmla="*/ 67 h 345"/>
                <a:gd name="T32" fmla="*/ 286 w 353"/>
                <a:gd name="T33" fmla="*/ 50 h 345"/>
                <a:gd name="T34" fmla="*/ 294 w 353"/>
                <a:gd name="T35" fmla="*/ 42 h 345"/>
                <a:gd name="T36" fmla="*/ 294 w 353"/>
                <a:gd name="T37" fmla="*/ 34 h 345"/>
                <a:gd name="T38" fmla="*/ 286 w 353"/>
                <a:gd name="T39" fmla="*/ 34 h 345"/>
                <a:gd name="T40" fmla="*/ 294 w 353"/>
                <a:gd name="T41" fmla="*/ 17 h 345"/>
                <a:gd name="T42" fmla="*/ 294 w 353"/>
                <a:gd name="T43" fmla="*/ 0 h 345"/>
                <a:gd name="T44" fmla="*/ 286 w 353"/>
                <a:gd name="T45" fmla="*/ 0 h 345"/>
                <a:gd name="T46" fmla="*/ 269 w 353"/>
                <a:gd name="T47" fmla="*/ 0 h 345"/>
                <a:gd name="T48" fmla="*/ 261 w 353"/>
                <a:gd name="T49" fmla="*/ 8 h 345"/>
                <a:gd name="T50" fmla="*/ 252 w 353"/>
                <a:gd name="T51" fmla="*/ 0 h 345"/>
                <a:gd name="T52" fmla="*/ 244 w 353"/>
                <a:gd name="T53" fmla="*/ 8 h 345"/>
                <a:gd name="T54" fmla="*/ 236 w 353"/>
                <a:gd name="T55" fmla="*/ 8 h 345"/>
                <a:gd name="T56" fmla="*/ 227 w 353"/>
                <a:gd name="T57" fmla="*/ 8 h 345"/>
                <a:gd name="T58" fmla="*/ 219 w 353"/>
                <a:gd name="T59" fmla="*/ 8 h 345"/>
                <a:gd name="T60" fmla="*/ 210 w 353"/>
                <a:gd name="T61" fmla="*/ 0 h 345"/>
                <a:gd name="T62" fmla="*/ 202 w 353"/>
                <a:gd name="T63" fmla="*/ 8 h 345"/>
                <a:gd name="T64" fmla="*/ 185 w 353"/>
                <a:gd name="T65" fmla="*/ 8 h 345"/>
                <a:gd name="T66" fmla="*/ 177 w 353"/>
                <a:gd name="T67" fmla="*/ 8 h 345"/>
                <a:gd name="T68" fmla="*/ 160 w 353"/>
                <a:gd name="T69" fmla="*/ 17 h 345"/>
                <a:gd name="T70" fmla="*/ 152 w 353"/>
                <a:gd name="T71" fmla="*/ 25 h 345"/>
                <a:gd name="T72" fmla="*/ 143 w 353"/>
                <a:gd name="T73" fmla="*/ 25 h 345"/>
                <a:gd name="T74" fmla="*/ 135 w 353"/>
                <a:gd name="T75" fmla="*/ 25 h 345"/>
                <a:gd name="T76" fmla="*/ 135 w 353"/>
                <a:gd name="T77" fmla="*/ 34 h 345"/>
                <a:gd name="T78" fmla="*/ 118 w 353"/>
                <a:gd name="T79" fmla="*/ 42 h 345"/>
                <a:gd name="T80" fmla="*/ 126 w 353"/>
                <a:gd name="T81" fmla="*/ 42 h 345"/>
                <a:gd name="T82" fmla="*/ 126 w 353"/>
                <a:gd name="T83" fmla="*/ 59 h 345"/>
                <a:gd name="T84" fmla="*/ 126 w 353"/>
                <a:gd name="T85" fmla="*/ 76 h 345"/>
                <a:gd name="T86" fmla="*/ 135 w 353"/>
                <a:gd name="T87" fmla="*/ 84 h 345"/>
                <a:gd name="T88" fmla="*/ 135 w 353"/>
                <a:gd name="T89" fmla="*/ 93 h 345"/>
                <a:gd name="T90" fmla="*/ 135 w 353"/>
                <a:gd name="T91" fmla="*/ 101 h 345"/>
                <a:gd name="T92" fmla="*/ 101 w 353"/>
                <a:gd name="T93" fmla="*/ 109 h 345"/>
                <a:gd name="T94" fmla="*/ 101 w 353"/>
                <a:gd name="T95" fmla="*/ 118 h 345"/>
                <a:gd name="T96" fmla="*/ 68 w 353"/>
                <a:gd name="T97" fmla="*/ 143 h 345"/>
                <a:gd name="T98" fmla="*/ 42 w 353"/>
                <a:gd name="T99" fmla="*/ 151 h 345"/>
                <a:gd name="T100" fmla="*/ 17 w 353"/>
                <a:gd name="T101" fmla="*/ 160 h 345"/>
                <a:gd name="T102" fmla="*/ 0 w 353"/>
                <a:gd name="T103" fmla="*/ 168 h 345"/>
                <a:gd name="T104" fmla="*/ 0 w 353"/>
                <a:gd name="T105" fmla="*/ 193 h 345"/>
                <a:gd name="T106" fmla="*/ 68 w 353"/>
                <a:gd name="T107" fmla="*/ 236 h 345"/>
                <a:gd name="T108" fmla="*/ 185 w 353"/>
                <a:gd name="T109" fmla="*/ 320 h 345"/>
                <a:gd name="T110" fmla="*/ 202 w 353"/>
                <a:gd name="T111" fmla="*/ 320 h 345"/>
                <a:gd name="T112" fmla="*/ 210 w 353"/>
                <a:gd name="T113" fmla="*/ 328 h 345"/>
                <a:gd name="T114" fmla="*/ 210 w 353"/>
                <a:gd name="T115" fmla="*/ 345 h 345"/>
                <a:gd name="T116" fmla="*/ 227 w 353"/>
                <a:gd name="T117" fmla="*/ 336 h 345"/>
                <a:gd name="T118" fmla="*/ 252 w 353"/>
                <a:gd name="T119" fmla="*/ 336 h 345"/>
                <a:gd name="T120" fmla="*/ 353 w 353"/>
                <a:gd name="T121" fmla="*/ 261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45">
                  <a:moveTo>
                    <a:pt x="353" y="261"/>
                  </a:moveTo>
                  <a:lnTo>
                    <a:pt x="353" y="261"/>
                  </a:lnTo>
                  <a:lnTo>
                    <a:pt x="353" y="261"/>
                  </a:lnTo>
                  <a:lnTo>
                    <a:pt x="353" y="261"/>
                  </a:lnTo>
                  <a:lnTo>
                    <a:pt x="345" y="252"/>
                  </a:lnTo>
                  <a:lnTo>
                    <a:pt x="345" y="244"/>
                  </a:lnTo>
                  <a:lnTo>
                    <a:pt x="345" y="244"/>
                  </a:lnTo>
                  <a:lnTo>
                    <a:pt x="336" y="244"/>
                  </a:lnTo>
                  <a:lnTo>
                    <a:pt x="328" y="244"/>
                  </a:lnTo>
                  <a:lnTo>
                    <a:pt x="328" y="244"/>
                  </a:lnTo>
                  <a:lnTo>
                    <a:pt x="328" y="236"/>
                  </a:lnTo>
                  <a:lnTo>
                    <a:pt x="320" y="236"/>
                  </a:lnTo>
                  <a:lnTo>
                    <a:pt x="320" y="236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0" y="219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0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0" y="185"/>
                  </a:lnTo>
                  <a:lnTo>
                    <a:pt x="320" y="177"/>
                  </a:lnTo>
                  <a:lnTo>
                    <a:pt x="320" y="177"/>
                  </a:lnTo>
                  <a:lnTo>
                    <a:pt x="320" y="168"/>
                  </a:lnTo>
                  <a:lnTo>
                    <a:pt x="320" y="160"/>
                  </a:lnTo>
                  <a:lnTo>
                    <a:pt x="320" y="160"/>
                  </a:lnTo>
                  <a:lnTo>
                    <a:pt x="320" y="143"/>
                  </a:lnTo>
                  <a:lnTo>
                    <a:pt x="311" y="143"/>
                  </a:lnTo>
                  <a:lnTo>
                    <a:pt x="311" y="143"/>
                  </a:lnTo>
                  <a:lnTo>
                    <a:pt x="311" y="135"/>
                  </a:lnTo>
                  <a:lnTo>
                    <a:pt x="311" y="135"/>
                  </a:lnTo>
                  <a:lnTo>
                    <a:pt x="303" y="101"/>
                  </a:lnTo>
                  <a:lnTo>
                    <a:pt x="294" y="93"/>
                  </a:lnTo>
                  <a:lnTo>
                    <a:pt x="294" y="93"/>
                  </a:lnTo>
                  <a:lnTo>
                    <a:pt x="294" y="93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59"/>
                  </a:lnTo>
                  <a:lnTo>
                    <a:pt x="286" y="59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86" y="42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86" y="34"/>
                  </a:lnTo>
                  <a:lnTo>
                    <a:pt x="286" y="25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4" y="0"/>
                  </a:lnTo>
                  <a:lnTo>
                    <a:pt x="294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78" y="8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1" y="8"/>
                  </a:lnTo>
                  <a:lnTo>
                    <a:pt x="261" y="8"/>
                  </a:lnTo>
                  <a:lnTo>
                    <a:pt x="261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44" y="0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36" y="8"/>
                  </a:lnTo>
                  <a:lnTo>
                    <a:pt x="236" y="8"/>
                  </a:lnTo>
                  <a:lnTo>
                    <a:pt x="236" y="8"/>
                  </a:lnTo>
                  <a:lnTo>
                    <a:pt x="227" y="8"/>
                  </a:lnTo>
                  <a:lnTo>
                    <a:pt x="227" y="0"/>
                  </a:lnTo>
                  <a:lnTo>
                    <a:pt x="219" y="8"/>
                  </a:lnTo>
                  <a:lnTo>
                    <a:pt x="219" y="8"/>
                  </a:lnTo>
                  <a:lnTo>
                    <a:pt x="210" y="8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10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194" y="8"/>
                  </a:lnTo>
                  <a:lnTo>
                    <a:pt x="194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68" y="17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2" y="17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26" y="34"/>
                  </a:lnTo>
                  <a:lnTo>
                    <a:pt x="12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26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35" y="84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84" y="135"/>
                  </a:lnTo>
                  <a:lnTo>
                    <a:pt x="68" y="143"/>
                  </a:lnTo>
                  <a:lnTo>
                    <a:pt x="51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9" y="160"/>
                  </a:lnTo>
                  <a:lnTo>
                    <a:pt x="0" y="168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185" y="311"/>
                  </a:lnTo>
                  <a:lnTo>
                    <a:pt x="185" y="320"/>
                  </a:lnTo>
                  <a:lnTo>
                    <a:pt x="185" y="320"/>
                  </a:lnTo>
                  <a:lnTo>
                    <a:pt x="194" y="320"/>
                  </a:lnTo>
                  <a:lnTo>
                    <a:pt x="202" y="320"/>
                  </a:lnTo>
                  <a:lnTo>
                    <a:pt x="202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0" y="336"/>
                  </a:lnTo>
                  <a:lnTo>
                    <a:pt x="210" y="336"/>
                  </a:lnTo>
                  <a:lnTo>
                    <a:pt x="210" y="345"/>
                  </a:lnTo>
                  <a:lnTo>
                    <a:pt x="210" y="345"/>
                  </a:lnTo>
                  <a:lnTo>
                    <a:pt x="219" y="345"/>
                  </a:lnTo>
                  <a:lnTo>
                    <a:pt x="227" y="336"/>
                  </a:lnTo>
                  <a:lnTo>
                    <a:pt x="227" y="336"/>
                  </a:lnTo>
                  <a:lnTo>
                    <a:pt x="227" y="336"/>
                  </a:lnTo>
                  <a:lnTo>
                    <a:pt x="252" y="336"/>
                  </a:lnTo>
                  <a:lnTo>
                    <a:pt x="278" y="311"/>
                  </a:lnTo>
                  <a:lnTo>
                    <a:pt x="353" y="261"/>
                  </a:lnTo>
                  <a:lnTo>
                    <a:pt x="353" y="2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5" name="Freeform 115">
              <a:extLst>
                <a:ext uri="{FF2B5EF4-FFF2-40B4-BE49-F238E27FC236}">
                  <a16:creationId xmlns:a16="http://schemas.microsoft.com/office/drawing/2014/main" id="{2FBA7486-26F5-451E-A29D-4D3F4C40C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096" y="4258033"/>
              <a:ext cx="236515" cy="187339"/>
            </a:xfrm>
            <a:custGeom>
              <a:avLst/>
              <a:gdLst>
                <a:gd name="T0" fmla="*/ 67 w 202"/>
                <a:gd name="T1" fmla="*/ 143 h 160"/>
                <a:gd name="T2" fmla="*/ 84 w 202"/>
                <a:gd name="T3" fmla="*/ 135 h 160"/>
                <a:gd name="T4" fmla="*/ 101 w 202"/>
                <a:gd name="T5" fmla="*/ 126 h 160"/>
                <a:gd name="T6" fmla="*/ 109 w 202"/>
                <a:gd name="T7" fmla="*/ 126 h 160"/>
                <a:gd name="T8" fmla="*/ 118 w 202"/>
                <a:gd name="T9" fmla="*/ 126 h 160"/>
                <a:gd name="T10" fmla="*/ 151 w 202"/>
                <a:gd name="T11" fmla="*/ 110 h 160"/>
                <a:gd name="T12" fmla="*/ 168 w 202"/>
                <a:gd name="T13" fmla="*/ 93 h 160"/>
                <a:gd name="T14" fmla="*/ 168 w 202"/>
                <a:gd name="T15" fmla="*/ 84 h 160"/>
                <a:gd name="T16" fmla="*/ 177 w 202"/>
                <a:gd name="T17" fmla="*/ 76 h 160"/>
                <a:gd name="T18" fmla="*/ 202 w 202"/>
                <a:gd name="T19" fmla="*/ 76 h 160"/>
                <a:gd name="T20" fmla="*/ 202 w 202"/>
                <a:gd name="T21" fmla="*/ 68 h 160"/>
                <a:gd name="T22" fmla="*/ 202 w 202"/>
                <a:gd name="T23" fmla="*/ 68 h 160"/>
                <a:gd name="T24" fmla="*/ 202 w 202"/>
                <a:gd name="T25" fmla="*/ 59 h 160"/>
                <a:gd name="T26" fmla="*/ 193 w 202"/>
                <a:gd name="T27" fmla="*/ 59 h 160"/>
                <a:gd name="T28" fmla="*/ 193 w 202"/>
                <a:gd name="T29" fmla="*/ 42 h 160"/>
                <a:gd name="T30" fmla="*/ 193 w 202"/>
                <a:gd name="T31" fmla="*/ 34 h 160"/>
                <a:gd name="T32" fmla="*/ 193 w 202"/>
                <a:gd name="T33" fmla="*/ 25 h 160"/>
                <a:gd name="T34" fmla="*/ 185 w 202"/>
                <a:gd name="T35" fmla="*/ 17 h 160"/>
                <a:gd name="T36" fmla="*/ 185 w 202"/>
                <a:gd name="T37" fmla="*/ 17 h 160"/>
                <a:gd name="T38" fmla="*/ 177 w 202"/>
                <a:gd name="T39" fmla="*/ 17 h 160"/>
                <a:gd name="T40" fmla="*/ 168 w 202"/>
                <a:gd name="T41" fmla="*/ 9 h 160"/>
                <a:gd name="T42" fmla="*/ 168 w 202"/>
                <a:gd name="T43" fmla="*/ 9 h 160"/>
                <a:gd name="T44" fmla="*/ 160 w 202"/>
                <a:gd name="T45" fmla="*/ 9 h 160"/>
                <a:gd name="T46" fmla="*/ 151 w 202"/>
                <a:gd name="T47" fmla="*/ 9 h 160"/>
                <a:gd name="T48" fmla="*/ 143 w 202"/>
                <a:gd name="T49" fmla="*/ 9 h 160"/>
                <a:gd name="T50" fmla="*/ 135 w 202"/>
                <a:gd name="T51" fmla="*/ 9 h 160"/>
                <a:gd name="T52" fmla="*/ 135 w 202"/>
                <a:gd name="T53" fmla="*/ 0 h 160"/>
                <a:gd name="T54" fmla="*/ 135 w 202"/>
                <a:gd name="T55" fmla="*/ 0 h 160"/>
                <a:gd name="T56" fmla="*/ 126 w 202"/>
                <a:gd name="T57" fmla="*/ 0 h 160"/>
                <a:gd name="T58" fmla="*/ 126 w 202"/>
                <a:gd name="T59" fmla="*/ 0 h 160"/>
                <a:gd name="T60" fmla="*/ 118 w 202"/>
                <a:gd name="T61" fmla="*/ 17 h 160"/>
                <a:gd name="T62" fmla="*/ 118 w 202"/>
                <a:gd name="T63" fmla="*/ 25 h 160"/>
                <a:gd name="T64" fmla="*/ 101 w 202"/>
                <a:gd name="T65" fmla="*/ 34 h 160"/>
                <a:gd name="T66" fmla="*/ 101 w 202"/>
                <a:gd name="T67" fmla="*/ 42 h 160"/>
                <a:gd name="T68" fmla="*/ 84 w 202"/>
                <a:gd name="T69" fmla="*/ 51 h 160"/>
                <a:gd name="T70" fmla="*/ 76 w 202"/>
                <a:gd name="T71" fmla="*/ 51 h 160"/>
                <a:gd name="T72" fmla="*/ 67 w 202"/>
                <a:gd name="T73" fmla="*/ 59 h 160"/>
                <a:gd name="T74" fmla="*/ 67 w 202"/>
                <a:gd name="T75" fmla="*/ 68 h 160"/>
                <a:gd name="T76" fmla="*/ 59 w 202"/>
                <a:gd name="T77" fmla="*/ 84 h 160"/>
                <a:gd name="T78" fmla="*/ 51 w 202"/>
                <a:gd name="T79" fmla="*/ 93 h 160"/>
                <a:gd name="T80" fmla="*/ 51 w 202"/>
                <a:gd name="T81" fmla="*/ 110 h 160"/>
                <a:gd name="T82" fmla="*/ 59 w 202"/>
                <a:gd name="T83" fmla="*/ 110 h 160"/>
                <a:gd name="T84" fmla="*/ 42 w 202"/>
                <a:gd name="T85" fmla="*/ 126 h 160"/>
                <a:gd name="T86" fmla="*/ 42 w 202"/>
                <a:gd name="T87" fmla="*/ 135 h 160"/>
                <a:gd name="T88" fmla="*/ 25 w 202"/>
                <a:gd name="T89" fmla="*/ 152 h 160"/>
                <a:gd name="T90" fmla="*/ 0 w 202"/>
                <a:gd name="T91" fmla="*/ 160 h 160"/>
                <a:gd name="T92" fmla="*/ 67 w 202"/>
                <a:gd name="T9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2" h="160">
                  <a:moveTo>
                    <a:pt x="67" y="160"/>
                  </a:moveTo>
                  <a:lnTo>
                    <a:pt x="67" y="143"/>
                  </a:lnTo>
                  <a:lnTo>
                    <a:pt x="76" y="135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18" y="126"/>
                  </a:lnTo>
                  <a:lnTo>
                    <a:pt x="135" y="118"/>
                  </a:lnTo>
                  <a:lnTo>
                    <a:pt x="151" y="110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202" y="76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1"/>
                  </a:lnTo>
                  <a:lnTo>
                    <a:pt x="193" y="42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3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77" y="17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0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43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25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93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7" y="59"/>
                  </a:lnTo>
                  <a:lnTo>
                    <a:pt x="59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59" y="84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9" y="101"/>
                  </a:lnTo>
                  <a:lnTo>
                    <a:pt x="51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8"/>
                  </a:lnTo>
                  <a:lnTo>
                    <a:pt x="42" y="126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34" y="135"/>
                  </a:lnTo>
                  <a:lnTo>
                    <a:pt x="25" y="152"/>
                  </a:lnTo>
                  <a:lnTo>
                    <a:pt x="0" y="152"/>
                  </a:lnTo>
                  <a:lnTo>
                    <a:pt x="0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Freeform 116">
              <a:extLst>
                <a:ext uri="{FF2B5EF4-FFF2-40B4-BE49-F238E27FC236}">
                  <a16:creationId xmlns:a16="http://schemas.microsoft.com/office/drawing/2014/main" id="{53BE2697-C1CA-48CF-9115-7FC916CB5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445372"/>
              <a:ext cx="166263" cy="138162"/>
            </a:xfrm>
            <a:custGeom>
              <a:avLst/>
              <a:gdLst>
                <a:gd name="T0" fmla="*/ 142 w 142"/>
                <a:gd name="T1" fmla="*/ 8 h 118"/>
                <a:gd name="T2" fmla="*/ 142 w 142"/>
                <a:gd name="T3" fmla="*/ 0 h 118"/>
                <a:gd name="T4" fmla="*/ 75 w 142"/>
                <a:gd name="T5" fmla="*/ 0 h 118"/>
                <a:gd name="T6" fmla="*/ 67 w 142"/>
                <a:gd name="T7" fmla="*/ 8 h 118"/>
                <a:gd name="T8" fmla="*/ 67 w 142"/>
                <a:gd name="T9" fmla="*/ 17 h 118"/>
                <a:gd name="T10" fmla="*/ 67 w 142"/>
                <a:gd name="T11" fmla="*/ 17 h 118"/>
                <a:gd name="T12" fmla="*/ 50 w 142"/>
                <a:gd name="T13" fmla="*/ 25 h 118"/>
                <a:gd name="T14" fmla="*/ 50 w 142"/>
                <a:gd name="T15" fmla="*/ 25 h 118"/>
                <a:gd name="T16" fmla="*/ 50 w 142"/>
                <a:gd name="T17" fmla="*/ 25 h 118"/>
                <a:gd name="T18" fmla="*/ 50 w 142"/>
                <a:gd name="T19" fmla="*/ 34 h 118"/>
                <a:gd name="T20" fmla="*/ 33 w 142"/>
                <a:gd name="T21" fmla="*/ 51 h 118"/>
                <a:gd name="T22" fmla="*/ 33 w 142"/>
                <a:gd name="T23" fmla="*/ 51 h 118"/>
                <a:gd name="T24" fmla="*/ 25 w 142"/>
                <a:gd name="T25" fmla="*/ 59 h 118"/>
                <a:gd name="T26" fmla="*/ 25 w 142"/>
                <a:gd name="T27" fmla="*/ 59 h 118"/>
                <a:gd name="T28" fmla="*/ 25 w 142"/>
                <a:gd name="T29" fmla="*/ 76 h 118"/>
                <a:gd name="T30" fmla="*/ 25 w 142"/>
                <a:gd name="T31" fmla="*/ 76 h 118"/>
                <a:gd name="T32" fmla="*/ 16 w 142"/>
                <a:gd name="T33" fmla="*/ 84 h 118"/>
                <a:gd name="T34" fmla="*/ 16 w 142"/>
                <a:gd name="T35" fmla="*/ 84 h 118"/>
                <a:gd name="T36" fmla="*/ 16 w 142"/>
                <a:gd name="T37" fmla="*/ 84 h 118"/>
                <a:gd name="T38" fmla="*/ 16 w 142"/>
                <a:gd name="T39" fmla="*/ 93 h 118"/>
                <a:gd name="T40" fmla="*/ 8 w 142"/>
                <a:gd name="T41" fmla="*/ 101 h 118"/>
                <a:gd name="T42" fmla="*/ 8 w 142"/>
                <a:gd name="T43" fmla="*/ 101 h 118"/>
                <a:gd name="T44" fmla="*/ 0 w 142"/>
                <a:gd name="T45" fmla="*/ 101 h 118"/>
                <a:gd name="T46" fmla="*/ 0 w 142"/>
                <a:gd name="T47" fmla="*/ 109 h 118"/>
                <a:gd name="T48" fmla="*/ 0 w 142"/>
                <a:gd name="T49" fmla="*/ 109 h 118"/>
                <a:gd name="T50" fmla="*/ 0 w 142"/>
                <a:gd name="T51" fmla="*/ 118 h 118"/>
                <a:gd name="T52" fmla="*/ 75 w 142"/>
                <a:gd name="T53" fmla="*/ 118 h 118"/>
                <a:gd name="T54" fmla="*/ 75 w 142"/>
                <a:gd name="T55" fmla="*/ 84 h 118"/>
                <a:gd name="T56" fmla="*/ 75 w 142"/>
                <a:gd name="T57" fmla="*/ 76 h 118"/>
                <a:gd name="T58" fmla="*/ 75 w 142"/>
                <a:gd name="T59" fmla="*/ 76 h 118"/>
                <a:gd name="T60" fmla="*/ 84 w 142"/>
                <a:gd name="T61" fmla="*/ 76 h 118"/>
                <a:gd name="T62" fmla="*/ 92 w 142"/>
                <a:gd name="T63" fmla="*/ 76 h 118"/>
                <a:gd name="T64" fmla="*/ 92 w 142"/>
                <a:gd name="T65" fmla="*/ 25 h 118"/>
                <a:gd name="T66" fmla="*/ 142 w 142"/>
                <a:gd name="T67" fmla="*/ 34 h 118"/>
                <a:gd name="T68" fmla="*/ 142 w 142"/>
                <a:gd name="T69" fmla="*/ 8 h 118"/>
                <a:gd name="T70" fmla="*/ 142 w 142"/>
                <a:gd name="T71" fmla="*/ 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" h="118">
                  <a:moveTo>
                    <a:pt x="142" y="8"/>
                  </a:moveTo>
                  <a:lnTo>
                    <a:pt x="142" y="0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93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1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8"/>
                  </a:lnTo>
                  <a:lnTo>
                    <a:pt x="75" y="118"/>
                  </a:lnTo>
                  <a:lnTo>
                    <a:pt x="75" y="84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84" y="76"/>
                  </a:lnTo>
                  <a:lnTo>
                    <a:pt x="92" y="76"/>
                  </a:lnTo>
                  <a:lnTo>
                    <a:pt x="92" y="25"/>
                  </a:lnTo>
                  <a:lnTo>
                    <a:pt x="142" y="34"/>
                  </a:lnTo>
                  <a:lnTo>
                    <a:pt x="142" y="8"/>
                  </a:lnTo>
                  <a:lnTo>
                    <a:pt x="142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Freeform 117">
              <a:extLst>
                <a:ext uri="{FF2B5EF4-FFF2-40B4-BE49-F238E27FC236}">
                  <a16:creationId xmlns:a16="http://schemas.microsoft.com/office/drawing/2014/main" id="{2CA14B59-D300-4141-BC1F-338AEB07A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454739"/>
              <a:ext cx="245882" cy="266958"/>
            </a:xfrm>
            <a:custGeom>
              <a:avLst/>
              <a:gdLst>
                <a:gd name="T0" fmla="*/ 75 w 210"/>
                <a:gd name="T1" fmla="*/ 110 h 228"/>
                <a:gd name="T2" fmla="*/ 75 w 210"/>
                <a:gd name="T3" fmla="*/ 68 h 228"/>
                <a:gd name="T4" fmla="*/ 84 w 210"/>
                <a:gd name="T5" fmla="*/ 68 h 228"/>
                <a:gd name="T6" fmla="*/ 92 w 210"/>
                <a:gd name="T7" fmla="*/ 17 h 228"/>
                <a:gd name="T8" fmla="*/ 142 w 210"/>
                <a:gd name="T9" fmla="*/ 0 h 228"/>
                <a:gd name="T10" fmla="*/ 210 w 210"/>
                <a:gd name="T11" fmla="*/ 43 h 228"/>
                <a:gd name="T12" fmla="*/ 184 w 210"/>
                <a:gd name="T13" fmla="*/ 43 h 228"/>
                <a:gd name="T14" fmla="*/ 210 w 210"/>
                <a:gd name="T15" fmla="*/ 202 h 228"/>
                <a:gd name="T16" fmla="*/ 142 w 210"/>
                <a:gd name="T17" fmla="*/ 211 h 228"/>
                <a:gd name="T18" fmla="*/ 134 w 210"/>
                <a:gd name="T19" fmla="*/ 211 h 228"/>
                <a:gd name="T20" fmla="*/ 126 w 210"/>
                <a:gd name="T21" fmla="*/ 211 h 228"/>
                <a:gd name="T22" fmla="*/ 126 w 210"/>
                <a:gd name="T23" fmla="*/ 211 h 228"/>
                <a:gd name="T24" fmla="*/ 117 w 210"/>
                <a:gd name="T25" fmla="*/ 211 h 228"/>
                <a:gd name="T26" fmla="*/ 109 w 210"/>
                <a:gd name="T27" fmla="*/ 219 h 228"/>
                <a:gd name="T28" fmla="*/ 109 w 210"/>
                <a:gd name="T29" fmla="*/ 211 h 228"/>
                <a:gd name="T30" fmla="*/ 92 w 210"/>
                <a:gd name="T31" fmla="*/ 211 h 228"/>
                <a:gd name="T32" fmla="*/ 92 w 210"/>
                <a:gd name="T33" fmla="*/ 219 h 228"/>
                <a:gd name="T34" fmla="*/ 92 w 210"/>
                <a:gd name="T35" fmla="*/ 219 h 228"/>
                <a:gd name="T36" fmla="*/ 84 w 210"/>
                <a:gd name="T37" fmla="*/ 228 h 228"/>
                <a:gd name="T38" fmla="*/ 75 w 210"/>
                <a:gd name="T39" fmla="*/ 219 h 228"/>
                <a:gd name="T40" fmla="*/ 75 w 210"/>
                <a:gd name="T41" fmla="*/ 219 h 228"/>
                <a:gd name="T42" fmla="*/ 67 w 210"/>
                <a:gd name="T43" fmla="*/ 211 h 228"/>
                <a:gd name="T44" fmla="*/ 67 w 210"/>
                <a:gd name="T45" fmla="*/ 202 h 228"/>
                <a:gd name="T46" fmla="*/ 58 w 210"/>
                <a:gd name="T47" fmla="*/ 202 h 228"/>
                <a:gd name="T48" fmla="*/ 58 w 210"/>
                <a:gd name="T49" fmla="*/ 202 h 228"/>
                <a:gd name="T50" fmla="*/ 58 w 210"/>
                <a:gd name="T51" fmla="*/ 202 h 228"/>
                <a:gd name="T52" fmla="*/ 50 w 210"/>
                <a:gd name="T53" fmla="*/ 194 h 228"/>
                <a:gd name="T54" fmla="*/ 33 w 210"/>
                <a:gd name="T55" fmla="*/ 194 h 228"/>
                <a:gd name="T56" fmla="*/ 16 w 210"/>
                <a:gd name="T57" fmla="*/ 194 h 228"/>
                <a:gd name="T58" fmla="*/ 8 w 210"/>
                <a:gd name="T59" fmla="*/ 202 h 228"/>
                <a:gd name="T60" fmla="*/ 8 w 210"/>
                <a:gd name="T61" fmla="*/ 194 h 228"/>
                <a:gd name="T62" fmla="*/ 16 w 210"/>
                <a:gd name="T63" fmla="*/ 177 h 228"/>
                <a:gd name="T64" fmla="*/ 16 w 210"/>
                <a:gd name="T65" fmla="*/ 143 h 228"/>
                <a:gd name="T66" fmla="*/ 8 w 210"/>
                <a:gd name="T67" fmla="*/ 135 h 228"/>
                <a:gd name="T68" fmla="*/ 16 w 210"/>
                <a:gd name="T69" fmla="*/ 135 h 228"/>
                <a:gd name="T70" fmla="*/ 16 w 210"/>
                <a:gd name="T71" fmla="*/ 127 h 228"/>
                <a:gd name="T72" fmla="*/ 8 w 210"/>
                <a:gd name="T73" fmla="*/ 118 h 228"/>
                <a:gd name="T74" fmla="*/ 8 w 210"/>
                <a:gd name="T75" fmla="*/ 118 h 228"/>
                <a:gd name="T76" fmla="*/ 0 w 210"/>
                <a:gd name="T77" fmla="*/ 110 h 228"/>
                <a:gd name="T78" fmla="*/ 0 w 210"/>
                <a:gd name="T79" fmla="*/ 11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0" h="228">
                  <a:moveTo>
                    <a:pt x="0" y="110"/>
                  </a:moveTo>
                  <a:lnTo>
                    <a:pt x="75" y="110"/>
                  </a:lnTo>
                  <a:lnTo>
                    <a:pt x="75" y="76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84" y="68"/>
                  </a:lnTo>
                  <a:lnTo>
                    <a:pt x="92" y="68"/>
                  </a:lnTo>
                  <a:lnTo>
                    <a:pt x="92" y="17"/>
                  </a:lnTo>
                  <a:lnTo>
                    <a:pt x="142" y="26"/>
                  </a:lnTo>
                  <a:lnTo>
                    <a:pt x="142" y="0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184" y="43"/>
                  </a:lnTo>
                  <a:lnTo>
                    <a:pt x="201" y="194"/>
                  </a:lnTo>
                  <a:lnTo>
                    <a:pt x="210" y="202"/>
                  </a:lnTo>
                  <a:lnTo>
                    <a:pt x="201" y="211"/>
                  </a:lnTo>
                  <a:lnTo>
                    <a:pt x="142" y="211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02"/>
                  </a:lnTo>
                  <a:lnTo>
                    <a:pt x="117" y="211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0" y="211"/>
                  </a:lnTo>
                  <a:lnTo>
                    <a:pt x="92" y="211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84" y="228"/>
                  </a:lnTo>
                  <a:lnTo>
                    <a:pt x="84" y="228"/>
                  </a:lnTo>
                  <a:lnTo>
                    <a:pt x="84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33" y="194"/>
                  </a:lnTo>
                  <a:lnTo>
                    <a:pt x="25" y="194"/>
                  </a:lnTo>
                  <a:lnTo>
                    <a:pt x="16" y="194"/>
                  </a:lnTo>
                  <a:lnTo>
                    <a:pt x="16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194"/>
                  </a:lnTo>
                  <a:lnTo>
                    <a:pt x="8" y="185"/>
                  </a:lnTo>
                  <a:lnTo>
                    <a:pt x="16" y="177"/>
                  </a:lnTo>
                  <a:lnTo>
                    <a:pt x="16" y="169"/>
                  </a:lnTo>
                  <a:lnTo>
                    <a:pt x="16" y="143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Freeform 118">
              <a:extLst>
                <a:ext uri="{FF2B5EF4-FFF2-40B4-BE49-F238E27FC236}">
                  <a16:creationId xmlns:a16="http://schemas.microsoft.com/office/drawing/2014/main" id="{9799A90D-8915-4635-9C38-0430C5844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1634" y="4505086"/>
              <a:ext cx="333697" cy="304426"/>
            </a:xfrm>
            <a:custGeom>
              <a:avLst/>
              <a:gdLst>
                <a:gd name="T0" fmla="*/ 8 w 285"/>
                <a:gd name="T1" fmla="*/ 176 h 260"/>
                <a:gd name="T2" fmla="*/ 8 w 285"/>
                <a:gd name="T3" fmla="*/ 168 h 260"/>
                <a:gd name="T4" fmla="*/ 25 w 285"/>
                <a:gd name="T5" fmla="*/ 168 h 260"/>
                <a:gd name="T6" fmla="*/ 33 w 285"/>
                <a:gd name="T7" fmla="*/ 168 h 260"/>
                <a:gd name="T8" fmla="*/ 42 w 285"/>
                <a:gd name="T9" fmla="*/ 168 h 260"/>
                <a:gd name="T10" fmla="*/ 50 w 285"/>
                <a:gd name="T11" fmla="*/ 168 h 260"/>
                <a:gd name="T12" fmla="*/ 117 w 285"/>
                <a:gd name="T13" fmla="*/ 168 h 260"/>
                <a:gd name="T14" fmla="*/ 100 w 285"/>
                <a:gd name="T15" fmla="*/ 0 h 260"/>
                <a:gd name="T16" fmla="*/ 243 w 285"/>
                <a:gd name="T17" fmla="*/ 84 h 260"/>
                <a:gd name="T18" fmla="*/ 260 w 285"/>
                <a:gd name="T19" fmla="*/ 84 h 260"/>
                <a:gd name="T20" fmla="*/ 268 w 285"/>
                <a:gd name="T21" fmla="*/ 92 h 260"/>
                <a:gd name="T22" fmla="*/ 268 w 285"/>
                <a:gd name="T23" fmla="*/ 109 h 260"/>
                <a:gd name="T24" fmla="*/ 285 w 285"/>
                <a:gd name="T25" fmla="*/ 100 h 260"/>
                <a:gd name="T26" fmla="*/ 285 w 285"/>
                <a:gd name="T27" fmla="*/ 151 h 260"/>
                <a:gd name="T28" fmla="*/ 277 w 285"/>
                <a:gd name="T29" fmla="*/ 168 h 260"/>
                <a:gd name="T30" fmla="*/ 260 w 285"/>
                <a:gd name="T31" fmla="*/ 176 h 260"/>
                <a:gd name="T32" fmla="*/ 243 w 285"/>
                <a:gd name="T33" fmla="*/ 176 h 260"/>
                <a:gd name="T34" fmla="*/ 226 w 285"/>
                <a:gd name="T35" fmla="*/ 176 h 260"/>
                <a:gd name="T36" fmla="*/ 218 w 285"/>
                <a:gd name="T37" fmla="*/ 176 h 260"/>
                <a:gd name="T38" fmla="*/ 210 w 285"/>
                <a:gd name="T39" fmla="*/ 176 h 260"/>
                <a:gd name="T40" fmla="*/ 184 w 285"/>
                <a:gd name="T41" fmla="*/ 185 h 260"/>
                <a:gd name="T42" fmla="*/ 159 w 285"/>
                <a:gd name="T43" fmla="*/ 201 h 260"/>
                <a:gd name="T44" fmla="*/ 142 w 285"/>
                <a:gd name="T45" fmla="*/ 201 h 260"/>
                <a:gd name="T46" fmla="*/ 142 w 285"/>
                <a:gd name="T47" fmla="*/ 218 h 260"/>
                <a:gd name="T48" fmla="*/ 134 w 285"/>
                <a:gd name="T49" fmla="*/ 235 h 260"/>
                <a:gd name="T50" fmla="*/ 126 w 285"/>
                <a:gd name="T51" fmla="*/ 243 h 260"/>
                <a:gd name="T52" fmla="*/ 117 w 285"/>
                <a:gd name="T53" fmla="*/ 252 h 260"/>
                <a:gd name="T54" fmla="*/ 117 w 285"/>
                <a:gd name="T55" fmla="*/ 260 h 260"/>
                <a:gd name="T56" fmla="*/ 109 w 285"/>
                <a:gd name="T57" fmla="*/ 260 h 260"/>
                <a:gd name="T58" fmla="*/ 100 w 285"/>
                <a:gd name="T59" fmla="*/ 260 h 260"/>
                <a:gd name="T60" fmla="*/ 92 w 285"/>
                <a:gd name="T61" fmla="*/ 260 h 260"/>
                <a:gd name="T62" fmla="*/ 75 w 285"/>
                <a:gd name="T63" fmla="*/ 260 h 260"/>
                <a:gd name="T64" fmla="*/ 75 w 285"/>
                <a:gd name="T65" fmla="*/ 260 h 260"/>
                <a:gd name="T66" fmla="*/ 75 w 285"/>
                <a:gd name="T67" fmla="*/ 252 h 260"/>
                <a:gd name="T68" fmla="*/ 67 w 285"/>
                <a:gd name="T69" fmla="*/ 252 h 260"/>
                <a:gd name="T70" fmla="*/ 67 w 285"/>
                <a:gd name="T71" fmla="*/ 243 h 260"/>
                <a:gd name="T72" fmla="*/ 67 w 285"/>
                <a:gd name="T73" fmla="*/ 235 h 260"/>
                <a:gd name="T74" fmla="*/ 58 w 285"/>
                <a:gd name="T75" fmla="*/ 227 h 260"/>
                <a:gd name="T76" fmla="*/ 50 w 285"/>
                <a:gd name="T77" fmla="*/ 227 h 260"/>
                <a:gd name="T78" fmla="*/ 42 w 285"/>
                <a:gd name="T79" fmla="*/ 235 h 260"/>
                <a:gd name="T80" fmla="*/ 25 w 285"/>
                <a:gd name="T81" fmla="*/ 235 h 260"/>
                <a:gd name="T82" fmla="*/ 16 w 285"/>
                <a:gd name="T83" fmla="*/ 235 h 260"/>
                <a:gd name="T84" fmla="*/ 25 w 285"/>
                <a:gd name="T85" fmla="*/ 227 h 260"/>
                <a:gd name="T86" fmla="*/ 16 w 285"/>
                <a:gd name="T87" fmla="*/ 218 h 260"/>
                <a:gd name="T88" fmla="*/ 16 w 285"/>
                <a:gd name="T89" fmla="*/ 210 h 260"/>
                <a:gd name="T90" fmla="*/ 8 w 285"/>
                <a:gd name="T91" fmla="*/ 210 h 260"/>
                <a:gd name="T92" fmla="*/ 0 w 285"/>
                <a:gd name="T93" fmla="*/ 201 h 260"/>
                <a:gd name="T94" fmla="*/ 0 w 285"/>
                <a:gd name="T95" fmla="*/ 18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" h="260">
                  <a:moveTo>
                    <a:pt x="0" y="185"/>
                  </a:move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68"/>
                  </a:lnTo>
                  <a:lnTo>
                    <a:pt x="16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5" y="176"/>
                  </a:lnTo>
                  <a:lnTo>
                    <a:pt x="25" y="176"/>
                  </a:lnTo>
                  <a:lnTo>
                    <a:pt x="33" y="168"/>
                  </a:lnTo>
                  <a:lnTo>
                    <a:pt x="42" y="159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8" y="168"/>
                  </a:lnTo>
                  <a:lnTo>
                    <a:pt x="117" y="168"/>
                  </a:lnTo>
                  <a:lnTo>
                    <a:pt x="126" y="159"/>
                  </a:lnTo>
                  <a:lnTo>
                    <a:pt x="117" y="151"/>
                  </a:lnTo>
                  <a:lnTo>
                    <a:pt x="100" y="0"/>
                  </a:lnTo>
                  <a:lnTo>
                    <a:pt x="126" y="0"/>
                  </a:lnTo>
                  <a:lnTo>
                    <a:pt x="243" y="75"/>
                  </a:lnTo>
                  <a:lnTo>
                    <a:pt x="243" y="84"/>
                  </a:lnTo>
                  <a:lnTo>
                    <a:pt x="243" y="84"/>
                  </a:lnTo>
                  <a:lnTo>
                    <a:pt x="252" y="84"/>
                  </a:lnTo>
                  <a:lnTo>
                    <a:pt x="260" y="84"/>
                  </a:lnTo>
                  <a:lnTo>
                    <a:pt x="260" y="92"/>
                  </a:lnTo>
                  <a:lnTo>
                    <a:pt x="268" y="92"/>
                  </a:lnTo>
                  <a:lnTo>
                    <a:pt x="268" y="92"/>
                  </a:lnTo>
                  <a:lnTo>
                    <a:pt x="268" y="100"/>
                  </a:lnTo>
                  <a:lnTo>
                    <a:pt x="268" y="100"/>
                  </a:lnTo>
                  <a:lnTo>
                    <a:pt x="268" y="109"/>
                  </a:lnTo>
                  <a:lnTo>
                    <a:pt x="268" y="109"/>
                  </a:lnTo>
                  <a:lnTo>
                    <a:pt x="277" y="10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5" y="134"/>
                  </a:lnTo>
                  <a:lnTo>
                    <a:pt x="285" y="151"/>
                  </a:lnTo>
                  <a:lnTo>
                    <a:pt x="285" y="159"/>
                  </a:lnTo>
                  <a:lnTo>
                    <a:pt x="285" y="159"/>
                  </a:lnTo>
                  <a:lnTo>
                    <a:pt x="277" y="168"/>
                  </a:lnTo>
                  <a:lnTo>
                    <a:pt x="268" y="168"/>
                  </a:lnTo>
                  <a:lnTo>
                    <a:pt x="268" y="176"/>
                  </a:lnTo>
                  <a:lnTo>
                    <a:pt x="260" y="176"/>
                  </a:lnTo>
                  <a:lnTo>
                    <a:pt x="260" y="176"/>
                  </a:lnTo>
                  <a:lnTo>
                    <a:pt x="252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35" y="176"/>
                  </a:lnTo>
                  <a:lnTo>
                    <a:pt x="226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01" y="176"/>
                  </a:lnTo>
                  <a:lnTo>
                    <a:pt x="193" y="185"/>
                  </a:lnTo>
                  <a:lnTo>
                    <a:pt x="184" y="185"/>
                  </a:lnTo>
                  <a:lnTo>
                    <a:pt x="176" y="193"/>
                  </a:lnTo>
                  <a:lnTo>
                    <a:pt x="168" y="201"/>
                  </a:lnTo>
                  <a:lnTo>
                    <a:pt x="159" y="201"/>
                  </a:lnTo>
                  <a:lnTo>
                    <a:pt x="151" y="201"/>
                  </a:lnTo>
                  <a:lnTo>
                    <a:pt x="151" y="201"/>
                  </a:lnTo>
                  <a:lnTo>
                    <a:pt x="142" y="201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34" y="227"/>
                  </a:lnTo>
                  <a:lnTo>
                    <a:pt x="134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17" y="243"/>
                  </a:lnTo>
                  <a:lnTo>
                    <a:pt x="117" y="252"/>
                  </a:lnTo>
                  <a:lnTo>
                    <a:pt x="126" y="252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0" y="260"/>
                  </a:lnTo>
                  <a:lnTo>
                    <a:pt x="100" y="260"/>
                  </a:lnTo>
                  <a:lnTo>
                    <a:pt x="100" y="260"/>
                  </a:lnTo>
                  <a:lnTo>
                    <a:pt x="92" y="260"/>
                  </a:lnTo>
                  <a:lnTo>
                    <a:pt x="84" y="260"/>
                  </a:lnTo>
                  <a:lnTo>
                    <a:pt x="84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52"/>
                  </a:lnTo>
                  <a:lnTo>
                    <a:pt x="75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2" y="227"/>
                  </a:lnTo>
                  <a:lnTo>
                    <a:pt x="42" y="235"/>
                  </a:lnTo>
                  <a:lnTo>
                    <a:pt x="42" y="235"/>
                  </a:lnTo>
                  <a:lnTo>
                    <a:pt x="33" y="235"/>
                  </a:lnTo>
                  <a:lnTo>
                    <a:pt x="33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16" y="235"/>
                  </a:lnTo>
                  <a:lnTo>
                    <a:pt x="16" y="235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16" y="227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Freeform 119">
              <a:extLst>
                <a:ext uri="{FF2B5EF4-FFF2-40B4-BE49-F238E27FC236}">
                  <a16:creationId xmlns:a16="http://schemas.microsoft.com/office/drawing/2014/main" id="{4FC4B6D4-F731-4864-BCC1-6B68C614E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8625" y="4711159"/>
              <a:ext cx="158067" cy="118258"/>
            </a:xfrm>
            <a:custGeom>
              <a:avLst/>
              <a:gdLst>
                <a:gd name="T0" fmla="*/ 9 w 135"/>
                <a:gd name="T1" fmla="*/ 76 h 101"/>
                <a:gd name="T2" fmla="*/ 0 w 135"/>
                <a:gd name="T3" fmla="*/ 67 h 101"/>
                <a:gd name="T4" fmla="*/ 9 w 135"/>
                <a:gd name="T5" fmla="*/ 67 h 101"/>
                <a:gd name="T6" fmla="*/ 9 w 135"/>
                <a:gd name="T7" fmla="*/ 59 h 101"/>
                <a:gd name="T8" fmla="*/ 17 w 135"/>
                <a:gd name="T9" fmla="*/ 51 h 101"/>
                <a:gd name="T10" fmla="*/ 25 w 135"/>
                <a:gd name="T11" fmla="*/ 42 h 101"/>
                <a:gd name="T12" fmla="*/ 25 w 135"/>
                <a:gd name="T13" fmla="*/ 34 h 101"/>
                <a:gd name="T14" fmla="*/ 34 w 135"/>
                <a:gd name="T15" fmla="*/ 25 h 101"/>
                <a:gd name="T16" fmla="*/ 42 w 135"/>
                <a:gd name="T17" fmla="*/ 25 h 101"/>
                <a:gd name="T18" fmla="*/ 59 w 135"/>
                <a:gd name="T19" fmla="*/ 17 h 101"/>
                <a:gd name="T20" fmla="*/ 76 w 135"/>
                <a:gd name="T21" fmla="*/ 9 h 101"/>
                <a:gd name="T22" fmla="*/ 93 w 135"/>
                <a:gd name="T23" fmla="*/ 0 h 101"/>
                <a:gd name="T24" fmla="*/ 101 w 135"/>
                <a:gd name="T25" fmla="*/ 0 h 101"/>
                <a:gd name="T26" fmla="*/ 101 w 135"/>
                <a:gd name="T27" fmla="*/ 0 h 101"/>
                <a:gd name="T28" fmla="*/ 101 w 135"/>
                <a:gd name="T29" fmla="*/ 9 h 101"/>
                <a:gd name="T30" fmla="*/ 101 w 135"/>
                <a:gd name="T31" fmla="*/ 17 h 101"/>
                <a:gd name="T32" fmla="*/ 118 w 135"/>
                <a:gd name="T33" fmla="*/ 34 h 101"/>
                <a:gd name="T34" fmla="*/ 126 w 135"/>
                <a:gd name="T35" fmla="*/ 34 h 101"/>
                <a:gd name="T36" fmla="*/ 135 w 135"/>
                <a:gd name="T37" fmla="*/ 42 h 101"/>
                <a:gd name="T38" fmla="*/ 135 w 135"/>
                <a:gd name="T39" fmla="*/ 42 h 101"/>
                <a:gd name="T40" fmla="*/ 135 w 135"/>
                <a:gd name="T41" fmla="*/ 51 h 101"/>
                <a:gd name="T42" fmla="*/ 135 w 135"/>
                <a:gd name="T43" fmla="*/ 59 h 101"/>
                <a:gd name="T44" fmla="*/ 126 w 135"/>
                <a:gd name="T45" fmla="*/ 59 h 101"/>
                <a:gd name="T46" fmla="*/ 126 w 135"/>
                <a:gd name="T47" fmla="*/ 59 h 101"/>
                <a:gd name="T48" fmla="*/ 118 w 135"/>
                <a:gd name="T49" fmla="*/ 67 h 101"/>
                <a:gd name="T50" fmla="*/ 118 w 135"/>
                <a:gd name="T51" fmla="*/ 76 h 101"/>
                <a:gd name="T52" fmla="*/ 109 w 135"/>
                <a:gd name="T53" fmla="*/ 76 h 101"/>
                <a:gd name="T54" fmla="*/ 93 w 135"/>
                <a:gd name="T55" fmla="*/ 67 h 101"/>
                <a:gd name="T56" fmla="*/ 93 w 135"/>
                <a:gd name="T57" fmla="*/ 67 h 101"/>
                <a:gd name="T58" fmla="*/ 84 w 135"/>
                <a:gd name="T59" fmla="*/ 76 h 101"/>
                <a:gd name="T60" fmla="*/ 67 w 135"/>
                <a:gd name="T61" fmla="*/ 76 h 101"/>
                <a:gd name="T62" fmla="*/ 51 w 135"/>
                <a:gd name="T63" fmla="*/ 76 h 101"/>
                <a:gd name="T64" fmla="*/ 42 w 135"/>
                <a:gd name="T65" fmla="*/ 76 h 101"/>
                <a:gd name="T66" fmla="*/ 51 w 135"/>
                <a:gd name="T67" fmla="*/ 84 h 101"/>
                <a:gd name="T68" fmla="*/ 51 w 135"/>
                <a:gd name="T69" fmla="*/ 93 h 101"/>
                <a:gd name="T70" fmla="*/ 42 w 135"/>
                <a:gd name="T71" fmla="*/ 93 h 101"/>
                <a:gd name="T72" fmla="*/ 42 w 135"/>
                <a:gd name="T73" fmla="*/ 93 h 101"/>
                <a:gd name="T74" fmla="*/ 25 w 135"/>
                <a:gd name="T75" fmla="*/ 93 h 101"/>
                <a:gd name="T76" fmla="*/ 25 w 135"/>
                <a:gd name="T77" fmla="*/ 93 h 101"/>
                <a:gd name="T78" fmla="*/ 17 w 135"/>
                <a:gd name="T79" fmla="*/ 93 h 101"/>
                <a:gd name="T80" fmla="*/ 9 w 135"/>
                <a:gd name="T81" fmla="*/ 84 h 101"/>
                <a:gd name="T82" fmla="*/ 0 w 135"/>
                <a:gd name="T83" fmla="*/ 8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5" h="101">
                  <a:moveTo>
                    <a:pt x="0" y="84"/>
                  </a:moveTo>
                  <a:lnTo>
                    <a:pt x="9" y="76"/>
                  </a:lnTo>
                  <a:lnTo>
                    <a:pt x="0" y="76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51" y="25"/>
                  </a:lnTo>
                  <a:lnTo>
                    <a:pt x="59" y="17"/>
                  </a:lnTo>
                  <a:lnTo>
                    <a:pt x="67" y="9"/>
                  </a:lnTo>
                  <a:lnTo>
                    <a:pt x="76" y="9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6" y="42"/>
                  </a:lnTo>
                  <a:lnTo>
                    <a:pt x="126" y="34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76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51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34" y="101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Freeform 120">
              <a:extLst>
                <a:ext uri="{FF2B5EF4-FFF2-40B4-BE49-F238E27FC236}">
                  <a16:creationId xmlns:a16="http://schemas.microsoft.com/office/drawing/2014/main" id="{3D89DD7C-ADA8-40FE-91E9-EE9A3E9CC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2743" y="4681887"/>
              <a:ext cx="138162" cy="98353"/>
            </a:xfrm>
            <a:custGeom>
              <a:avLst/>
              <a:gdLst>
                <a:gd name="T0" fmla="*/ 17 w 118"/>
                <a:gd name="T1" fmla="*/ 8 h 84"/>
                <a:gd name="T2" fmla="*/ 25 w 118"/>
                <a:gd name="T3" fmla="*/ 0 h 84"/>
                <a:gd name="T4" fmla="*/ 42 w 118"/>
                <a:gd name="T5" fmla="*/ 0 h 84"/>
                <a:gd name="T6" fmla="*/ 59 w 118"/>
                <a:gd name="T7" fmla="*/ 0 h 84"/>
                <a:gd name="T8" fmla="*/ 67 w 118"/>
                <a:gd name="T9" fmla="*/ 8 h 84"/>
                <a:gd name="T10" fmla="*/ 67 w 118"/>
                <a:gd name="T11" fmla="*/ 8 h 84"/>
                <a:gd name="T12" fmla="*/ 67 w 118"/>
                <a:gd name="T13" fmla="*/ 8 h 84"/>
                <a:gd name="T14" fmla="*/ 76 w 118"/>
                <a:gd name="T15" fmla="*/ 8 h 84"/>
                <a:gd name="T16" fmla="*/ 76 w 118"/>
                <a:gd name="T17" fmla="*/ 17 h 84"/>
                <a:gd name="T18" fmla="*/ 84 w 118"/>
                <a:gd name="T19" fmla="*/ 25 h 84"/>
                <a:gd name="T20" fmla="*/ 84 w 118"/>
                <a:gd name="T21" fmla="*/ 25 h 84"/>
                <a:gd name="T22" fmla="*/ 93 w 118"/>
                <a:gd name="T23" fmla="*/ 34 h 84"/>
                <a:gd name="T24" fmla="*/ 93 w 118"/>
                <a:gd name="T25" fmla="*/ 34 h 84"/>
                <a:gd name="T26" fmla="*/ 93 w 118"/>
                <a:gd name="T27" fmla="*/ 50 h 84"/>
                <a:gd name="T28" fmla="*/ 101 w 118"/>
                <a:gd name="T29" fmla="*/ 50 h 84"/>
                <a:gd name="T30" fmla="*/ 101 w 118"/>
                <a:gd name="T31" fmla="*/ 59 h 84"/>
                <a:gd name="T32" fmla="*/ 109 w 118"/>
                <a:gd name="T33" fmla="*/ 59 h 84"/>
                <a:gd name="T34" fmla="*/ 109 w 118"/>
                <a:gd name="T35" fmla="*/ 67 h 84"/>
                <a:gd name="T36" fmla="*/ 109 w 118"/>
                <a:gd name="T37" fmla="*/ 67 h 84"/>
                <a:gd name="T38" fmla="*/ 118 w 118"/>
                <a:gd name="T39" fmla="*/ 76 h 84"/>
                <a:gd name="T40" fmla="*/ 109 w 118"/>
                <a:gd name="T41" fmla="*/ 84 h 84"/>
                <a:gd name="T42" fmla="*/ 109 w 118"/>
                <a:gd name="T43" fmla="*/ 76 h 84"/>
                <a:gd name="T44" fmla="*/ 101 w 118"/>
                <a:gd name="T45" fmla="*/ 76 h 84"/>
                <a:gd name="T46" fmla="*/ 93 w 118"/>
                <a:gd name="T47" fmla="*/ 76 h 84"/>
                <a:gd name="T48" fmla="*/ 84 w 118"/>
                <a:gd name="T49" fmla="*/ 76 h 84"/>
                <a:gd name="T50" fmla="*/ 67 w 118"/>
                <a:gd name="T51" fmla="*/ 67 h 84"/>
                <a:gd name="T52" fmla="*/ 67 w 118"/>
                <a:gd name="T53" fmla="*/ 67 h 84"/>
                <a:gd name="T54" fmla="*/ 42 w 118"/>
                <a:gd name="T55" fmla="*/ 67 h 84"/>
                <a:gd name="T56" fmla="*/ 34 w 118"/>
                <a:gd name="T57" fmla="*/ 76 h 84"/>
                <a:gd name="T58" fmla="*/ 17 w 118"/>
                <a:gd name="T59" fmla="*/ 76 h 84"/>
                <a:gd name="T60" fmla="*/ 17 w 118"/>
                <a:gd name="T61" fmla="*/ 76 h 84"/>
                <a:gd name="T62" fmla="*/ 17 w 118"/>
                <a:gd name="T63" fmla="*/ 76 h 84"/>
                <a:gd name="T64" fmla="*/ 17 w 118"/>
                <a:gd name="T65" fmla="*/ 67 h 84"/>
                <a:gd name="T66" fmla="*/ 9 w 118"/>
                <a:gd name="T67" fmla="*/ 67 h 84"/>
                <a:gd name="T68" fmla="*/ 9 w 118"/>
                <a:gd name="T69" fmla="*/ 67 h 84"/>
                <a:gd name="T70" fmla="*/ 17 w 118"/>
                <a:gd name="T71" fmla="*/ 59 h 84"/>
                <a:gd name="T72" fmla="*/ 25 w 118"/>
                <a:gd name="T73" fmla="*/ 59 h 84"/>
                <a:gd name="T74" fmla="*/ 34 w 118"/>
                <a:gd name="T75" fmla="*/ 50 h 84"/>
                <a:gd name="T76" fmla="*/ 34 w 118"/>
                <a:gd name="T77" fmla="*/ 59 h 84"/>
                <a:gd name="T78" fmla="*/ 42 w 118"/>
                <a:gd name="T79" fmla="*/ 50 h 84"/>
                <a:gd name="T80" fmla="*/ 51 w 118"/>
                <a:gd name="T81" fmla="*/ 59 h 84"/>
                <a:gd name="T82" fmla="*/ 59 w 118"/>
                <a:gd name="T83" fmla="*/ 59 h 84"/>
                <a:gd name="T84" fmla="*/ 67 w 118"/>
                <a:gd name="T85" fmla="*/ 59 h 84"/>
                <a:gd name="T86" fmla="*/ 59 w 118"/>
                <a:gd name="T87" fmla="*/ 59 h 84"/>
                <a:gd name="T88" fmla="*/ 51 w 118"/>
                <a:gd name="T89" fmla="*/ 50 h 84"/>
                <a:gd name="T90" fmla="*/ 42 w 118"/>
                <a:gd name="T91" fmla="*/ 50 h 84"/>
                <a:gd name="T92" fmla="*/ 34 w 118"/>
                <a:gd name="T93" fmla="*/ 50 h 84"/>
                <a:gd name="T94" fmla="*/ 25 w 118"/>
                <a:gd name="T95" fmla="*/ 50 h 84"/>
                <a:gd name="T96" fmla="*/ 17 w 118"/>
                <a:gd name="T97" fmla="*/ 50 h 84"/>
                <a:gd name="T98" fmla="*/ 17 w 118"/>
                <a:gd name="T99" fmla="*/ 50 h 84"/>
                <a:gd name="T100" fmla="*/ 17 w 118"/>
                <a:gd name="T101" fmla="*/ 50 h 84"/>
                <a:gd name="T102" fmla="*/ 9 w 118"/>
                <a:gd name="T103" fmla="*/ 42 h 84"/>
                <a:gd name="T104" fmla="*/ 0 w 118"/>
                <a:gd name="T105" fmla="*/ 34 h 84"/>
                <a:gd name="T106" fmla="*/ 17 w 118"/>
                <a:gd name="T107" fmla="*/ 1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84">
                  <a:moveTo>
                    <a:pt x="17" y="8"/>
                  </a:moveTo>
                  <a:lnTo>
                    <a:pt x="17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9" y="59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09" y="84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84" y="76"/>
                  </a:lnTo>
                  <a:lnTo>
                    <a:pt x="76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9" y="6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34" y="59"/>
                  </a:lnTo>
                  <a:lnTo>
                    <a:pt x="34" y="50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0"/>
                  </a:lnTo>
                  <a:lnTo>
                    <a:pt x="51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34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9" y="50"/>
                  </a:lnTo>
                  <a:lnTo>
                    <a:pt x="17" y="50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17" y="17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Freeform 121">
              <a:extLst>
                <a:ext uri="{FF2B5EF4-FFF2-40B4-BE49-F238E27FC236}">
                  <a16:creationId xmlns:a16="http://schemas.microsoft.com/office/drawing/2014/main" id="{56426C16-8038-4DDA-AC16-B7FC0DA7B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731064"/>
              <a:ext cx="67910" cy="19905"/>
            </a:xfrm>
            <a:custGeom>
              <a:avLst/>
              <a:gdLst>
                <a:gd name="T0" fmla="*/ 0 w 58"/>
                <a:gd name="T1" fmla="*/ 17 h 17"/>
                <a:gd name="T2" fmla="*/ 8 w 58"/>
                <a:gd name="T3" fmla="*/ 17 h 17"/>
                <a:gd name="T4" fmla="*/ 16 w 58"/>
                <a:gd name="T5" fmla="*/ 17 h 17"/>
                <a:gd name="T6" fmla="*/ 16 w 58"/>
                <a:gd name="T7" fmla="*/ 17 h 17"/>
                <a:gd name="T8" fmla="*/ 25 w 58"/>
                <a:gd name="T9" fmla="*/ 17 h 17"/>
                <a:gd name="T10" fmla="*/ 25 w 58"/>
                <a:gd name="T11" fmla="*/ 8 h 17"/>
                <a:gd name="T12" fmla="*/ 25 w 58"/>
                <a:gd name="T13" fmla="*/ 17 h 17"/>
                <a:gd name="T14" fmla="*/ 25 w 58"/>
                <a:gd name="T15" fmla="*/ 17 h 17"/>
                <a:gd name="T16" fmla="*/ 33 w 58"/>
                <a:gd name="T17" fmla="*/ 8 h 17"/>
                <a:gd name="T18" fmla="*/ 33 w 58"/>
                <a:gd name="T19" fmla="*/ 8 h 17"/>
                <a:gd name="T20" fmla="*/ 33 w 58"/>
                <a:gd name="T21" fmla="*/ 17 h 17"/>
                <a:gd name="T22" fmla="*/ 42 w 58"/>
                <a:gd name="T23" fmla="*/ 17 h 17"/>
                <a:gd name="T24" fmla="*/ 42 w 58"/>
                <a:gd name="T25" fmla="*/ 17 h 17"/>
                <a:gd name="T26" fmla="*/ 50 w 58"/>
                <a:gd name="T27" fmla="*/ 17 h 17"/>
                <a:gd name="T28" fmla="*/ 58 w 58"/>
                <a:gd name="T29" fmla="*/ 17 h 17"/>
                <a:gd name="T30" fmla="*/ 58 w 58"/>
                <a:gd name="T31" fmla="*/ 17 h 17"/>
                <a:gd name="T32" fmla="*/ 58 w 58"/>
                <a:gd name="T33" fmla="*/ 17 h 17"/>
                <a:gd name="T34" fmla="*/ 50 w 58"/>
                <a:gd name="T35" fmla="*/ 17 h 17"/>
                <a:gd name="T36" fmla="*/ 50 w 58"/>
                <a:gd name="T37" fmla="*/ 8 h 17"/>
                <a:gd name="T38" fmla="*/ 42 w 58"/>
                <a:gd name="T39" fmla="*/ 8 h 17"/>
                <a:gd name="T40" fmla="*/ 33 w 58"/>
                <a:gd name="T41" fmla="*/ 8 h 17"/>
                <a:gd name="T42" fmla="*/ 33 w 58"/>
                <a:gd name="T43" fmla="*/ 8 h 17"/>
                <a:gd name="T44" fmla="*/ 33 w 58"/>
                <a:gd name="T45" fmla="*/ 0 h 17"/>
                <a:gd name="T46" fmla="*/ 25 w 58"/>
                <a:gd name="T47" fmla="*/ 8 h 17"/>
                <a:gd name="T48" fmla="*/ 16 w 58"/>
                <a:gd name="T49" fmla="*/ 8 h 17"/>
                <a:gd name="T50" fmla="*/ 16 w 58"/>
                <a:gd name="T51" fmla="*/ 8 h 17"/>
                <a:gd name="T52" fmla="*/ 16 w 58"/>
                <a:gd name="T53" fmla="*/ 8 h 17"/>
                <a:gd name="T54" fmla="*/ 8 w 58"/>
                <a:gd name="T55" fmla="*/ 8 h 17"/>
                <a:gd name="T56" fmla="*/ 8 w 58"/>
                <a:gd name="T57" fmla="*/ 17 h 17"/>
                <a:gd name="T58" fmla="*/ 8 w 58"/>
                <a:gd name="T59" fmla="*/ 17 h 17"/>
                <a:gd name="T60" fmla="*/ 16 w 58"/>
                <a:gd name="T61" fmla="*/ 17 h 17"/>
                <a:gd name="T62" fmla="*/ 8 w 58"/>
                <a:gd name="T63" fmla="*/ 17 h 17"/>
                <a:gd name="T64" fmla="*/ 8 w 58"/>
                <a:gd name="T65" fmla="*/ 17 h 17"/>
                <a:gd name="T66" fmla="*/ 0 w 58"/>
                <a:gd name="T67" fmla="*/ 17 h 17"/>
                <a:gd name="T68" fmla="*/ 0 w 58"/>
                <a:gd name="T69" fmla="*/ 17 h 17"/>
                <a:gd name="T70" fmla="*/ 0 w 58"/>
                <a:gd name="T71" fmla="*/ 17 h 17"/>
                <a:gd name="T72" fmla="*/ 0 w 58"/>
                <a:gd name="T7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" h="17">
                  <a:moveTo>
                    <a:pt x="0" y="17"/>
                  </a:moveTo>
                  <a:lnTo>
                    <a:pt x="8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0" y="17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0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6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Freeform 122">
              <a:extLst>
                <a:ext uri="{FF2B5EF4-FFF2-40B4-BE49-F238E27FC236}">
                  <a16:creationId xmlns:a16="http://schemas.microsoft.com/office/drawing/2014/main" id="{A87905D5-E54E-4534-BB68-484B59F63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2648" y="4760335"/>
              <a:ext cx="58543" cy="39810"/>
            </a:xfrm>
            <a:custGeom>
              <a:avLst/>
              <a:gdLst>
                <a:gd name="T0" fmla="*/ 0 w 50"/>
                <a:gd name="T1" fmla="*/ 9 h 34"/>
                <a:gd name="T2" fmla="*/ 0 w 50"/>
                <a:gd name="T3" fmla="*/ 9 h 34"/>
                <a:gd name="T4" fmla="*/ 8 w 50"/>
                <a:gd name="T5" fmla="*/ 9 h 34"/>
                <a:gd name="T6" fmla="*/ 17 w 50"/>
                <a:gd name="T7" fmla="*/ 9 h 34"/>
                <a:gd name="T8" fmla="*/ 25 w 50"/>
                <a:gd name="T9" fmla="*/ 0 h 34"/>
                <a:gd name="T10" fmla="*/ 25 w 50"/>
                <a:gd name="T11" fmla="*/ 0 h 34"/>
                <a:gd name="T12" fmla="*/ 42 w 50"/>
                <a:gd name="T13" fmla="*/ 0 h 34"/>
                <a:gd name="T14" fmla="*/ 50 w 50"/>
                <a:gd name="T15" fmla="*/ 0 h 34"/>
                <a:gd name="T16" fmla="*/ 50 w 50"/>
                <a:gd name="T17" fmla="*/ 9 h 34"/>
                <a:gd name="T18" fmla="*/ 50 w 50"/>
                <a:gd name="T19" fmla="*/ 9 h 34"/>
                <a:gd name="T20" fmla="*/ 50 w 50"/>
                <a:gd name="T21" fmla="*/ 17 h 34"/>
                <a:gd name="T22" fmla="*/ 50 w 50"/>
                <a:gd name="T23" fmla="*/ 17 h 34"/>
                <a:gd name="T24" fmla="*/ 50 w 50"/>
                <a:gd name="T25" fmla="*/ 25 h 34"/>
                <a:gd name="T26" fmla="*/ 50 w 50"/>
                <a:gd name="T27" fmla="*/ 25 h 34"/>
                <a:gd name="T28" fmla="*/ 42 w 50"/>
                <a:gd name="T29" fmla="*/ 25 h 34"/>
                <a:gd name="T30" fmla="*/ 34 w 50"/>
                <a:gd name="T31" fmla="*/ 25 h 34"/>
                <a:gd name="T32" fmla="*/ 34 w 50"/>
                <a:gd name="T33" fmla="*/ 25 h 34"/>
                <a:gd name="T34" fmla="*/ 34 w 50"/>
                <a:gd name="T35" fmla="*/ 34 h 34"/>
                <a:gd name="T36" fmla="*/ 25 w 50"/>
                <a:gd name="T37" fmla="*/ 34 h 34"/>
                <a:gd name="T38" fmla="*/ 25 w 50"/>
                <a:gd name="T39" fmla="*/ 34 h 34"/>
                <a:gd name="T40" fmla="*/ 25 w 50"/>
                <a:gd name="T41" fmla="*/ 34 h 34"/>
                <a:gd name="T42" fmla="*/ 17 w 50"/>
                <a:gd name="T43" fmla="*/ 34 h 34"/>
                <a:gd name="T44" fmla="*/ 25 w 50"/>
                <a:gd name="T45" fmla="*/ 25 h 34"/>
                <a:gd name="T46" fmla="*/ 17 w 50"/>
                <a:gd name="T47" fmla="*/ 25 h 34"/>
                <a:gd name="T48" fmla="*/ 25 w 50"/>
                <a:gd name="T49" fmla="*/ 25 h 34"/>
                <a:gd name="T50" fmla="*/ 17 w 50"/>
                <a:gd name="T51" fmla="*/ 25 h 34"/>
                <a:gd name="T52" fmla="*/ 17 w 50"/>
                <a:gd name="T53" fmla="*/ 25 h 34"/>
                <a:gd name="T54" fmla="*/ 17 w 50"/>
                <a:gd name="T55" fmla="*/ 25 h 34"/>
                <a:gd name="T56" fmla="*/ 25 w 50"/>
                <a:gd name="T57" fmla="*/ 17 h 34"/>
                <a:gd name="T58" fmla="*/ 25 w 50"/>
                <a:gd name="T59" fmla="*/ 17 h 34"/>
                <a:gd name="T60" fmla="*/ 25 w 50"/>
                <a:gd name="T61" fmla="*/ 17 h 34"/>
                <a:gd name="T62" fmla="*/ 17 w 50"/>
                <a:gd name="T63" fmla="*/ 17 h 34"/>
                <a:gd name="T64" fmla="*/ 17 w 50"/>
                <a:gd name="T65" fmla="*/ 17 h 34"/>
                <a:gd name="T66" fmla="*/ 8 w 50"/>
                <a:gd name="T67" fmla="*/ 17 h 34"/>
                <a:gd name="T68" fmla="*/ 8 w 50"/>
                <a:gd name="T69" fmla="*/ 17 h 34"/>
                <a:gd name="T70" fmla="*/ 8 w 50"/>
                <a:gd name="T71" fmla="*/ 17 h 34"/>
                <a:gd name="T72" fmla="*/ 0 w 50"/>
                <a:gd name="T73" fmla="*/ 17 h 34"/>
                <a:gd name="T74" fmla="*/ 8 w 50"/>
                <a:gd name="T75" fmla="*/ 9 h 34"/>
                <a:gd name="T76" fmla="*/ 0 w 50"/>
                <a:gd name="T77" fmla="*/ 9 h 34"/>
                <a:gd name="T78" fmla="*/ 0 w 50"/>
                <a:gd name="T79" fmla="*/ 9 h 34"/>
                <a:gd name="T80" fmla="*/ 0 w 50"/>
                <a:gd name="T81" fmla="*/ 9 h 34"/>
                <a:gd name="T82" fmla="*/ 0 w 50"/>
                <a:gd name="T83" fmla="*/ 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" h="34">
                  <a:moveTo>
                    <a:pt x="0" y="9"/>
                  </a:moveTo>
                  <a:lnTo>
                    <a:pt x="0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8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Freeform 123">
              <a:extLst>
                <a:ext uri="{FF2B5EF4-FFF2-40B4-BE49-F238E27FC236}">
                  <a16:creationId xmlns:a16="http://schemas.microsoft.com/office/drawing/2014/main" id="{8B1456ED-1829-41D1-8495-389883503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457" y="4760335"/>
              <a:ext cx="136991" cy="147529"/>
            </a:xfrm>
            <a:custGeom>
              <a:avLst/>
              <a:gdLst>
                <a:gd name="T0" fmla="*/ 0 w 117"/>
                <a:gd name="T1" fmla="*/ 25 h 126"/>
                <a:gd name="T2" fmla="*/ 8 w 117"/>
                <a:gd name="T3" fmla="*/ 25 h 126"/>
                <a:gd name="T4" fmla="*/ 16 w 117"/>
                <a:gd name="T5" fmla="*/ 25 h 126"/>
                <a:gd name="T6" fmla="*/ 16 w 117"/>
                <a:gd name="T7" fmla="*/ 17 h 126"/>
                <a:gd name="T8" fmla="*/ 16 w 117"/>
                <a:gd name="T9" fmla="*/ 9 h 126"/>
                <a:gd name="T10" fmla="*/ 16 w 117"/>
                <a:gd name="T11" fmla="*/ 0 h 126"/>
                <a:gd name="T12" fmla="*/ 33 w 117"/>
                <a:gd name="T13" fmla="*/ 9 h 126"/>
                <a:gd name="T14" fmla="*/ 42 w 117"/>
                <a:gd name="T15" fmla="*/ 9 h 126"/>
                <a:gd name="T16" fmla="*/ 50 w 117"/>
                <a:gd name="T17" fmla="*/ 9 h 126"/>
                <a:gd name="T18" fmla="*/ 58 w 117"/>
                <a:gd name="T19" fmla="*/ 9 h 126"/>
                <a:gd name="T20" fmla="*/ 58 w 117"/>
                <a:gd name="T21" fmla="*/ 17 h 126"/>
                <a:gd name="T22" fmla="*/ 67 w 117"/>
                <a:gd name="T23" fmla="*/ 17 h 126"/>
                <a:gd name="T24" fmla="*/ 75 w 117"/>
                <a:gd name="T25" fmla="*/ 17 h 126"/>
                <a:gd name="T26" fmla="*/ 84 w 117"/>
                <a:gd name="T27" fmla="*/ 17 h 126"/>
                <a:gd name="T28" fmla="*/ 84 w 117"/>
                <a:gd name="T29" fmla="*/ 9 h 126"/>
                <a:gd name="T30" fmla="*/ 92 w 117"/>
                <a:gd name="T31" fmla="*/ 9 h 126"/>
                <a:gd name="T32" fmla="*/ 100 w 117"/>
                <a:gd name="T33" fmla="*/ 9 h 126"/>
                <a:gd name="T34" fmla="*/ 109 w 117"/>
                <a:gd name="T35" fmla="*/ 17 h 126"/>
                <a:gd name="T36" fmla="*/ 109 w 117"/>
                <a:gd name="T37" fmla="*/ 25 h 126"/>
                <a:gd name="T38" fmla="*/ 109 w 117"/>
                <a:gd name="T39" fmla="*/ 25 h 126"/>
                <a:gd name="T40" fmla="*/ 109 w 117"/>
                <a:gd name="T41" fmla="*/ 34 h 126"/>
                <a:gd name="T42" fmla="*/ 109 w 117"/>
                <a:gd name="T43" fmla="*/ 34 h 126"/>
                <a:gd name="T44" fmla="*/ 117 w 117"/>
                <a:gd name="T45" fmla="*/ 34 h 126"/>
                <a:gd name="T46" fmla="*/ 117 w 117"/>
                <a:gd name="T47" fmla="*/ 42 h 126"/>
                <a:gd name="T48" fmla="*/ 117 w 117"/>
                <a:gd name="T49" fmla="*/ 42 h 126"/>
                <a:gd name="T50" fmla="*/ 117 w 117"/>
                <a:gd name="T51" fmla="*/ 42 h 126"/>
                <a:gd name="T52" fmla="*/ 117 w 117"/>
                <a:gd name="T53" fmla="*/ 51 h 126"/>
                <a:gd name="T54" fmla="*/ 117 w 117"/>
                <a:gd name="T55" fmla="*/ 51 h 126"/>
                <a:gd name="T56" fmla="*/ 117 w 117"/>
                <a:gd name="T57" fmla="*/ 59 h 126"/>
                <a:gd name="T58" fmla="*/ 117 w 117"/>
                <a:gd name="T59" fmla="*/ 67 h 126"/>
                <a:gd name="T60" fmla="*/ 117 w 117"/>
                <a:gd name="T61" fmla="*/ 76 h 126"/>
                <a:gd name="T62" fmla="*/ 117 w 117"/>
                <a:gd name="T63" fmla="*/ 76 h 126"/>
                <a:gd name="T64" fmla="*/ 117 w 117"/>
                <a:gd name="T65" fmla="*/ 84 h 126"/>
                <a:gd name="T66" fmla="*/ 117 w 117"/>
                <a:gd name="T67" fmla="*/ 93 h 126"/>
                <a:gd name="T68" fmla="*/ 109 w 117"/>
                <a:gd name="T69" fmla="*/ 101 h 126"/>
                <a:gd name="T70" fmla="*/ 109 w 117"/>
                <a:gd name="T71" fmla="*/ 110 h 126"/>
                <a:gd name="T72" fmla="*/ 109 w 117"/>
                <a:gd name="T73" fmla="*/ 118 h 126"/>
                <a:gd name="T74" fmla="*/ 75 w 117"/>
                <a:gd name="T75" fmla="*/ 126 h 126"/>
                <a:gd name="T76" fmla="*/ 67 w 117"/>
                <a:gd name="T77" fmla="*/ 118 h 126"/>
                <a:gd name="T78" fmla="*/ 58 w 117"/>
                <a:gd name="T79" fmla="*/ 110 h 126"/>
                <a:gd name="T80" fmla="*/ 58 w 117"/>
                <a:gd name="T81" fmla="*/ 110 h 126"/>
                <a:gd name="T82" fmla="*/ 75 w 117"/>
                <a:gd name="T83" fmla="*/ 84 h 126"/>
                <a:gd name="T84" fmla="*/ 67 w 117"/>
                <a:gd name="T85" fmla="*/ 76 h 126"/>
                <a:gd name="T86" fmla="*/ 75 w 117"/>
                <a:gd name="T87" fmla="*/ 76 h 126"/>
                <a:gd name="T88" fmla="*/ 67 w 117"/>
                <a:gd name="T89" fmla="*/ 67 h 126"/>
                <a:gd name="T90" fmla="*/ 67 w 117"/>
                <a:gd name="T91" fmla="*/ 59 h 126"/>
                <a:gd name="T92" fmla="*/ 58 w 117"/>
                <a:gd name="T93" fmla="*/ 51 h 126"/>
                <a:gd name="T94" fmla="*/ 42 w 117"/>
                <a:gd name="T95" fmla="*/ 51 h 126"/>
                <a:gd name="T96" fmla="*/ 33 w 117"/>
                <a:gd name="T97" fmla="*/ 59 h 126"/>
                <a:gd name="T98" fmla="*/ 25 w 117"/>
                <a:gd name="T99" fmla="*/ 67 h 126"/>
                <a:gd name="T100" fmla="*/ 25 w 117"/>
                <a:gd name="T101" fmla="*/ 59 h 126"/>
                <a:gd name="T102" fmla="*/ 16 w 117"/>
                <a:gd name="T103" fmla="*/ 51 h 126"/>
                <a:gd name="T104" fmla="*/ 8 w 117"/>
                <a:gd name="T105" fmla="*/ 51 h 126"/>
                <a:gd name="T106" fmla="*/ 16 w 117"/>
                <a:gd name="T107" fmla="*/ 51 h 126"/>
                <a:gd name="T108" fmla="*/ 8 w 117"/>
                <a:gd name="T109" fmla="*/ 51 h 126"/>
                <a:gd name="T110" fmla="*/ 0 w 117"/>
                <a:gd name="T111" fmla="*/ 51 h 126"/>
                <a:gd name="T112" fmla="*/ 0 w 117"/>
                <a:gd name="T113" fmla="*/ 34 h 126"/>
                <a:gd name="T114" fmla="*/ 0 w 117"/>
                <a:gd name="T115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7" h="126">
                  <a:moveTo>
                    <a:pt x="0" y="34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75" y="126"/>
                  </a:lnTo>
                  <a:lnTo>
                    <a:pt x="75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58" y="110"/>
                  </a:lnTo>
                  <a:lnTo>
                    <a:pt x="67" y="110"/>
                  </a:lnTo>
                  <a:lnTo>
                    <a:pt x="58" y="110"/>
                  </a:lnTo>
                  <a:lnTo>
                    <a:pt x="67" y="101"/>
                  </a:lnTo>
                  <a:lnTo>
                    <a:pt x="75" y="84"/>
                  </a:lnTo>
                  <a:lnTo>
                    <a:pt x="75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75" y="76"/>
                  </a:lnTo>
                  <a:lnTo>
                    <a:pt x="75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1"/>
                  </a:lnTo>
                  <a:lnTo>
                    <a:pt x="58" y="51"/>
                  </a:lnTo>
                  <a:lnTo>
                    <a:pt x="5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16" y="59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Freeform 124">
              <a:extLst>
                <a:ext uri="{FF2B5EF4-FFF2-40B4-BE49-F238E27FC236}">
                  <a16:creationId xmlns:a16="http://schemas.microsoft.com/office/drawing/2014/main" id="{2D5E5D3E-A244-41F2-818E-001987099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1729" y="4820049"/>
              <a:ext cx="58543" cy="69081"/>
            </a:xfrm>
            <a:custGeom>
              <a:avLst/>
              <a:gdLst>
                <a:gd name="T0" fmla="*/ 8 w 50"/>
                <a:gd name="T1" fmla="*/ 50 h 59"/>
                <a:gd name="T2" fmla="*/ 8 w 50"/>
                <a:gd name="T3" fmla="*/ 50 h 59"/>
                <a:gd name="T4" fmla="*/ 8 w 50"/>
                <a:gd name="T5" fmla="*/ 50 h 59"/>
                <a:gd name="T6" fmla="*/ 8 w 50"/>
                <a:gd name="T7" fmla="*/ 42 h 59"/>
                <a:gd name="T8" fmla="*/ 8 w 50"/>
                <a:gd name="T9" fmla="*/ 50 h 59"/>
                <a:gd name="T10" fmla="*/ 8 w 50"/>
                <a:gd name="T11" fmla="*/ 50 h 59"/>
                <a:gd name="T12" fmla="*/ 8 w 50"/>
                <a:gd name="T13" fmla="*/ 50 h 59"/>
                <a:gd name="T14" fmla="*/ 8 w 50"/>
                <a:gd name="T15" fmla="*/ 50 h 59"/>
                <a:gd name="T16" fmla="*/ 8 w 50"/>
                <a:gd name="T17" fmla="*/ 50 h 59"/>
                <a:gd name="T18" fmla="*/ 0 w 50"/>
                <a:gd name="T19" fmla="*/ 16 h 59"/>
                <a:gd name="T20" fmla="*/ 0 w 50"/>
                <a:gd name="T21" fmla="*/ 16 h 59"/>
                <a:gd name="T22" fmla="*/ 8 w 50"/>
                <a:gd name="T23" fmla="*/ 8 h 59"/>
                <a:gd name="T24" fmla="*/ 8 w 50"/>
                <a:gd name="T25" fmla="*/ 8 h 59"/>
                <a:gd name="T26" fmla="*/ 17 w 50"/>
                <a:gd name="T27" fmla="*/ 0 h 59"/>
                <a:gd name="T28" fmla="*/ 17 w 50"/>
                <a:gd name="T29" fmla="*/ 0 h 59"/>
                <a:gd name="T30" fmla="*/ 25 w 50"/>
                <a:gd name="T31" fmla="*/ 0 h 59"/>
                <a:gd name="T32" fmla="*/ 33 w 50"/>
                <a:gd name="T33" fmla="*/ 0 h 59"/>
                <a:gd name="T34" fmla="*/ 42 w 50"/>
                <a:gd name="T35" fmla="*/ 0 h 59"/>
                <a:gd name="T36" fmla="*/ 42 w 50"/>
                <a:gd name="T37" fmla="*/ 8 h 59"/>
                <a:gd name="T38" fmla="*/ 42 w 50"/>
                <a:gd name="T39" fmla="*/ 16 h 59"/>
                <a:gd name="T40" fmla="*/ 42 w 50"/>
                <a:gd name="T41" fmla="*/ 16 h 59"/>
                <a:gd name="T42" fmla="*/ 50 w 50"/>
                <a:gd name="T43" fmla="*/ 16 h 59"/>
                <a:gd name="T44" fmla="*/ 50 w 50"/>
                <a:gd name="T45" fmla="*/ 25 h 59"/>
                <a:gd name="T46" fmla="*/ 42 w 50"/>
                <a:gd name="T47" fmla="*/ 25 h 59"/>
                <a:gd name="T48" fmla="*/ 42 w 50"/>
                <a:gd name="T49" fmla="*/ 25 h 59"/>
                <a:gd name="T50" fmla="*/ 50 w 50"/>
                <a:gd name="T51" fmla="*/ 25 h 59"/>
                <a:gd name="T52" fmla="*/ 50 w 50"/>
                <a:gd name="T53" fmla="*/ 33 h 59"/>
                <a:gd name="T54" fmla="*/ 42 w 50"/>
                <a:gd name="T55" fmla="*/ 50 h 59"/>
                <a:gd name="T56" fmla="*/ 33 w 50"/>
                <a:gd name="T57" fmla="*/ 59 h 59"/>
                <a:gd name="T58" fmla="*/ 33 w 50"/>
                <a:gd name="T59" fmla="*/ 59 h 59"/>
                <a:gd name="T60" fmla="*/ 25 w 50"/>
                <a:gd name="T61" fmla="*/ 59 h 59"/>
                <a:gd name="T62" fmla="*/ 17 w 50"/>
                <a:gd name="T63" fmla="*/ 50 h 59"/>
                <a:gd name="T64" fmla="*/ 17 w 50"/>
                <a:gd name="T65" fmla="*/ 50 h 59"/>
                <a:gd name="T66" fmla="*/ 17 w 50"/>
                <a:gd name="T67" fmla="*/ 50 h 59"/>
                <a:gd name="T68" fmla="*/ 17 w 50"/>
                <a:gd name="T69" fmla="*/ 50 h 59"/>
                <a:gd name="T70" fmla="*/ 8 w 50"/>
                <a:gd name="T71" fmla="*/ 42 h 59"/>
                <a:gd name="T72" fmla="*/ 17 w 50"/>
                <a:gd name="T73" fmla="*/ 42 h 59"/>
                <a:gd name="T74" fmla="*/ 17 w 50"/>
                <a:gd name="T75" fmla="*/ 42 h 59"/>
                <a:gd name="T76" fmla="*/ 8 w 50"/>
                <a:gd name="T77" fmla="*/ 42 h 59"/>
                <a:gd name="T78" fmla="*/ 8 w 50"/>
                <a:gd name="T79" fmla="*/ 42 h 59"/>
                <a:gd name="T80" fmla="*/ 8 w 50"/>
                <a:gd name="T81" fmla="*/ 33 h 59"/>
                <a:gd name="T82" fmla="*/ 0 w 50"/>
                <a:gd name="T83" fmla="*/ 25 h 59"/>
                <a:gd name="T84" fmla="*/ 0 w 50"/>
                <a:gd name="T85" fmla="*/ 25 h 59"/>
                <a:gd name="T86" fmla="*/ 0 w 50"/>
                <a:gd name="T87" fmla="*/ 25 h 59"/>
                <a:gd name="T88" fmla="*/ 0 w 50"/>
                <a:gd name="T89" fmla="*/ 25 h 59"/>
                <a:gd name="T90" fmla="*/ 0 w 50"/>
                <a:gd name="T91" fmla="*/ 16 h 59"/>
                <a:gd name="T92" fmla="*/ 0 w 50"/>
                <a:gd name="T93" fmla="*/ 16 h 59"/>
                <a:gd name="T94" fmla="*/ 0 w 50"/>
                <a:gd name="T95" fmla="*/ 16 h 59"/>
                <a:gd name="T96" fmla="*/ 0 w 50"/>
                <a:gd name="T97" fmla="*/ 1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" h="59">
                  <a:moveTo>
                    <a:pt x="8" y="50"/>
                  </a:move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42" y="50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5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5" name="Freeform 125">
              <a:extLst>
                <a:ext uri="{FF2B5EF4-FFF2-40B4-BE49-F238E27FC236}">
                  <a16:creationId xmlns:a16="http://schemas.microsoft.com/office/drawing/2014/main" id="{978AC725-CACE-43EF-8200-059ACEFB4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368" y="4849321"/>
              <a:ext cx="79619" cy="88986"/>
            </a:xfrm>
            <a:custGeom>
              <a:avLst/>
              <a:gdLst>
                <a:gd name="T0" fmla="*/ 0 w 68"/>
                <a:gd name="T1" fmla="*/ 34 h 76"/>
                <a:gd name="T2" fmla="*/ 0 w 68"/>
                <a:gd name="T3" fmla="*/ 34 h 76"/>
                <a:gd name="T4" fmla="*/ 0 w 68"/>
                <a:gd name="T5" fmla="*/ 25 h 76"/>
                <a:gd name="T6" fmla="*/ 0 w 68"/>
                <a:gd name="T7" fmla="*/ 25 h 76"/>
                <a:gd name="T8" fmla="*/ 9 w 68"/>
                <a:gd name="T9" fmla="*/ 17 h 76"/>
                <a:gd name="T10" fmla="*/ 9 w 68"/>
                <a:gd name="T11" fmla="*/ 17 h 76"/>
                <a:gd name="T12" fmla="*/ 9 w 68"/>
                <a:gd name="T13" fmla="*/ 8 h 76"/>
                <a:gd name="T14" fmla="*/ 9 w 68"/>
                <a:gd name="T15" fmla="*/ 8 h 76"/>
                <a:gd name="T16" fmla="*/ 9 w 68"/>
                <a:gd name="T17" fmla="*/ 8 h 76"/>
                <a:gd name="T18" fmla="*/ 9 w 68"/>
                <a:gd name="T19" fmla="*/ 8 h 76"/>
                <a:gd name="T20" fmla="*/ 17 w 68"/>
                <a:gd name="T21" fmla="*/ 0 h 76"/>
                <a:gd name="T22" fmla="*/ 17 w 68"/>
                <a:gd name="T23" fmla="*/ 0 h 76"/>
                <a:gd name="T24" fmla="*/ 26 w 68"/>
                <a:gd name="T25" fmla="*/ 0 h 76"/>
                <a:gd name="T26" fmla="*/ 26 w 68"/>
                <a:gd name="T27" fmla="*/ 0 h 76"/>
                <a:gd name="T28" fmla="*/ 34 w 68"/>
                <a:gd name="T29" fmla="*/ 8 h 76"/>
                <a:gd name="T30" fmla="*/ 34 w 68"/>
                <a:gd name="T31" fmla="*/ 8 h 76"/>
                <a:gd name="T32" fmla="*/ 34 w 68"/>
                <a:gd name="T33" fmla="*/ 17 h 76"/>
                <a:gd name="T34" fmla="*/ 34 w 68"/>
                <a:gd name="T35" fmla="*/ 17 h 76"/>
                <a:gd name="T36" fmla="*/ 42 w 68"/>
                <a:gd name="T37" fmla="*/ 25 h 76"/>
                <a:gd name="T38" fmla="*/ 42 w 68"/>
                <a:gd name="T39" fmla="*/ 25 h 76"/>
                <a:gd name="T40" fmla="*/ 42 w 68"/>
                <a:gd name="T41" fmla="*/ 17 h 76"/>
                <a:gd name="T42" fmla="*/ 51 w 68"/>
                <a:gd name="T43" fmla="*/ 17 h 76"/>
                <a:gd name="T44" fmla="*/ 51 w 68"/>
                <a:gd name="T45" fmla="*/ 25 h 76"/>
                <a:gd name="T46" fmla="*/ 51 w 68"/>
                <a:gd name="T47" fmla="*/ 25 h 76"/>
                <a:gd name="T48" fmla="*/ 51 w 68"/>
                <a:gd name="T49" fmla="*/ 25 h 76"/>
                <a:gd name="T50" fmla="*/ 51 w 68"/>
                <a:gd name="T51" fmla="*/ 34 h 76"/>
                <a:gd name="T52" fmla="*/ 51 w 68"/>
                <a:gd name="T53" fmla="*/ 34 h 76"/>
                <a:gd name="T54" fmla="*/ 51 w 68"/>
                <a:gd name="T55" fmla="*/ 42 h 76"/>
                <a:gd name="T56" fmla="*/ 51 w 68"/>
                <a:gd name="T57" fmla="*/ 42 h 76"/>
                <a:gd name="T58" fmla="*/ 51 w 68"/>
                <a:gd name="T59" fmla="*/ 42 h 76"/>
                <a:gd name="T60" fmla="*/ 51 w 68"/>
                <a:gd name="T61" fmla="*/ 42 h 76"/>
                <a:gd name="T62" fmla="*/ 51 w 68"/>
                <a:gd name="T63" fmla="*/ 42 h 76"/>
                <a:gd name="T64" fmla="*/ 59 w 68"/>
                <a:gd name="T65" fmla="*/ 42 h 76"/>
                <a:gd name="T66" fmla="*/ 59 w 68"/>
                <a:gd name="T67" fmla="*/ 42 h 76"/>
                <a:gd name="T68" fmla="*/ 59 w 68"/>
                <a:gd name="T69" fmla="*/ 42 h 76"/>
                <a:gd name="T70" fmla="*/ 59 w 68"/>
                <a:gd name="T71" fmla="*/ 50 h 76"/>
                <a:gd name="T72" fmla="*/ 68 w 68"/>
                <a:gd name="T73" fmla="*/ 50 h 76"/>
                <a:gd name="T74" fmla="*/ 68 w 68"/>
                <a:gd name="T75" fmla="*/ 50 h 76"/>
                <a:gd name="T76" fmla="*/ 68 w 68"/>
                <a:gd name="T77" fmla="*/ 50 h 76"/>
                <a:gd name="T78" fmla="*/ 68 w 68"/>
                <a:gd name="T79" fmla="*/ 59 h 76"/>
                <a:gd name="T80" fmla="*/ 68 w 68"/>
                <a:gd name="T81" fmla="*/ 59 h 76"/>
                <a:gd name="T82" fmla="*/ 68 w 68"/>
                <a:gd name="T83" fmla="*/ 59 h 76"/>
                <a:gd name="T84" fmla="*/ 68 w 68"/>
                <a:gd name="T85" fmla="*/ 67 h 76"/>
                <a:gd name="T86" fmla="*/ 68 w 68"/>
                <a:gd name="T87" fmla="*/ 67 h 76"/>
                <a:gd name="T88" fmla="*/ 68 w 68"/>
                <a:gd name="T89" fmla="*/ 67 h 76"/>
                <a:gd name="T90" fmla="*/ 68 w 68"/>
                <a:gd name="T91" fmla="*/ 76 h 76"/>
                <a:gd name="T92" fmla="*/ 68 w 68"/>
                <a:gd name="T93" fmla="*/ 76 h 76"/>
                <a:gd name="T94" fmla="*/ 51 w 68"/>
                <a:gd name="T95" fmla="*/ 67 h 76"/>
                <a:gd name="T96" fmla="*/ 34 w 68"/>
                <a:gd name="T97" fmla="*/ 59 h 76"/>
                <a:gd name="T98" fmla="*/ 34 w 68"/>
                <a:gd name="T99" fmla="*/ 59 h 76"/>
                <a:gd name="T100" fmla="*/ 17 w 68"/>
                <a:gd name="T101" fmla="*/ 50 h 76"/>
                <a:gd name="T102" fmla="*/ 17 w 68"/>
                <a:gd name="T103" fmla="*/ 42 h 76"/>
                <a:gd name="T104" fmla="*/ 9 w 68"/>
                <a:gd name="T105" fmla="*/ 42 h 76"/>
                <a:gd name="T106" fmla="*/ 9 w 68"/>
                <a:gd name="T107" fmla="*/ 42 h 76"/>
                <a:gd name="T108" fmla="*/ 0 w 68"/>
                <a:gd name="T109" fmla="*/ 34 h 76"/>
                <a:gd name="T110" fmla="*/ 9 w 68"/>
                <a:gd name="T111" fmla="*/ 34 h 76"/>
                <a:gd name="T112" fmla="*/ 0 w 68"/>
                <a:gd name="T113" fmla="*/ 34 h 76"/>
                <a:gd name="T114" fmla="*/ 0 w 68"/>
                <a:gd name="T115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8" h="76">
                  <a:moveTo>
                    <a:pt x="0" y="34"/>
                  </a:moveTo>
                  <a:lnTo>
                    <a:pt x="0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51" y="67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17" y="50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6" name="Freeform 126">
              <a:extLst>
                <a:ext uri="{FF2B5EF4-FFF2-40B4-BE49-F238E27FC236}">
                  <a16:creationId xmlns:a16="http://schemas.microsoft.com/office/drawing/2014/main" id="{64549F98-4D3E-4C8D-82B5-4C638771A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082" y="4809512"/>
              <a:ext cx="127624" cy="128795"/>
            </a:xfrm>
            <a:custGeom>
              <a:avLst/>
              <a:gdLst>
                <a:gd name="T0" fmla="*/ 17 w 109"/>
                <a:gd name="T1" fmla="*/ 110 h 110"/>
                <a:gd name="T2" fmla="*/ 17 w 109"/>
                <a:gd name="T3" fmla="*/ 101 h 110"/>
                <a:gd name="T4" fmla="*/ 17 w 109"/>
                <a:gd name="T5" fmla="*/ 93 h 110"/>
                <a:gd name="T6" fmla="*/ 17 w 109"/>
                <a:gd name="T7" fmla="*/ 93 h 110"/>
                <a:gd name="T8" fmla="*/ 17 w 109"/>
                <a:gd name="T9" fmla="*/ 84 h 110"/>
                <a:gd name="T10" fmla="*/ 8 w 109"/>
                <a:gd name="T11" fmla="*/ 84 h 110"/>
                <a:gd name="T12" fmla="*/ 8 w 109"/>
                <a:gd name="T13" fmla="*/ 76 h 110"/>
                <a:gd name="T14" fmla="*/ 0 w 109"/>
                <a:gd name="T15" fmla="*/ 76 h 110"/>
                <a:gd name="T16" fmla="*/ 0 w 109"/>
                <a:gd name="T17" fmla="*/ 76 h 110"/>
                <a:gd name="T18" fmla="*/ 0 w 109"/>
                <a:gd name="T19" fmla="*/ 76 h 110"/>
                <a:gd name="T20" fmla="*/ 0 w 109"/>
                <a:gd name="T21" fmla="*/ 68 h 110"/>
                <a:gd name="T22" fmla="*/ 0 w 109"/>
                <a:gd name="T23" fmla="*/ 59 h 110"/>
                <a:gd name="T24" fmla="*/ 8 w 109"/>
                <a:gd name="T25" fmla="*/ 51 h 110"/>
                <a:gd name="T26" fmla="*/ 8 w 109"/>
                <a:gd name="T27" fmla="*/ 42 h 110"/>
                <a:gd name="T28" fmla="*/ 8 w 109"/>
                <a:gd name="T29" fmla="*/ 34 h 110"/>
                <a:gd name="T30" fmla="*/ 8 w 109"/>
                <a:gd name="T31" fmla="*/ 34 h 110"/>
                <a:gd name="T32" fmla="*/ 8 w 109"/>
                <a:gd name="T33" fmla="*/ 25 h 110"/>
                <a:gd name="T34" fmla="*/ 8 w 109"/>
                <a:gd name="T35" fmla="*/ 17 h 110"/>
                <a:gd name="T36" fmla="*/ 8 w 109"/>
                <a:gd name="T37" fmla="*/ 9 h 110"/>
                <a:gd name="T38" fmla="*/ 8 w 109"/>
                <a:gd name="T39" fmla="*/ 9 h 110"/>
                <a:gd name="T40" fmla="*/ 17 w 109"/>
                <a:gd name="T41" fmla="*/ 0 h 110"/>
                <a:gd name="T42" fmla="*/ 25 w 109"/>
                <a:gd name="T43" fmla="*/ 0 h 110"/>
                <a:gd name="T44" fmla="*/ 33 w 109"/>
                <a:gd name="T45" fmla="*/ 0 h 110"/>
                <a:gd name="T46" fmla="*/ 42 w 109"/>
                <a:gd name="T47" fmla="*/ 0 h 110"/>
                <a:gd name="T48" fmla="*/ 42 w 109"/>
                <a:gd name="T49" fmla="*/ 0 h 110"/>
                <a:gd name="T50" fmla="*/ 50 w 109"/>
                <a:gd name="T51" fmla="*/ 0 h 110"/>
                <a:gd name="T52" fmla="*/ 59 w 109"/>
                <a:gd name="T53" fmla="*/ 0 h 110"/>
                <a:gd name="T54" fmla="*/ 67 w 109"/>
                <a:gd name="T55" fmla="*/ 9 h 110"/>
                <a:gd name="T56" fmla="*/ 67 w 109"/>
                <a:gd name="T57" fmla="*/ 9 h 110"/>
                <a:gd name="T58" fmla="*/ 75 w 109"/>
                <a:gd name="T59" fmla="*/ 9 h 110"/>
                <a:gd name="T60" fmla="*/ 84 w 109"/>
                <a:gd name="T61" fmla="*/ 17 h 110"/>
                <a:gd name="T62" fmla="*/ 92 w 109"/>
                <a:gd name="T63" fmla="*/ 9 h 110"/>
                <a:gd name="T64" fmla="*/ 101 w 109"/>
                <a:gd name="T65" fmla="*/ 9 h 110"/>
                <a:gd name="T66" fmla="*/ 101 w 109"/>
                <a:gd name="T67" fmla="*/ 17 h 110"/>
                <a:gd name="T68" fmla="*/ 101 w 109"/>
                <a:gd name="T69" fmla="*/ 25 h 110"/>
                <a:gd name="T70" fmla="*/ 101 w 109"/>
                <a:gd name="T71" fmla="*/ 25 h 110"/>
                <a:gd name="T72" fmla="*/ 101 w 109"/>
                <a:gd name="T73" fmla="*/ 34 h 110"/>
                <a:gd name="T74" fmla="*/ 101 w 109"/>
                <a:gd name="T75" fmla="*/ 42 h 110"/>
                <a:gd name="T76" fmla="*/ 92 w 109"/>
                <a:gd name="T77" fmla="*/ 51 h 110"/>
                <a:gd name="T78" fmla="*/ 92 w 109"/>
                <a:gd name="T79" fmla="*/ 59 h 110"/>
                <a:gd name="T80" fmla="*/ 92 w 109"/>
                <a:gd name="T81" fmla="*/ 68 h 110"/>
                <a:gd name="T82" fmla="*/ 92 w 109"/>
                <a:gd name="T83" fmla="*/ 76 h 110"/>
                <a:gd name="T84" fmla="*/ 92 w 109"/>
                <a:gd name="T85" fmla="*/ 84 h 110"/>
                <a:gd name="T86" fmla="*/ 101 w 109"/>
                <a:gd name="T87" fmla="*/ 84 h 110"/>
                <a:gd name="T88" fmla="*/ 101 w 109"/>
                <a:gd name="T89" fmla="*/ 93 h 110"/>
                <a:gd name="T90" fmla="*/ 92 w 109"/>
                <a:gd name="T91" fmla="*/ 93 h 110"/>
                <a:gd name="T92" fmla="*/ 92 w 109"/>
                <a:gd name="T93" fmla="*/ 93 h 110"/>
                <a:gd name="T94" fmla="*/ 84 w 109"/>
                <a:gd name="T95" fmla="*/ 101 h 110"/>
                <a:gd name="T96" fmla="*/ 67 w 109"/>
                <a:gd name="T97" fmla="*/ 101 h 110"/>
                <a:gd name="T98" fmla="*/ 42 w 109"/>
                <a:gd name="T99" fmla="*/ 101 h 110"/>
                <a:gd name="T100" fmla="*/ 25 w 109"/>
                <a:gd name="T101" fmla="*/ 101 h 110"/>
                <a:gd name="T102" fmla="*/ 25 w 109"/>
                <a:gd name="T103" fmla="*/ 110 h 110"/>
                <a:gd name="T104" fmla="*/ 17 w 109"/>
                <a:gd name="T10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" h="110">
                  <a:moveTo>
                    <a:pt x="17" y="110"/>
                  </a:move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84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101" y="84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93"/>
                  </a:lnTo>
                  <a:lnTo>
                    <a:pt x="92" y="101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84" y="101"/>
                  </a:lnTo>
                  <a:lnTo>
                    <a:pt x="75" y="93"/>
                  </a:lnTo>
                  <a:lnTo>
                    <a:pt x="67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25" y="101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17" y="110"/>
                  </a:lnTo>
                  <a:lnTo>
                    <a:pt x="17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7" name="Freeform 127">
              <a:extLst>
                <a:ext uri="{FF2B5EF4-FFF2-40B4-BE49-F238E27FC236}">
                  <a16:creationId xmlns:a16="http://schemas.microsoft.com/office/drawing/2014/main" id="{87DADF30-13D8-435A-97D8-A458AA5E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7801" y="4789607"/>
              <a:ext cx="88986" cy="138162"/>
            </a:xfrm>
            <a:custGeom>
              <a:avLst/>
              <a:gdLst>
                <a:gd name="T0" fmla="*/ 0 w 76"/>
                <a:gd name="T1" fmla="*/ 110 h 118"/>
                <a:gd name="T2" fmla="*/ 9 w 76"/>
                <a:gd name="T3" fmla="*/ 110 h 118"/>
                <a:gd name="T4" fmla="*/ 9 w 76"/>
                <a:gd name="T5" fmla="*/ 101 h 118"/>
                <a:gd name="T6" fmla="*/ 0 w 76"/>
                <a:gd name="T7" fmla="*/ 101 h 118"/>
                <a:gd name="T8" fmla="*/ 0 w 76"/>
                <a:gd name="T9" fmla="*/ 93 h 118"/>
                <a:gd name="T10" fmla="*/ 0 w 76"/>
                <a:gd name="T11" fmla="*/ 85 h 118"/>
                <a:gd name="T12" fmla="*/ 0 w 76"/>
                <a:gd name="T13" fmla="*/ 76 h 118"/>
                <a:gd name="T14" fmla="*/ 0 w 76"/>
                <a:gd name="T15" fmla="*/ 68 h 118"/>
                <a:gd name="T16" fmla="*/ 9 w 76"/>
                <a:gd name="T17" fmla="*/ 59 h 118"/>
                <a:gd name="T18" fmla="*/ 9 w 76"/>
                <a:gd name="T19" fmla="*/ 51 h 118"/>
                <a:gd name="T20" fmla="*/ 9 w 76"/>
                <a:gd name="T21" fmla="*/ 42 h 118"/>
                <a:gd name="T22" fmla="*/ 9 w 76"/>
                <a:gd name="T23" fmla="*/ 42 h 118"/>
                <a:gd name="T24" fmla="*/ 9 w 76"/>
                <a:gd name="T25" fmla="*/ 34 h 118"/>
                <a:gd name="T26" fmla="*/ 9 w 76"/>
                <a:gd name="T27" fmla="*/ 17 h 118"/>
                <a:gd name="T28" fmla="*/ 0 w 76"/>
                <a:gd name="T29" fmla="*/ 9 h 118"/>
                <a:gd name="T30" fmla="*/ 9 w 76"/>
                <a:gd name="T31" fmla="*/ 9 h 118"/>
                <a:gd name="T32" fmla="*/ 25 w 76"/>
                <a:gd name="T33" fmla="*/ 9 h 118"/>
                <a:gd name="T34" fmla="*/ 42 w 76"/>
                <a:gd name="T35" fmla="*/ 9 h 118"/>
                <a:gd name="T36" fmla="*/ 51 w 76"/>
                <a:gd name="T37" fmla="*/ 0 h 118"/>
                <a:gd name="T38" fmla="*/ 51 w 76"/>
                <a:gd name="T39" fmla="*/ 9 h 118"/>
                <a:gd name="T40" fmla="*/ 51 w 76"/>
                <a:gd name="T41" fmla="*/ 17 h 118"/>
                <a:gd name="T42" fmla="*/ 59 w 76"/>
                <a:gd name="T43" fmla="*/ 17 h 118"/>
                <a:gd name="T44" fmla="*/ 59 w 76"/>
                <a:gd name="T45" fmla="*/ 26 h 118"/>
                <a:gd name="T46" fmla="*/ 67 w 76"/>
                <a:gd name="T47" fmla="*/ 34 h 118"/>
                <a:gd name="T48" fmla="*/ 67 w 76"/>
                <a:gd name="T49" fmla="*/ 42 h 118"/>
                <a:gd name="T50" fmla="*/ 67 w 76"/>
                <a:gd name="T51" fmla="*/ 42 h 118"/>
                <a:gd name="T52" fmla="*/ 67 w 76"/>
                <a:gd name="T53" fmla="*/ 51 h 118"/>
                <a:gd name="T54" fmla="*/ 67 w 76"/>
                <a:gd name="T55" fmla="*/ 59 h 118"/>
                <a:gd name="T56" fmla="*/ 67 w 76"/>
                <a:gd name="T57" fmla="*/ 68 h 118"/>
                <a:gd name="T58" fmla="*/ 67 w 76"/>
                <a:gd name="T59" fmla="*/ 76 h 118"/>
                <a:gd name="T60" fmla="*/ 67 w 76"/>
                <a:gd name="T61" fmla="*/ 85 h 118"/>
                <a:gd name="T62" fmla="*/ 67 w 76"/>
                <a:gd name="T63" fmla="*/ 93 h 118"/>
                <a:gd name="T64" fmla="*/ 67 w 76"/>
                <a:gd name="T65" fmla="*/ 93 h 118"/>
                <a:gd name="T66" fmla="*/ 59 w 76"/>
                <a:gd name="T67" fmla="*/ 101 h 118"/>
                <a:gd name="T68" fmla="*/ 42 w 76"/>
                <a:gd name="T69" fmla="*/ 110 h 118"/>
                <a:gd name="T70" fmla="*/ 17 w 76"/>
                <a:gd name="T71" fmla="*/ 118 h 118"/>
                <a:gd name="T72" fmla="*/ 0 w 76"/>
                <a:gd name="T7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18">
                  <a:moveTo>
                    <a:pt x="0" y="118"/>
                  </a:moveTo>
                  <a:lnTo>
                    <a:pt x="0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9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76" y="101"/>
                  </a:lnTo>
                  <a:lnTo>
                    <a:pt x="59" y="101"/>
                  </a:lnTo>
                  <a:lnTo>
                    <a:pt x="51" y="101"/>
                  </a:lnTo>
                  <a:lnTo>
                    <a:pt x="42" y="110"/>
                  </a:lnTo>
                  <a:lnTo>
                    <a:pt x="34" y="110"/>
                  </a:lnTo>
                  <a:lnTo>
                    <a:pt x="17" y="118"/>
                  </a:lnTo>
                  <a:lnTo>
                    <a:pt x="9" y="118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128">
              <a:extLst>
                <a:ext uri="{FF2B5EF4-FFF2-40B4-BE49-F238E27FC236}">
                  <a16:creationId xmlns:a16="http://schemas.microsoft.com/office/drawing/2014/main" id="{7A5C3607-410B-419F-898E-C51125E7F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516" y="4789607"/>
              <a:ext cx="38639" cy="118258"/>
            </a:xfrm>
            <a:custGeom>
              <a:avLst/>
              <a:gdLst>
                <a:gd name="T0" fmla="*/ 16 w 33"/>
                <a:gd name="T1" fmla="*/ 9 h 101"/>
                <a:gd name="T2" fmla="*/ 0 w 33"/>
                <a:gd name="T3" fmla="*/ 0 h 101"/>
                <a:gd name="T4" fmla="*/ 0 w 33"/>
                <a:gd name="T5" fmla="*/ 0 h 101"/>
                <a:gd name="T6" fmla="*/ 0 w 33"/>
                <a:gd name="T7" fmla="*/ 9 h 101"/>
                <a:gd name="T8" fmla="*/ 0 w 33"/>
                <a:gd name="T9" fmla="*/ 9 h 101"/>
                <a:gd name="T10" fmla="*/ 0 w 33"/>
                <a:gd name="T11" fmla="*/ 17 h 101"/>
                <a:gd name="T12" fmla="*/ 8 w 33"/>
                <a:gd name="T13" fmla="*/ 17 h 101"/>
                <a:gd name="T14" fmla="*/ 8 w 33"/>
                <a:gd name="T15" fmla="*/ 17 h 101"/>
                <a:gd name="T16" fmla="*/ 8 w 33"/>
                <a:gd name="T17" fmla="*/ 26 h 101"/>
                <a:gd name="T18" fmla="*/ 8 w 33"/>
                <a:gd name="T19" fmla="*/ 26 h 101"/>
                <a:gd name="T20" fmla="*/ 8 w 33"/>
                <a:gd name="T21" fmla="*/ 34 h 101"/>
                <a:gd name="T22" fmla="*/ 16 w 33"/>
                <a:gd name="T23" fmla="*/ 34 h 101"/>
                <a:gd name="T24" fmla="*/ 16 w 33"/>
                <a:gd name="T25" fmla="*/ 34 h 101"/>
                <a:gd name="T26" fmla="*/ 16 w 33"/>
                <a:gd name="T27" fmla="*/ 42 h 101"/>
                <a:gd name="T28" fmla="*/ 16 w 33"/>
                <a:gd name="T29" fmla="*/ 42 h 101"/>
                <a:gd name="T30" fmla="*/ 16 w 33"/>
                <a:gd name="T31" fmla="*/ 42 h 101"/>
                <a:gd name="T32" fmla="*/ 16 w 33"/>
                <a:gd name="T33" fmla="*/ 51 h 101"/>
                <a:gd name="T34" fmla="*/ 16 w 33"/>
                <a:gd name="T35" fmla="*/ 51 h 101"/>
                <a:gd name="T36" fmla="*/ 16 w 33"/>
                <a:gd name="T37" fmla="*/ 51 h 101"/>
                <a:gd name="T38" fmla="*/ 16 w 33"/>
                <a:gd name="T39" fmla="*/ 59 h 101"/>
                <a:gd name="T40" fmla="*/ 16 w 33"/>
                <a:gd name="T41" fmla="*/ 59 h 101"/>
                <a:gd name="T42" fmla="*/ 16 w 33"/>
                <a:gd name="T43" fmla="*/ 68 h 101"/>
                <a:gd name="T44" fmla="*/ 16 w 33"/>
                <a:gd name="T45" fmla="*/ 76 h 101"/>
                <a:gd name="T46" fmla="*/ 16 w 33"/>
                <a:gd name="T47" fmla="*/ 76 h 101"/>
                <a:gd name="T48" fmla="*/ 16 w 33"/>
                <a:gd name="T49" fmla="*/ 85 h 101"/>
                <a:gd name="T50" fmla="*/ 16 w 33"/>
                <a:gd name="T51" fmla="*/ 85 h 101"/>
                <a:gd name="T52" fmla="*/ 16 w 33"/>
                <a:gd name="T53" fmla="*/ 93 h 101"/>
                <a:gd name="T54" fmla="*/ 16 w 33"/>
                <a:gd name="T55" fmla="*/ 93 h 101"/>
                <a:gd name="T56" fmla="*/ 16 w 33"/>
                <a:gd name="T57" fmla="*/ 93 h 101"/>
                <a:gd name="T58" fmla="*/ 16 w 33"/>
                <a:gd name="T59" fmla="*/ 93 h 101"/>
                <a:gd name="T60" fmla="*/ 25 w 33"/>
                <a:gd name="T61" fmla="*/ 101 h 101"/>
                <a:gd name="T62" fmla="*/ 25 w 33"/>
                <a:gd name="T63" fmla="*/ 101 h 101"/>
                <a:gd name="T64" fmla="*/ 33 w 33"/>
                <a:gd name="T65" fmla="*/ 93 h 101"/>
                <a:gd name="T66" fmla="*/ 33 w 33"/>
                <a:gd name="T67" fmla="*/ 93 h 101"/>
                <a:gd name="T68" fmla="*/ 33 w 33"/>
                <a:gd name="T69" fmla="*/ 93 h 101"/>
                <a:gd name="T70" fmla="*/ 33 w 33"/>
                <a:gd name="T71" fmla="*/ 85 h 101"/>
                <a:gd name="T72" fmla="*/ 33 w 33"/>
                <a:gd name="T73" fmla="*/ 85 h 101"/>
                <a:gd name="T74" fmla="*/ 33 w 33"/>
                <a:gd name="T75" fmla="*/ 76 h 101"/>
                <a:gd name="T76" fmla="*/ 33 w 33"/>
                <a:gd name="T77" fmla="*/ 59 h 101"/>
                <a:gd name="T78" fmla="*/ 33 w 33"/>
                <a:gd name="T79" fmla="*/ 51 h 101"/>
                <a:gd name="T80" fmla="*/ 33 w 33"/>
                <a:gd name="T81" fmla="*/ 51 h 101"/>
                <a:gd name="T82" fmla="*/ 33 w 33"/>
                <a:gd name="T83" fmla="*/ 42 h 101"/>
                <a:gd name="T84" fmla="*/ 33 w 33"/>
                <a:gd name="T85" fmla="*/ 42 h 101"/>
                <a:gd name="T86" fmla="*/ 33 w 33"/>
                <a:gd name="T87" fmla="*/ 42 h 101"/>
                <a:gd name="T88" fmla="*/ 33 w 33"/>
                <a:gd name="T89" fmla="*/ 34 h 101"/>
                <a:gd name="T90" fmla="*/ 25 w 33"/>
                <a:gd name="T91" fmla="*/ 26 h 101"/>
                <a:gd name="T92" fmla="*/ 25 w 33"/>
                <a:gd name="T93" fmla="*/ 17 h 101"/>
                <a:gd name="T94" fmla="*/ 25 w 33"/>
                <a:gd name="T95" fmla="*/ 17 h 101"/>
                <a:gd name="T96" fmla="*/ 16 w 33"/>
                <a:gd name="T97" fmla="*/ 17 h 101"/>
                <a:gd name="T98" fmla="*/ 16 w 33"/>
                <a:gd name="T99" fmla="*/ 9 h 101"/>
                <a:gd name="T100" fmla="*/ 16 w 33"/>
                <a:gd name="T101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" h="101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3" y="76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25" y="26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6" y="17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Freeform 129">
              <a:extLst>
                <a:ext uri="{FF2B5EF4-FFF2-40B4-BE49-F238E27FC236}">
                  <a16:creationId xmlns:a16="http://schemas.microsoft.com/office/drawing/2014/main" id="{605163E0-B975-4245-9A2F-BF0B78714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6249" y="4770873"/>
              <a:ext cx="69081" cy="127625"/>
            </a:xfrm>
            <a:custGeom>
              <a:avLst/>
              <a:gdLst>
                <a:gd name="T0" fmla="*/ 26 w 59"/>
                <a:gd name="T1" fmla="*/ 8 h 109"/>
                <a:gd name="T2" fmla="*/ 17 w 59"/>
                <a:gd name="T3" fmla="*/ 8 h 109"/>
                <a:gd name="T4" fmla="*/ 17 w 59"/>
                <a:gd name="T5" fmla="*/ 8 h 109"/>
                <a:gd name="T6" fmla="*/ 9 w 59"/>
                <a:gd name="T7" fmla="*/ 16 h 109"/>
                <a:gd name="T8" fmla="*/ 9 w 59"/>
                <a:gd name="T9" fmla="*/ 25 h 109"/>
                <a:gd name="T10" fmla="*/ 0 w 59"/>
                <a:gd name="T11" fmla="*/ 25 h 109"/>
                <a:gd name="T12" fmla="*/ 9 w 59"/>
                <a:gd name="T13" fmla="*/ 33 h 109"/>
                <a:gd name="T14" fmla="*/ 9 w 59"/>
                <a:gd name="T15" fmla="*/ 42 h 109"/>
                <a:gd name="T16" fmla="*/ 17 w 59"/>
                <a:gd name="T17" fmla="*/ 58 h 109"/>
                <a:gd name="T18" fmla="*/ 17 w 59"/>
                <a:gd name="T19" fmla="*/ 58 h 109"/>
                <a:gd name="T20" fmla="*/ 17 w 59"/>
                <a:gd name="T21" fmla="*/ 67 h 109"/>
                <a:gd name="T22" fmla="*/ 17 w 59"/>
                <a:gd name="T23" fmla="*/ 92 h 109"/>
                <a:gd name="T24" fmla="*/ 17 w 59"/>
                <a:gd name="T25" fmla="*/ 101 h 109"/>
                <a:gd name="T26" fmla="*/ 17 w 59"/>
                <a:gd name="T27" fmla="*/ 109 h 109"/>
                <a:gd name="T28" fmla="*/ 34 w 59"/>
                <a:gd name="T29" fmla="*/ 109 h 109"/>
                <a:gd name="T30" fmla="*/ 34 w 59"/>
                <a:gd name="T31" fmla="*/ 101 h 109"/>
                <a:gd name="T32" fmla="*/ 34 w 59"/>
                <a:gd name="T33" fmla="*/ 92 h 109"/>
                <a:gd name="T34" fmla="*/ 34 w 59"/>
                <a:gd name="T35" fmla="*/ 84 h 109"/>
                <a:gd name="T36" fmla="*/ 34 w 59"/>
                <a:gd name="T37" fmla="*/ 75 h 109"/>
                <a:gd name="T38" fmla="*/ 34 w 59"/>
                <a:gd name="T39" fmla="*/ 75 h 109"/>
                <a:gd name="T40" fmla="*/ 34 w 59"/>
                <a:gd name="T41" fmla="*/ 67 h 109"/>
                <a:gd name="T42" fmla="*/ 34 w 59"/>
                <a:gd name="T43" fmla="*/ 67 h 109"/>
                <a:gd name="T44" fmla="*/ 34 w 59"/>
                <a:gd name="T45" fmla="*/ 58 h 109"/>
                <a:gd name="T46" fmla="*/ 42 w 59"/>
                <a:gd name="T47" fmla="*/ 58 h 109"/>
                <a:gd name="T48" fmla="*/ 42 w 59"/>
                <a:gd name="T49" fmla="*/ 50 h 109"/>
                <a:gd name="T50" fmla="*/ 51 w 59"/>
                <a:gd name="T51" fmla="*/ 42 h 109"/>
                <a:gd name="T52" fmla="*/ 51 w 59"/>
                <a:gd name="T53" fmla="*/ 42 h 109"/>
                <a:gd name="T54" fmla="*/ 51 w 59"/>
                <a:gd name="T55" fmla="*/ 42 h 109"/>
                <a:gd name="T56" fmla="*/ 51 w 59"/>
                <a:gd name="T57" fmla="*/ 33 h 109"/>
                <a:gd name="T58" fmla="*/ 59 w 59"/>
                <a:gd name="T59" fmla="*/ 33 h 109"/>
                <a:gd name="T60" fmla="*/ 59 w 59"/>
                <a:gd name="T61" fmla="*/ 25 h 109"/>
                <a:gd name="T62" fmla="*/ 51 w 59"/>
                <a:gd name="T63" fmla="*/ 16 h 109"/>
                <a:gd name="T64" fmla="*/ 51 w 59"/>
                <a:gd name="T65" fmla="*/ 8 h 109"/>
                <a:gd name="T66" fmla="*/ 42 w 59"/>
                <a:gd name="T67" fmla="*/ 8 h 109"/>
                <a:gd name="T68" fmla="*/ 34 w 59"/>
                <a:gd name="T69" fmla="*/ 0 h 109"/>
                <a:gd name="T70" fmla="*/ 34 w 59"/>
                <a:gd name="T71" fmla="*/ 0 h 109"/>
                <a:gd name="T72" fmla="*/ 26 w 59"/>
                <a:gd name="T7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109">
                  <a:moveTo>
                    <a:pt x="26" y="0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42"/>
                  </a:lnTo>
                  <a:lnTo>
                    <a:pt x="17" y="50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75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6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1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0"/>
                  </a:lnTo>
                  <a:lnTo>
                    <a:pt x="51" y="50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0" name="Freeform 130">
              <a:extLst>
                <a:ext uri="{FF2B5EF4-FFF2-40B4-BE49-F238E27FC236}">
                  <a16:creationId xmlns:a16="http://schemas.microsoft.com/office/drawing/2014/main" id="{7D0016E7-19A3-4D61-B32F-A3A4B0E42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3397" y="4534358"/>
              <a:ext cx="245882" cy="344235"/>
            </a:xfrm>
            <a:custGeom>
              <a:avLst/>
              <a:gdLst>
                <a:gd name="T0" fmla="*/ 210 w 210"/>
                <a:gd name="T1" fmla="*/ 75 h 294"/>
                <a:gd name="T2" fmla="*/ 201 w 210"/>
                <a:gd name="T3" fmla="*/ 143 h 294"/>
                <a:gd name="T4" fmla="*/ 193 w 210"/>
                <a:gd name="T5" fmla="*/ 143 h 294"/>
                <a:gd name="T6" fmla="*/ 193 w 210"/>
                <a:gd name="T7" fmla="*/ 160 h 294"/>
                <a:gd name="T8" fmla="*/ 176 w 210"/>
                <a:gd name="T9" fmla="*/ 168 h 294"/>
                <a:gd name="T10" fmla="*/ 176 w 210"/>
                <a:gd name="T11" fmla="*/ 176 h 294"/>
                <a:gd name="T12" fmla="*/ 176 w 210"/>
                <a:gd name="T13" fmla="*/ 185 h 294"/>
                <a:gd name="T14" fmla="*/ 168 w 210"/>
                <a:gd name="T15" fmla="*/ 193 h 294"/>
                <a:gd name="T16" fmla="*/ 176 w 210"/>
                <a:gd name="T17" fmla="*/ 193 h 294"/>
                <a:gd name="T18" fmla="*/ 176 w 210"/>
                <a:gd name="T19" fmla="*/ 202 h 294"/>
                <a:gd name="T20" fmla="*/ 184 w 210"/>
                <a:gd name="T21" fmla="*/ 210 h 294"/>
                <a:gd name="T22" fmla="*/ 184 w 210"/>
                <a:gd name="T23" fmla="*/ 218 h 294"/>
                <a:gd name="T24" fmla="*/ 184 w 210"/>
                <a:gd name="T25" fmla="*/ 227 h 294"/>
                <a:gd name="T26" fmla="*/ 184 w 210"/>
                <a:gd name="T27" fmla="*/ 227 h 294"/>
                <a:gd name="T28" fmla="*/ 168 w 210"/>
                <a:gd name="T29" fmla="*/ 235 h 294"/>
                <a:gd name="T30" fmla="*/ 168 w 210"/>
                <a:gd name="T31" fmla="*/ 235 h 294"/>
                <a:gd name="T32" fmla="*/ 159 w 210"/>
                <a:gd name="T33" fmla="*/ 244 h 294"/>
                <a:gd name="T34" fmla="*/ 151 w 210"/>
                <a:gd name="T35" fmla="*/ 252 h 294"/>
                <a:gd name="T36" fmla="*/ 151 w 210"/>
                <a:gd name="T37" fmla="*/ 260 h 294"/>
                <a:gd name="T38" fmla="*/ 142 w 210"/>
                <a:gd name="T39" fmla="*/ 260 h 294"/>
                <a:gd name="T40" fmla="*/ 126 w 210"/>
                <a:gd name="T41" fmla="*/ 260 h 294"/>
                <a:gd name="T42" fmla="*/ 117 w 210"/>
                <a:gd name="T43" fmla="*/ 260 h 294"/>
                <a:gd name="T44" fmla="*/ 126 w 210"/>
                <a:gd name="T45" fmla="*/ 269 h 294"/>
                <a:gd name="T46" fmla="*/ 117 w 210"/>
                <a:gd name="T47" fmla="*/ 277 h 294"/>
                <a:gd name="T48" fmla="*/ 100 w 210"/>
                <a:gd name="T49" fmla="*/ 286 h 294"/>
                <a:gd name="T50" fmla="*/ 84 w 210"/>
                <a:gd name="T51" fmla="*/ 286 h 294"/>
                <a:gd name="T52" fmla="*/ 84 w 210"/>
                <a:gd name="T53" fmla="*/ 286 h 294"/>
                <a:gd name="T54" fmla="*/ 75 w 210"/>
                <a:gd name="T55" fmla="*/ 294 h 294"/>
                <a:gd name="T56" fmla="*/ 67 w 210"/>
                <a:gd name="T57" fmla="*/ 294 h 294"/>
                <a:gd name="T58" fmla="*/ 67 w 210"/>
                <a:gd name="T59" fmla="*/ 286 h 294"/>
                <a:gd name="T60" fmla="*/ 58 w 210"/>
                <a:gd name="T61" fmla="*/ 269 h 294"/>
                <a:gd name="T62" fmla="*/ 42 w 210"/>
                <a:gd name="T63" fmla="*/ 260 h 294"/>
                <a:gd name="T64" fmla="*/ 33 w 210"/>
                <a:gd name="T65" fmla="*/ 252 h 294"/>
                <a:gd name="T66" fmla="*/ 33 w 210"/>
                <a:gd name="T67" fmla="*/ 244 h 294"/>
                <a:gd name="T68" fmla="*/ 42 w 210"/>
                <a:gd name="T69" fmla="*/ 244 h 294"/>
                <a:gd name="T70" fmla="*/ 50 w 210"/>
                <a:gd name="T71" fmla="*/ 244 h 294"/>
                <a:gd name="T72" fmla="*/ 58 w 210"/>
                <a:gd name="T73" fmla="*/ 244 h 294"/>
                <a:gd name="T74" fmla="*/ 58 w 210"/>
                <a:gd name="T75" fmla="*/ 244 h 294"/>
                <a:gd name="T76" fmla="*/ 50 w 210"/>
                <a:gd name="T77" fmla="*/ 235 h 294"/>
                <a:gd name="T78" fmla="*/ 50 w 210"/>
                <a:gd name="T79" fmla="*/ 218 h 294"/>
                <a:gd name="T80" fmla="*/ 50 w 210"/>
                <a:gd name="T81" fmla="*/ 218 h 294"/>
                <a:gd name="T82" fmla="*/ 50 w 210"/>
                <a:gd name="T83" fmla="*/ 210 h 294"/>
                <a:gd name="T84" fmla="*/ 42 w 210"/>
                <a:gd name="T85" fmla="*/ 193 h 294"/>
                <a:gd name="T86" fmla="*/ 33 w 210"/>
                <a:gd name="T87" fmla="*/ 185 h 294"/>
                <a:gd name="T88" fmla="*/ 25 w 210"/>
                <a:gd name="T89" fmla="*/ 160 h 294"/>
                <a:gd name="T90" fmla="*/ 25 w 210"/>
                <a:gd name="T91" fmla="*/ 151 h 294"/>
                <a:gd name="T92" fmla="*/ 58 w 210"/>
                <a:gd name="T93" fmla="*/ 101 h 294"/>
                <a:gd name="T94" fmla="*/ 67 w 210"/>
                <a:gd name="T95" fmla="*/ 59 h 294"/>
                <a:gd name="T96" fmla="*/ 58 w 210"/>
                <a:gd name="T97" fmla="*/ 33 h 294"/>
                <a:gd name="T98" fmla="*/ 42 w 210"/>
                <a:gd name="T99" fmla="*/ 8 h 294"/>
                <a:gd name="T100" fmla="*/ 0 w 210"/>
                <a:gd name="T101" fmla="*/ 19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294">
                  <a:moveTo>
                    <a:pt x="42" y="8"/>
                  </a:moveTo>
                  <a:lnTo>
                    <a:pt x="67" y="0"/>
                  </a:lnTo>
                  <a:lnTo>
                    <a:pt x="210" y="75"/>
                  </a:lnTo>
                  <a:lnTo>
                    <a:pt x="210" y="143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60"/>
                  </a:lnTo>
                  <a:lnTo>
                    <a:pt x="184" y="160"/>
                  </a:lnTo>
                  <a:lnTo>
                    <a:pt x="184" y="160"/>
                  </a:lnTo>
                  <a:lnTo>
                    <a:pt x="176" y="168"/>
                  </a:lnTo>
                  <a:lnTo>
                    <a:pt x="176" y="168"/>
                  </a:lnTo>
                  <a:lnTo>
                    <a:pt x="184" y="16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68" y="193"/>
                  </a:lnTo>
                  <a:lnTo>
                    <a:pt x="168" y="193"/>
                  </a:lnTo>
                  <a:lnTo>
                    <a:pt x="176" y="202"/>
                  </a:lnTo>
                  <a:lnTo>
                    <a:pt x="176" y="193"/>
                  </a:lnTo>
                  <a:lnTo>
                    <a:pt x="176" y="193"/>
                  </a:lnTo>
                  <a:lnTo>
                    <a:pt x="176" y="202"/>
                  </a:lnTo>
                  <a:lnTo>
                    <a:pt x="176" y="202"/>
                  </a:lnTo>
                  <a:lnTo>
                    <a:pt x="184" y="202"/>
                  </a:lnTo>
                  <a:lnTo>
                    <a:pt x="176" y="202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93" y="218"/>
                  </a:lnTo>
                  <a:lnTo>
                    <a:pt x="184" y="218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51" y="260"/>
                  </a:lnTo>
                  <a:lnTo>
                    <a:pt x="151" y="260"/>
                  </a:lnTo>
                  <a:lnTo>
                    <a:pt x="151" y="260"/>
                  </a:lnTo>
                  <a:lnTo>
                    <a:pt x="142" y="260"/>
                  </a:lnTo>
                  <a:lnTo>
                    <a:pt x="134" y="260"/>
                  </a:lnTo>
                  <a:lnTo>
                    <a:pt x="134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17" y="260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09" y="277"/>
                  </a:lnTo>
                  <a:lnTo>
                    <a:pt x="100" y="277"/>
                  </a:lnTo>
                  <a:lnTo>
                    <a:pt x="100" y="286"/>
                  </a:lnTo>
                  <a:lnTo>
                    <a:pt x="92" y="286"/>
                  </a:lnTo>
                  <a:lnTo>
                    <a:pt x="92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5" y="286"/>
                  </a:lnTo>
                  <a:lnTo>
                    <a:pt x="75" y="286"/>
                  </a:lnTo>
                  <a:lnTo>
                    <a:pt x="75" y="294"/>
                  </a:lnTo>
                  <a:lnTo>
                    <a:pt x="75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58" y="277"/>
                  </a:lnTo>
                  <a:lnTo>
                    <a:pt x="58" y="277"/>
                  </a:lnTo>
                  <a:lnTo>
                    <a:pt x="58" y="269"/>
                  </a:lnTo>
                  <a:lnTo>
                    <a:pt x="50" y="269"/>
                  </a:lnTo>
                  <a:lnTo>
                    <a:pt x="42" y="260"/>
                  </a:lnTo>
                  <a:lnTo>
                    <a:pt x="42" y="260"/>
                  </a:lnTo>
                  <a:lnTo>
                    <a:pt x="42" y="260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35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0"/>
                  </a:lnTo>
                  <a:lnTo>
                    <a:pt x="50" y="210"/>
                  </a:lnTo>
                  <a:lnTo>
                    <a:pt x="50" y="210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2" y="193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3" y="185"/>
                  </a:lnTo>
                  <a:lnTo>
                    <a:pt x="25" y="185"/>
                  </a:lnTo>
                  <a:lnTo>
                    <a:pt x="25" y="176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58" y="126"/>
                  </a:lnTo>
                  <a:lnTo>
                    <a:pt x="58" y="101"/>
                  </a:lnTo>
                  <a:lnTo>
                    <a:pt x="58" y="67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8" y="33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close/>
                  <a:moveTo>
                    <a:pt x="8" y="185"/>
                  </a:moveTo>
                  <a:lnTo>
                    <a:pt x="8" y="193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8" y="1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1" name="Freeform 131">
              <a:extLst>
                <a:ext uri="{FF2B5EF4-FFF2-40B4-BE49-F238E27FC236}">
                  <a16:creationId xmlns:a16="http://schemas.microsoft.com/office/drawing/2014/main" id="{EA00C254-6AA1-47DE-9BFB-9EEE105FC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882" y="4534358"/>
              <a:ext cx="314963" cy="245882"/>
            </a:xfrm>
            <a:custGeom>
              <a:avLst/>
              <a:gdLst>
                <a:gd name="T0" fmla="*/ 59 w 269"/>
                <a:gd name="T1" fmla="*/ 210 h 210"/>
                <a:gd name="T2" fmla="*/ 50 w 269"/>
                <a:gd name="T3" fmla="*/ 202 h 210"/>
                <a:gd name="T4" fmla="*/ 42 w 269"/>
                <a:gd name="T5" fmla="*/ 202 h 210"/>
                <a:gd name="T6" fmla="*/ 34 w 269"/>
                <a:gd name="T7" fmla="*/ 202 h 210"/>
                <a:gd name="T8" fmla="*/ 34 w 269"/>
                <a:gd name="T9" fmla="*/ 202 h 210"/>
                <a:gd name="T10" fmla="*/ 34 w 269"/>
                <a:gd name="T11" fmla="*/ 193 h 210"/>
                <a:gd name="T12" fmla="*/ 34 w 269"/>
                <a:gd name="T13" fmla="*/ 193 h 210"/>
                <a:gd name="T14" fmla="*/ 25 w 269"/>
                <a:gd name="T15" fmla="*/ 193 h 210"/>
                <a:gd name="T16" fmla="*/ 17 w 269"/>
                <a:gd name="T17" fmla="*/ 185 h 210"/>
                <a:gd name="T18" fmla="*/ 0 w 269"/>
                <a:gd name="T19" fmla="*/ 168 h 210"/>
                <a:gd name="T20" fmla="*/ 0 w 269"/>
                <a:gd name="T21" fmla="*/ 160 h 210"/>
                <a:gd name="T22" fmla="*/ 8 w 269"/>
                <a:gd name="T23" fmla="*/ 151 h 210"/>
                <a:gd name="T24" fmla="*/ 25 w 269"/>
                <a:gd name="T25" fmla="*/ 151 h 210"/>
                <a:gd name="T26" fmla="*/ 34 w 269"/>
                <a:gd name="T27" fmla="*/ 151 h 210"/>
                <a:gd name="T28" fmla="*/ 42 w 269"/>
                <a:gd name="T29" fmla="*/ 151 h 210"/>
                <a:gd name="T30" fmla="*/ 50 w 269"/>
                <a:gd name="T31" fmla="*/ 143 h 210"/>
                <a:gd name="T32" fmla="*/ 67 w 269"/>
                <a:gd name="T33" fmla="*/ 134 h 210"/>
                <a:gd name="T34" fmla="*/ 67 w 269"/>
                <a:gd name="T35" fmla="*/ 126 h 210"/>
                <a:gd name="T36" fmla="*/ 67 w 269"/>
                <a:gd name="T37" fmla="*/ 75 h 210"/>
                <a:gd name="T38" fmla="*/ 118 w 269"/>
                <a:gd name="T39" fmla="*/ 50 h 210"/>
                <a:gd name="T40" fmla="*/ 227 w 269"/>
                <a:gd name="T41" fmla="*/ 8 h 210"/>
                <a:gd name="T42" fmla="*/ 244 w 269"/>
                <a:gd name="T43" fmla="*/ 8 h 210"/>
                <a:gd name="T44" fmla="*/ 260 w 269"/>
                <a:gd name="T45" fmla="*/ 33 h 210"/>
                <a:gd name="T46" fmla="*/ 252 w 269"/>
                <a:gd name="T47" fmla="*/ 42 h 210"/>
                <a:gd name="T48" fmla="*/ 269 w 269"/>
                <a:gd name="T49" fmla="*/ 59 h 210"/>
                <a:gd name="T50" fmla="*/ 260 w 269"/>
                <a:gd name="T51" fmla="*/ 101 h 210"/>
                <a:gd name="T52" fmla="*/ 227 w 269"/>
                <a:gd name="T53" fmla="*/ 151 h 210"/>
                <a:gd name="T54" fmla="*/ 227 w 269"/>
                <a:gd name="T55" fmla="*/ 160 h 210"/>
                <a:gd name="T56" fmla="*/ 227 w 269"/>
                <a:gd name="T57" fmla="*/ 160 h 210"/>
                <a:gd name="T58" fmla="*/ 227 w 269"/>
                <a:gd name="T59" fmla="*/ 176 h 210"/>
                <a:gd name="T60" fmla="*/ 218 w 269"/>
                <a:gd name="T61" fmla="*/ 185 h 210"/>
                <a:gd name="T62" fmla="*/ 218 w 269"/>
                <a:gd name="T63" fmla="*/ 185 h 210"/>
                <a:gd name="T64" fmla="*/ 210 w 269"/>
                <a:gd name="T65" fmla="*/ 185 h 210"/>
                <a:gd name="T66" fmla="*/ 210 w 269"/>
                <a:gd name="T67" fmla="*/ 185 h 210"/>
                <a:gd name="T68" fmla="*/ 202 w 269"/>
                <a:gd name="T69" fmla="*/ 193 h 210"/>
                <a:gd name="T70" fmla="*/ 193 w 269"/>
                <a:gd name="T71" fmla="*/ 185 h 210"/>
                <a:gd name="T72" fmla="*/ 176 w 269"/>
                <a:gd name="T73" fmla="*/ 185 h 210"/>
                <a:gd name="T74" fmla="*/ 168 w 269"/>
                <a:gd name="T75" fmla="*/ 185 h 210"/>
                <a:gd name="T76" fmla="*/ 160 w 269"/>
                <a:gd name="T77" fmla="*/ 193 h 210"/>
                <a:gd name="T78" fmla="*/ 151 w 269"/>
                <a:gd name="T79" fmla="*/ 193 h 210"/>
                <a:gd name="T80" fmla="*/ 134 w 269"/>
                <a:gd name="T81" fmla="*/ 193 h 210"/>
                <a:gd name="T82" fmla="*/ 134 w 269"/>
                <a:gd name="T83" fmla="*/ 185 h 210"/>
                <a:gd name="T84" fmla="*/ 126 w 269"/>
                <a:gd name="T85" fmla="*/ 185 h 210"/>
                <a:gd name="T86" fmla="*/ 126 w 269"/>
                <a:gd name="T87" fmla="*/ 185 h 210"/>
                <a:gd name="T88" fmla="*/ 118 w 269"/>
                <a:gd name="T89" fmla="*/ 185 h 210"/>
                <a:gd name="T90" fmla="*/ 118 w 269"/>
                <a:gd name="T91" fmla="*/ 193 h 210"/>
                <a:gd name="T92" fmla="*/ 109 w 269"/>
                <a:gd name="T93" fmla="*/ 185 h 210"/>
                <a:gd name="T94" fmla="*/ 101 w 269"/>
                <a:gd name="T95" fmla="*/ 176 h 210"/>
                <a:gd name="T96" fmla="*/ 92 w 269"/>
                <a:gd name="T97" fmla="*/ 176 h 210"/>
                <a:gd name="T98" fmla="*/ 84 w 269"/>
                <a:gd name="T99" fmla="*/ 176 h 210"/>
                <a:gd name="T100" fmla="*/ 84 w 269"/>
                <a:gd name="T101" fmla="*/ 176 h 210"/>
                <a:gd name="T102" fmla="*/ 76 w 269"/>
                <a:gd name="T103" fmla="*/ 176 h 210"/>
                <a:gd name="T104" fmla="*/ 67 w 269"/>
                <a:gd name="T105" fmla="*/ 176 h 210"/>
                <a:gd name="T106" fmla="*/ 67 w 269"/>
                <a:gd name="T107" fmla="*/ 176 h 210"/>
                <a:gd name="T108" fmla="*/ 59 w 269"/>
                <a:gd name="T109" fmla="*/ 185 h 210"/>
                <a:gd name="T110" fmla="*/ 59 w 269"/>
                <a:gd name="T111" fmla="*/ 185 h 210"/>
                <a:gd name="T112" fmla="*/ 67 w 269"/>
                <a:gd name="T113" fmla="*/ 193 h 210"/>
                <a:gd name="T114" fmla="*/ 67 w 269"/>
                <a:gd name="T115" fmla="*/ 193 h 210"/>
                <a:gd name="T116" fmla="*/ 59 w 269"/>
                <a:gd name="T117" fmla="*/ 202 h 210"/>
                <a:gd name="T118" fmla="*/ 59 w 269"/>
                <a:gd name="T119" fmla="*/ 202 h 210"/>
                <a:gd name="T120" fmla="*/ 59 w 269"/>
                <a:gd name="T121" fmla="*/ 210 h 210"/>
                <a:gd name="T122" fmla="*/ 59 w 269"/>
                <a:gd name="T12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" h="210">
                  <a:moveTo>
                    <a:pt x="59" y="210"/>
                  </a:moveTo>
                  <a:lnTo>
                    <a:pt x="59" y="210"/>
                  </a:lnTo>
                  <a:lnTo>
                    <a:pt x="50" y="210"/>
                  </a:lnTo>
                  <a:lnTo>
                    <a:pt x="50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25" y="185"/>
                  </a:lnTo>
                  <a:lnTo>
                    <a:pt x="25" y="193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51"/>
                  </a:lnTo>
                  <a:lnTo>
                    <a:pt x="8" y="151"/>
                  </a:lnTo>
                  <a:lnTo>
                    <a:pt x="17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34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50" y="151"/>
                  </a:lnTo>
                  <a:lnTo>
                    <a:pt x="50" y="143"/>
                  </a:lnTo>
                  <a:lnTo>
                    <a:pt x="59" y="143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26"/>
                  </a:lnTo>
                  <a:lnTo>
                    <a:pt x="67" y="109"/>
                  </a:lnTo>
                  <a:lnTo>
                    <a:pt x="67" y="75"/>
                  </a:lnTo>
                  <a:lnTo>
                    <a:pt x="92" y="75"/>
                  </a:lnTo>
                  <a:lnTo>
                    <a:pt x="118" y="50"/>
                  </a:lnTo>
                  <a:lnTo>
                    <a:pt x="193" y="0"/>
                  </a:lnTo>
                  <a:lnTo>
                    <a:pt x="227" y="8"/>
                  </a:lnTo>
                  <a:lnTo>
                    <a:pt x="227" y="17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60" y="33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0" y="67"/>
                  </a:lnTo>
                  <a:lnTo>
                    <a:pt x="260" y="101"/>
                  </a:lnTo>
                  <a:lnTo>
                    <a:pt x="260" y="126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02" y="193"/>
                  </a:lnTo>
                  <a:lnTo>
                    <a:pt x="202" y="193"/>
                  </a:lnTo>
                  <a:lnTo>
                    <a:pt x="193" y="193"/>
                  </a:lnTo>
                  <a:lnTo>
                    <a:pt x="193" y="185"/>
                  </a:lnTo>
                  <a:lnTo>
                    <a:pt x="185" y="185"/>
                  </a:lnTo>
                  <a:lnTo>
                    <a:pt x="17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51" y="193"/>
                  </a:lnTo>
                  <a:lnTo>
                    <a:pt x="151" y="193"/>
                  </a:lnTo>
                  <a:lnTo>
                    <a:pt x="143" y="193"/>
                  </a:lnTo>
                  <a:lnTo>
                    <a:pt x="134" y="193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18" y="193"/>
                  </a:lnTo>
                  <a:lnTo>
                    <a:pt x="118" y="193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1" y="185"/>
                  </a:lnTo>
                  <a:lnTo>
                    <a:pt x="101" y="176"/>
                  </a:lnTo>
                  <a:lnTo>
                    <a:pt x="101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85"/>
                  </a:lnTo>
                  <a:lnTo>
                    <a:pt x="59" y="185"/>
                  </a:lnTo>
                  <a:lnTo>
                    <a:pt x="67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59" y="193"/>
                  </a:lnTo>
                  <a:lnTo>
                    <a:pt x="59" y="202"/>
                  </a:lnTo>
                  <a:lnTo>
                    <a:pt x="59" y="202"/>
                  </a:lnTo>
                  <a:lnTo>
                    <a:pt x="59" y="202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2" name="Freeform 132">
              <a:extLst>
                <a:ext uri="{FF2B5EF4-FFF2-40B4-BE49-F238E27FC236}">
                  <a16:creationId xmlns:a16="http://schemas.microsoft.com/office/drawing/2014/main" id="{66B58372-124D-4AAD-8EC0-35FC7482C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6059" y="4740430"/>
              <a:ext cx="236515" cy="207244"/>
            </a:xfrm>
            <a:custGeom>
              <a:avLst/>
              <a:gdLst>
                <a:gd name="T0" fmla="*/ 193 w 202"/>
                <a:gd name="T1" fmla="*/ 9 h 177"/>
                <a:gd name="T2" fmla="*/ 176 w 202"/>
                <a:gd name="T3" fmla="*/ 9 h 177"/>
                <a:gd name="T4" fmla="*/ 176 w 202"/>
                <a:gd name="T5" fmla="*/ 9 h 177"/>
                <a:gd name="T6" fmla="*/ 168 w 202"/>
                <a:gd name="T7" fmla="*/ 9 h 177"/>
                <a:gd name="T8" fmla="*/ 160 w 202"/>
                <a:gd name="T9" fmla="*/ 17 h 177"/>
                <a:gd name="T10" fmla="*/ 143 w 202"/>
                <a:gd name="T11" fmla="*/ 9 h 177"/>
                <a:gd name="T12" fmla="*/ 126 w 202"/>
                <a:gd name="T13" fmla="*/ 9 h 177"/>
                <a:gd name="T14" fmla="*/ 109 w 202"/>
                <a:gd name="T15" fmla="*/ 17 h 177"/>
                <a:gd name="T16" fmla="*/ 92 w 202"/>
                <a:gd name="T17" fmla="*/ 17 h 177"/>
                <a:gd name="T18" fmla="*/ 92 w 202"/>
                <a:gd name="T19" fmla="*/ 9 h 177"/>
                <a:gd name="T20" fmla="*/ 84 w 202"/>
                <a:gd name="T21" fmla="*/ 9 h 177"/>
                <a:gd name="T22" fmla="*/ 76 w 202"/>
                <a:gd name="T23" fmla="*/ 17 h 177"/>
                <a:gd name="T24" fmla="*/ 67 w 202"/>
                <a:gd name="T25" fmla="*/ 9 h 177"/>
                <a:gd name="T26" fmla="*/ 59 w 202"/>
                <a:gd name="T27" fmla="*/ 0 h 177"/>
                <a:gd name="T28" fmla="*/ 42 w 202"/>
                <a:gd name="T29" fmla="*/ 0 h 177"/>
                <a:gd name="T30" fmla="*/ 34 w 202"/>
                <a:gd name="T31" fmla="*/ 0 h 177"/>
                <a:gd name="T32" fmla="*/ 25 w 202"/>
                <a:gd name="T33" fmla="*/ 0 h 177"/>
                <a:gd name="T34" fmla="*/ 25 w 202"/>
                <a:gd name="T35" fmla="*/ 9 h 177"/>
                <a:gd name="T36" fmla="*/ 17 w 202"/>
                <a:gd name="T37" fmla="*/ 9 h 177"/>
                <a:gd name="T38" fmla="*/ 25 w 202"/>
                <a:gd name="T39" fmla="*/ 17 h 177"/>
                <a:gd name="T40" fmla="*/ 17 w 202"/>
                <a:gd name="T41" fmla="*/ 26 h 177"/>
                <a:gd name="T42" fmla="*/ 17 w 202"/>
                <a:gd name="T43" fmla="*/ 34 h 177"/>
                <a:gd name="T44" fmla="*/ 17 w 202"/>
                <a:gd name="T45" fmla="*/ 34 h 177"/>
                <a:gd name="T46" fmla="*/ 25 w 202"/>
                <a:gd name="T47" fmla="*/ 51 h 177"/>
                <a:gd name="T48" fmla="*/ 25 w 202"/>
                <a:gd name="T49" fmla="*/ 59 h 177"/>
                <a:gd name="T50" fmla="*/ 17 w 202"/>
                <a:gd name="T51" fmla="*/ 68 h 177"/>
                <a:gd name="T52" fmla="*/ 17 w 202"/>
                <a:gd name="T53" fmla="*/ 68 h 177"/>
                <a:gd name="T54" fmla="*/ 8 w 202"/>
                <a:gd name="T55" fmla="*/ 76 h 177"/>
                <a:gd name="T56" fmla="*/ 8 w 202"/>
                <a:gd name="T57" fmla="*/ 84 h 177"/>
                <a:gd name="T58" fmla="*/ 0 w 202"/>
                <a:gd name="T59" fmla="*/ 93 h 177"/>
                <a:gd name="T60" fmla="*/ 0 w 202"/>
                <a:gd name="T61" fmla="*/ 101 h 177"/>
                <a:gd name="T62" fmla="*/ 0 w 202"/>
                <a:gd name="T63" fmla="*/ 101 h 177"/>
                <a:gd name="T64" fmla="*/ 0 w 202"/>
                <a:gd name="T65" fmla="*/ 118 h 177"/>
                <a:gd name="T66" fmla="*/ 0 w 202"/>
                <a:gd name="T67" fmla="*/ 127 h 177"/>
                <a:gd name="T68" fmla="*/ 17 w 202"/>
                <a:gd name="T69" fmla="*/ 135 h 177"/>
                <a:gd name="T70" fmla="*/ 42 w 202"/>
                <a:gd name="T71" fmla="*/ 152 h 177"/>
                <a:gd name="T72" fmla="*/ 42 w 202"/>
                <a:gd name="T73" fmla="*/ 169 h 177"/>
                <a:gd name="T74" fmla="*/ 76 w 202"/>
                <a:gd name="T75" fmla="*/ 169 h 177"/>
                <a:gd name="T76" fmla="*/ 84 w 202"/>
                <a:gd name="T77" fmla="*/ 169 h 177"/>
                <a:gd name="T78" fmla="*/ 92 w 202"/>
                <a:gd name="T79" fmla="*/ 160 h 177"/>
                <a:gd name="T80" fmla="*/ 101 w 202"/>
                <a:gd name="T81" fmla="*/ 169 h 177"/>
                <a:gd name="T82" fmla="*/ 109 w 202"/>
                <a:gd name="T83" fmla="*/ 152 h 177"/>
                <a:gd name="T84" fmla="*/ 109 w 202"/>
                <a:gd name="T85" fmla="*/ 143 h 177"/>
                <a:gd name="T86" fmla="*/ 118 w 202"/>
                <a:gd name="T87" fmla="*/ 135 h 177"/>
                <a:gd name="T88" fmla="*/ 118 w 202"/>
                <a:gd name="T89" fmla="*/ 127 h 177"/>
                <a:gd name="T90" fmla="*/ 126 w 202"/>
                <a:gd name="T91" fmla="*/ 127 h 177"/>
                <a:gd name="T92" fmla="*/ 134 w 202"/>
                <a:gd name="T93" fmla="*/ 127 h 177"/>
                <a:gd name="T94" fmla="*/ 143 w 202"/>
                <a:gd name="T95" fmla="*/ 135 h 177"/>
                <a:gd name="T96" fmla="*/ 151 w 202"/>
                <a:gd name="T97" fmla="*/ 127 h 177"/>
                <a:gd name="T98" fmla="*/ 151 w 202"/>
                <a:gd name="T99" fmla="*/ 127 h 177"/>
                <a:gd name="T100" fmla="*/ 160 w 202"/>
                <a:gd name="T101" fmla="*/ 118 h 177"/>
                <a:gd name="T102" fmla="*/ 160 w 202"/>
                <a:gd name="T103" fmla="*/ 101 h 177"/>
                <a:gd name="T104" fmla="*/ 176 w 202"/>
                <a:gd name="T105" fmla="*/ 93 h 177"/>
                <a:gd name="T106" fmla="*/ 176 w 202"/>
                <a:gd name="T107" fmla="*/ 84 h 177"/>
                <a:gd name="T108" fmla="*/ 185 w 202"/>
                <a:gd name="T109" fmla="*/ 76 h 177"/>
                <a:gd name="T110" fmla="*/ 185 w 202"/>
                <a:gd name="T111" fmla="*/ 59 h 177"/>
                <a:gd name="T112" fmla="*/ 193 w 202"/>
                <a:gd name="T113" fmla="*/ 51 h 177"/>
                <a:gd name="T114" fmla="*/ 193 w 202"/>
                <a:gd name="T115" fmla="*/ 51 h 177"/>
                <a:gd name="T116" fmla="*/ 202 w 202"/>
                <a:gd name="T117" fmla="*/ 42 h 177"/>
                <a:gd name="T118" fmla="*/ 202 w 202"/>
                <a:gd name="T119" fmla="*/ 34 h 177"/>
                <a:gd name="T120" fmla="*/ 193 w 202"/>
                <a:gd name="T121" fmla="*/ 26 h 177"/>
                <a:gd name="T122" fmla="*/ 193 w 202"/>
                <a:gd name="T123" fmla="*/ 1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177">
                  <a:moveTo>
                    <a:pt x="193" y="17"/>
                  </a:moveTo>
                  <a:lnTo>
                    <a:pt x="193" y="17"/>
                  </a:lnTo>
                  <a:lnTo>
                    <a:pt x="193" y="9"/>
                  </a:lnTo>
                  <a:lnTo>
                    <a:pt x="185" y="9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17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1" y="17"/>
                  </a:lnTo>
                  <a:lnTo>
                    <a:pt x="151" y="9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10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27"/>
                  </a:lnTo>
                  <a:lnTo>
                    <a:pt x="0" y="135"/>
                  </a:lnTo>
                  <a:lnTo>
                    <a:pt x="8" y="135"/>
                  </a:lnTo>
                  <a:lnTo>
                    <a:pt x="17" y="135"/>
                  </a:lnTo>
                  <a:lnTo>
                    <a:pt x="25" y="135"/>
                  </a:lnTo>
                  <a:lnTo>
                    <a:pt x="34" y="143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9"/>
                  </a:lnTo>
                  <a:lnTo>
                    <a:pt x="50" y="169"/>
                  </a:lnTo>
                  <a:lnTo>
                    <a:pt x="59" y="177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84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0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51" y="135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01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76" y="93"/>
                  </a:lnTo>
                  <a:lnTo>
                    <a:pt x="176" y="93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193" y="26"/>
                  </a:lnTo>
                  <a:lnTo>
                    <a:pt x="193" y="26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3" name="Freeform 133">
              <a:extLst>
                <a:ext uri="{FF2B5EF4-FFF2-40B4-BE49-F238E27FC236}">
                  <a16:creationId xmlns:a16="http://schemas.microsoft.com/office/drawing/2014/main" id="{994BB902-D6C2-4838-A69C-AB80E94A8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5140" y="5026122"/>
              <a:ext cx="9367" cy="0"/>
            </a:xfrm>
            <a:custGeom>
              <a:avLst/>
              <a:gdLst>
                <a:gd name="T0" fmla="*/ 0 w 8"/>
                <a:gd name="T1" fmla="*/ 0 w 8"/>
                <a:gd name="T2" fmla="*/ 8 w 8"/>
                <a:gd name="T3" fmla="*/ 8 w 8"/>
                <a:gd name="T4" fmla="*/ 8 w 8"/>
                <a:gd name="T5" fmla="*/ 8 w 8"/>
                <a:gd name="T6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Freeform 134">
              <a:extLst>
                <a:ext uri="{FF2B5EF4-FFF2-40B4-BE49-F238E27FC236}">
                  <a16:creationId xmlns:a16="http://schemas.microsoft.com/office/drawing/2014/main" id="{F5FA5932-08D0-4645-B652-134D3B02A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778" y="4947674"/>
              <a:ext cx="10538" cy="19905"/>
            </a:xfrm>
            <a:custGeom>
              <a:avLst/>
              <a:gdLst>
                <a:gd name="T0" fmla="*/ 0 w 9"/>
                <a:gd name="T1" fmla="*/ 17 h 17"/>
                <a:gd name="T2" fmla="*/ 0 w 9"/>
                <a:gd name="T3" fmla="*/ 8 h 17"/>
                <a:gd name="T4" fmla="*/ 9 w 9"/>
                <a:gd name="T5" fmla="*/ 8 h 17"/>
                <a:gd name="T6" fmla="*/ 9 w 9"/>
                <a:gd name="T7" fmla="*/ 8 h 17"/>
                <a:gd name="T8" fmla="*/ 9 w 9"/>
                <a:gd name="T9" fmla="*/ 0 h 17"/>
                <a:gd name="T10" fmla="*/ 9 w 9"/>
                <a:gd name="T11" fmla="*/ 0 h 17"/>
                <a:gd name="T12" fmla="*/ 9 w 9"/>
                <a:gd name="T13" fmla="*/ 8 h 17"/>
                <a:gd name="T14" fmla="*/ 9 w 9"/>
                <a:gd name="T15" fmla="*/ 17 h 17"/>
                <a:gd name="T16" fmla="*/ 9 w 9"/>
                <a:gd name="T17" fmla="*/ 17 h 17"/>
                <a:gd name="T18" fmla="*/ 0 w 9"/>
                <a:gd name="T1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7">
                  <a:moveTo>
                    <a:pt x="0" y="17"/>
                  </a:moveTo>
                  <a:lnTo>
                    <a:pt x="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5" name="Freeform 135">
              <a:extLst>
                <a:ext uri="{FF2B5EF4-FFF2-40B4-BE49-F238E27FC236}">
                  <a16:creationId xmlns:a16="http://schemas.microsoft.com/office/drawing/2014/main" id="{EA2E57E8-02BB-403F-A3FA-A9569D44D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4760335"/>
              <a:ext cx="156896" cy="236515"/>
            </a:xfrm>
            <a:custGeom>
              <a:avLst/>
              <a:gdLst>
                <a:gd name="T0" fmla="*/ 0 w 134"/>
                <a:gd name="T1" fmla="*/ 143 h 202"/>
                <a:gd name="T2" fmla="*/ 8 w 134"/>
                <a:gd name="T3" fmla="*/ 126 h 202"/>
                <a:gd name="T4" fmla="*/ 8 w 134"/>
                <a:gd name="T5" fmla="*/ 126 h 202"/>
                <a:gd name="T6" fmla="*/ 17 w 134"/>
                <a:gd name="T7" fmla="*/ 118 h 202"/>
                <a:gd name="T8" fmla="*/ 25 w 134"/>
                <a:gd name="T9" fmla="*/ 110 h 202"/>
                <a:gd name="T10" fmla="*/ 33 w 134"/>
                <a:gd name="T11" fmla="*/ 110 h 202"/>
                <a:gd name="T12" fmla="*/ 42 w 134"/>
                <a:gd name="T13" fmla="*/ 118 h 202"/>
                <a:gd name="T14" fmla="*/ 50 w 134"/>
                <a:gd name="T15" fmla="*/ 118 h 202"/>
                <a:gd name="T16" fmla="*/ 50 w 134"/>
                <a:gd name="T17" fmla="*/ 110 h 202"/>
                <a:gd name="T18" fmla="*/ 59 w 134"/>
                <a:gd name="T19" fmla="*/ 101 h 202"/>
                <a:gd name="T20" fmla="*/ 59 w 134"/>
                <a:gd name="T21" fmla="*/ 93 h 202"/>
                <a:gd name="T22" fmla="*/ 67 w 134"/>
                <a:gd name="T23" fmla="*/ 76 h 202"/>
                <a:gd name="T24" fmla="*/ 75 w 134"/>
                <a:gd name="T25" fmla="*/ 67 h 202"/>
                <a:gd name="T26" fmla="*/ 84 w 134"/>
                <a:gd name="T27" fmla="*/ 59 h 202"/>
                <a:gd name="T28" fmla="*/ 84 w 134"/>
                <a:gd name="T29" fmla="*/ 51 h 202"/>
                <a:gd name="T30" fmla="*/ 84 w 134"/>
                <a:gd name="T31" fmla="*/ 34 h 202"/>
                <a:gd name="T32" fmla="*/ 92 w 134"/>
                <a:gd name="T33" fmla="*/ 34 h 202"/>
                <a:gd name="T34" fmla="*/ 101 w 134"/>
                <a:gd name="T35" fmla="*/ 25 h 202"/>
                <a:gd name="T36" fmla="*/ 101 w 134"/>
                <a:gd name="T37" fmla="*/ 17 h 202"/>
                <a:gd name="T38" fmla="*/ 92 w 134"/>
                <a:gd name="T39" fmla="*/ 9 h 202"/>
                <a:gd name="T40" fmla="*/ 92 w 134"/>
                <a:gd name="T41" fmla="*/ 0 h 202"/>
                <a:gd name="T42" fmla="*/ 109 w 134"/>
                <a:gd name="T43" fmla="*/ 9 h 202"/>
                <a:gd name="T44" fmla="*/ 109 w 134"/>
                <a:gd name="T45" fmla="*/ 17 h 202"/>
                <a:gd name="T46" fmla="*/ 109 w 134"/>
                <a:gd name="T47" fmla="*/ 25 h 202"/>
                <a:gd name="T48" fmla="*/ 109 w 134"/>
                <a:gd name="T49" fmla="*/ 34 h 202"/>
                <a:gd name="T50" fmla="*/ 117 w 134"/>
                <a:gd name="T51" fmla="*/ 42 h 202"/>
                <a:gd name="T52" fmla="*/ 117 w 134"/>
                <a:gd name="T53" fmla="*/ 51 h 202"/>
                <a:gd name="T54" fmla="*/ 117 w 134"/>
                <a:gd name="T55" fmla="*/ 51 h 202"/>
                <a:gd name="T56" fmla="*/ 109 w 134"/>
                <a:gd name="T57" fmla="*/ 51 h 202"/>
                <a:gd name="T58" fmla="*/ 101 w 134"/>
                <a:gd name="T59" fmla="*/ 51 h 202"/>
                <a:gd name="T60" fmla="*/ 92 w 134"/>
                <a:gd name="T61" fmla="*/ 59 h 202"/>
                <a:gd name="T62" fmla="*/ 101 w 134"/>
                <a:gd name="T63" fmla="*/ 67 h 202"/>
                <a:gd name="T64" fmla="*/ 109 w 134"/>
                <a:gd name="T65" fmla="*/ 76 h 202"/>
                <a:gd name="T66" fmla="*/ 117 w 134"/>
                <a:gd name="T67" fmla="*/ 84 h 202"/>
                <a:gd name="T68" fmla="*/ 117 w 134"/>
                <a:gd name="T69" fmla="*/ 101 h 202"/>
                <a:gd name="T70" fmla="*/ 109 w 134"/>
                <a:gd name="T71" fmla="*/ 110 h 202"/>
                <a:gd name="T72" fmla="*/ 101 w 134"/>
                <a:gd name="T73" fmla="*/ 118 h 202"/>
                <a:gd name="T74" fmla="*/ 101 w 134"/>
                <a:gd name="T75" fmla="*/ 135 h 202"/>
                <a:gd name="T76" fmla="*/ 109 w 134"/>
                <a:gd name="T77" fmla="*/ 143 h 202"/>
                <a:gd name="T78" fmla="*/ 109 w 134"/>
                <a:gd name="T79" fmla="*/ 152 h 202"/>
                <a:gd name="T80" fmla="*/ 117 w 134"/>
                <a:gd name="T81" fmla="*/ 168 h 202"/>
                <a:gd name="T82" fmla="*/ 134 w 134"/>
                <a:gd name="T83" fmla="*/ 177 h 202"/>
                <a:gd name="T84" fmla="*/ 134 w 134"/>
                <a:gd name="T85" fmla="*/ 185 h 202"/>
                <a:gd name="T86" fmla="*/ 134 w 134"/>
                <a:gd name="T87" fmla="*/ 194 h 202"/>
                <a:gd name="T88" fmla="*/ 126 w 134"/>
                <a:gd name="T89" fmla="*/ 202 h 202"/>
                <a:gd name="T90" fmla="*/ 126 w 134"/>
                <a:gd name="T91" fmla="*/ 202 h 202"/>
                <a:gd name="T92" fmla="*/ 126 w 134"/>
                <a:gd name="T93" fmla="*/ 202 h 202"/>
                <a:gd name="T94" fmla="*/ 117 w 134"/>
                <a:gd name="T95" fmla="*/ 194 h 202"/>
                <a:gd name="T96" fmla="*/ 109 w 134"/>
                <a:gd name="T97" fmla="*/ 194 h 202"/>
                <a:gd name="T98" fmla="*/ 109 w 134"/>
                <a:gd name="T99" fmla="*/ 194 h 202"/>
                <a:gd name="T100" fmla="*/ 101 w 134"/>
                <a:gd name="T101" fmla="*/ 194 h 202"/>
                <a:gd name="T102" fmla="*/ 75 w 134"/>
                <a:gd name="T103" fmla="*/ 194 h 202"/>
                <a:gd name="T104" fmla="*/ 67 w 134"/>
                <a:gd name="T105" fmla="*/ 194 h 202"/>
                <a:gd name="T106" fmla="*/ 67 w 134"/>
                <a:gd name="T107" fmla="*/ 194 h 202"/>
                <a:gd name="T108" fmla="*/ 59 w 134"/>
                <a:gd name="T109" fmla="*/ 194 h 202"/>
                <a:gd name="T110" fmla="*/ 50 w 134"/>
                <a:gd name="T111" fmla="*/ 194 h 202"/>
                <a:gd name="T112" fmla="*/ 42 w 134"/>
                <a:gd name="T113" fmla="*/ 194 h 202"/>
                <a:gd name="T114" fmla="*/ 25 w 134"/>
                <a:gd name="T115" fmla="*/ 194 h 202"/>
                <a:gd name="T116" fmla="*/ 17 w 134"/>
                <a:gd name="T117" fmla="*/ 185 h 202"/>
                <a:gd name="T118" fmla="*/ 17 w 134"/>
                <a:gd name="T119" fmla="*/ 168 h 202"/>
                <a:gd name="T120" fmla="*/ 17 w 134"/>
                <a:gd name="T121" fmla="*/ 160 h 202"/>
                <a:gd name="T122" fmla="*/ 8 w 134"/>
                <a:gd name="T123" fmla="*/ 160 h 202"/>
                <a:gd name="T124" fmla="*/ 0 w 134"/>
                <a:gd name="T125" fmla="*/ 1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" h="202">
                  <a:moveTo>
                    <a:pt x="0" y="152"/>
                  </a:moveTo>
                  <a:lnTo>
                    <a:pt x="0" y="143"/>
                  </a:lnTo>
                  <a:lnTo>
                    <a:pt x="0" y="143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84"/>
                  </a:lnTo>
                  <a:lnTo>
                    <a:pt x="67" y="84"/>
                  </a:lnTo>
                  <a:lnTo>
                    <a:pt x="67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17" y="4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9" y="76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8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34" y="177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194"/>
                  </a:lnTo>
                  <a:lnTo>
                    <a:pt x="117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59" y="194"/>
                  </a:lnTo>
                  <a:lnTo>
                    <a:pt x="59" y="194"/>
                  </a:lnTo>
                  <a:lnTo>
                    <a:pt x="59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17" y="194"/>
                  </a:lnTo>
                  <a:lnTo>
                    <a:pt x="25" y="194"/>
                  </a:lnTo>
                  <a:lnTo>
                    <a:pt x="17" y="185"/>
                  </a:lnTo>
                  <a:lnTo>
                    <a:pt x="25" y="185"/>
                  </a:lnTo>
                  <a:lnTo>
                    <a:pt x="17" y="177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52"/>
                  </a:lnTo>
                  <a:lnTo>
                    <a:pt x="0" y="152"/>
                  </a:lnTo>
                  <a:lnTo>
                    <a:pt x="0" y="1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6" name="Freeform 136">
              <a:extLst>
                <a:ext uri="{FF2B5EF4-FFF2-40B4-BE49-F238E27FC236}">
                  <a16:creationId xmlns:a16="http://schemas.microsoft.com/office/drawing/2014/main" id="{2C1A5B17-1695-468C-AACC-6207F6AAD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4987484"/>
              <a:ext cx="118257" cy="127625"/>
            </a:xfrm>
            <a:custGeom>
              <a:avLst/>
              <a:gdLst>
                <a:gd name="T0" fmla="*/ 42 w 101"/>
                <a:gd name="T1" fmla="*/ 0 h 109"/>
                <a:gd name="T2" fmla="*/ 50 w 101"/>
                <a:gd name="T3" fmla="*/ 0 h 109"/>
                <a:gd name="T4" fmla="*/ 59 w 101"/>
                <a:gd name="T5" fmla="*/ 0 h 109"/>
                <a:gd name="T6" fmla="*/ 59 w 101"/>
                <a:gd name="T7" fmla="*/ 0 h 109"/>
                <a:gd name="T8" fmla="*/ 67 w 101"/>
                <a:gd name="T9" fmla="*/ 0 h 109"/>
                <a:gd name="T10" fmla="*/ 67 w 101"/>
                <a:gd name="T11" fmla="*/ 0 h 109"/>
                <a:gd name="T12" fmla="*/ 75 w 101"/>
                <a:gd name="T13" fmla="*/ 0 h 109"/>
                <a:gd name="T14" fmla="*/ 75 w 101"/>
                <a:gd name="T15" fmla="*/ 0 h 109"/>
                <a:gd name="T16" fmla="*/ 75 w 101"/>
                <a:gd name="T17" fmla="*/ 0 h 109"/>
                <a:gd name="T18" fmla="*/ 75 w 101"/>
                <a:gd name="T19" fmla="*/ 8 h 109"/>
                <a:gd name="T20" fmla="*/ 75 w 101"/>
                <a:gd name="T21" fmla="*/ 16 h 109"/>
                <a:gd name="T22" fmla="*/ 84 w 101"/>
                <a:gd name="T23" fmla="*/ 16 h 109"/>
                <a:gd name="T24" fmla="*/ 92 w 101"/>
                <a:gd name="T25" fmla="*/ 16 h 109"/>
                <a:gd name="T26" fmla="*/ 101 w 101"/>
                <a:gd name="T27" fmla="*/ 16 h 109"/>
                <a:gd name="T28" fmla="*/ 101 w 101"/>
                <a:gd name="T29" fmla="*/ 16 h 109"/>
                <a:gd name="T30" fmla="*/ 101 w 101"/>
                <a:gd name="T31" fmla="*/ 25 h 109"/>
                <a:gd name="T32" fmla="*/ 101 w 101"/>
                <a:gd name="T33" fmla="*/ 25 h 109"/>
                <a:gd name="T34" fmla="*/ 92 w 101"/>
                <a:gd name="T35" fmla="*/ 33 h 109"/>
                <a:gd name="T36" fmla="*/ 92 w 101"/>
                <a:gd name="T37" fmla="*/ 33 h 109"/>
                <a:gd name="T38" fmla="*/ 92 w 101"/>
                <a:gd name="T39" fmla="*/ 42 h 109"/>
                <a:gd name="T40" fmla="*/ 92 w 101"/>
                <a:gd name="T41" fmla="*/ 42 h 109"/>
                <a:gd name="T42" fmla="*/ 92 w 101"/>
                <a:gd name="T43" fmla="*/ 42 h 109"/>
                <a:gd name="T44" fmla="*/ 92 w 101"/>
                <a:gd name="T45" fmla="*/ 42 h 109"/>
                <a:gd name="T46" fmla="*/ 101 w 101"/>
                <a:gd name="T47" fmla="*/ 50 h 109"/>
                <a:gd name="T48" fmla="*/ 101 w 101"/>
                <a:gd name="T49" fmla="*/ 59 h 109"/>
                <a:gd name="T50" fmla="*/ 92 w 101"/>
                <a:gd name="T51" fmla="*/ 75 h 109"/>
                <a:gd name="T52" fmla="*/ 92 w 101"/>
                <a:gd name="T53" fmla="*/ 84 h 109"/>
                <a:gd name="T54" fmla="*/ 92 w 101"/>
                <a:gd name="T55" fmla="*/ 75 h 109"/>
                <a:gd name="T56" fmla="*/ 84 w 101"/>
                <a:gd name="T57" fmla="*/ 75 h 109"/>
                <a:gd name="T58" fmla="*/ 84 w 101"/>
                <a:gd name="T59" fmla="*/ 75 h 109"/>
                <a:gd name="T60" fmla="*/ 75 w 101"/>
                <a:gd name="T61" fmla="*/ 75 h 109"/>
                <a:gd name="T62" fmla="*/ 67 w 101"/>
                <a:gd name="T63" fmla="*/ 67 h 109"/>
                <a:gd name="T64" fmla="*/ 67 w 101"/>
                <a:gd name="T65" fmla="*/ 75 h 109"/>
                <a:gd name="T66" fmla="*/ 59 w 101"/>
                <a:gd name="T67" fmla="*/ 75 h 109"/>
                <a:gd name="T68" fmla="*/ 59 w 101"/>
                <a:gd name="T69" fmla="*/ 84 h 109"/>
                <a:gd name="T70" fmla="*/ 50 w 101"/>
                <a:gd name="T71" fmla="*/ 84 h 109"/>
                <a:gd name="T72" fmla="*/ 42 w 101"/>
                <a:gd name="T73" fmla="*/ 84 h 109"/>
                <a:gd name="T74" fmla="*/ 50 w 101"/>
                <a:gd name="T75" fmla="*/ 92 h 109"/>
                <a:gd name="T76" fmla="*/ 50 w 101"/>
                <a:gd name="T77" fmla="*/ 84 h 109"/>
                <a:gd name="T78" fmla="*/ 59 w 101"/>
                <a:gd name="T79" fmla="*/ 92 h 109"/>
                <a:gd name="T80" fmla="*/ 59 w 101"/>
                <a:gd name="T81" fmla="*/ 101 h 109"/>
                <a:gd name="T82" fmla="*/ 50 w 101"/>
                <a:gd name="T83" fmla="*/ 101 h 109"/>
                <a:gd name="T84" fmla="*/ 50 w 101"/>
                <a:gd name="T85" fmla="*/ 101 h 109"/>
                <a:gd name="T86" fmla="*/ 42 w 101"/>
                <a:gd name="T87" fmla="*/ 101 h 109"/>
                <a:gd name="T88" fmla="*/ 42 w 101"/>
                <a:gd name="T89" fmla="*/ 109 h 109"/>
                <a:gd name="T90" fmla="*/ 33 w 101"/>
                <a:gd name="T91" fmla="*/ 101 h 109"/>
                <a:gd name="T92" fmla="*/ 25 w 101"/>
                <a:gd name="T93" fmla="*/ 92 h 109"/>
                <a:gd name="T94" fmla="*/ 17 w 101"/>
                <a:gd name="T95" fmla="*/ 84 h 109"/>
                <a:gd name="T96" fmla="*/ 17 w 101"/>
                <a:gd name="T97" fmla="*/ 75 h 109"/>
                <a:gd name="T98" fmla="*/ 8 w 101"/>
                <a:gd name="T99" fmla="*/ 75 h 109"/>
                <a:gd name="T100" fmla="*/ 8 w 101"/>
                <a:gd name="T101" fmla="*/ 67 h 109"/>
                <a:gd name="T102" fmla="*/ 0 w 101"/>
                <a:gd name="T103" fmla="*/ 59 h 109"/>
                <a:gd name="T104" fmla="*/ 0 w 101"/>
                <a:gd name="T105" fmla="*/ 50 h 109"/>
                <a:gd name="T106" fmla="*/ 8 w 101"/>
                <a:gd name="T107" fmla="*/ 50 h 109"/>
                <a:gd name="T108" fmla="*/ 8 w 101"/>
                <a:gd name="T109" fmla="*/ 33 h 109"/>
                <a:gd name="T110" fmla="*/ 17 w 101"/>
                <a:gd name="T111" fmla="*/ 33 h 109"/>
                <a:gd name="T112" fmla="*/ 8 w 101"/>
                <a:gd name="T113" fmla="*/ 25 h 109"/>
                <a:gd name="T114" fmla="*/ 17 w 101"/>
                <a:gd name="T115" fmla="*/ 25 h 109"/>
                <a:gd name="T116" fmla="*/ 17 w 101"/>
                <a:gd name="T117" fmla="*/ 16 h 109"/>
                <a:gd name="T118" fmla="*/ 25 w 101"/>
                <a:gd name="T119" fmla="*/ 25 h 109"/>
                <a:gd name="T120" fmla="*/ 42 w 101"/>
                <a:gd name="T1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" h="109">
                  <a:moveTo>
                    <a:pt x="42" y="0"/>
                  </a:move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75" y="84"/>
                  </a:lnTo>
                  <a:lnTo>
                    <a:pt x="75" y="75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9" y="92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59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25"/>
                  </a:lnTo>
                  <a:lnTo>
                    <a:pt x="42" y="25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7" name="Freeform 137">
              <a:extLst>
                <a:ext uri="{FF2B5EF4-FFF2-40B4-BE49-F238E27FC236}">
                  <a16:creationId xmlns:a16="http://schemas.microsoft.com/office/drawing/2014/main" id="{8BF4D94E-F519-4022-9EAE-F08366ED8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683" y="4987484"/>
              <a:ext cx="39809" cy="29272"/>
            </a:xfrm>
            <a:custGeom>
              <a:avLst/>
              <a:gdLst>
                <a:gd name="T0" fmla="*/ 9 w 34"/>
                <a:gd name="T1" fmla="*/ 25 h 25"/>
                <a:gd name="T2" fmla="*/ 9 w 34"/>
                <a:gd name="T3" fmla="*/ 25 h 25"/>
                <a:gd name="T4" fmla="*/ 9 w 34"/>
                <a:gd name="T5" fmla="*/ 16 h 25"/>
                <a:gd name="T6" fmla="*/ 9 w 34"/>
                <a:gd name="T7" fmla="*/ 16 h 25"/>
                <a:gd name="T8" fmla="*/ 17 w 34"/>
                <a:gd name="T9" fmla="*/ 25 h 25"/>
                <a:gd name="T10" fmla="*/ 34 w 34"/>
                <a:gd name="T11" fmla="*/ 25 h 25"/>
                <a:gd name="T12" fmla="*/ 34 w 34"/>
                <a:gd name="T13" fmla="*/ 0 h 25"/>
                <a:gd name="T14" fmla="*/ 17 w 34"/>
                <a:gd name="T15" fmla="*/ 0 h 25"/>
                <a:gd name="T16" fmla="*/ 17 w 34"/>
                <a:gd name="T17" fmla="*/ 0 h 25"/>
                <a:gd name="T18" fmla="*/ 17 w 34"/>
                <a:gd name="T19" fmla="*/ 0 h 25"/>
                <a:gd name="T20" fmla="*/ 9 w 34"/>
                <a:gd name="T21" fmla="*/ 0 h 25"/>
                <a:gd name="T22" fmla="*/ 9 w 34"/>
                <a:gd name="T23" fmla="*/ 0 h 25"/>
                <a:gd name="T24" fmla="*/ 9 w 34"/>
                <a:gd name="T25" fmla="*/ 0 h 25"/>
                <a:gd name="T26" fmla="*/ 9 w 34"/>
                <a:gd name="T27" fmla="*/ 8 h 25"/>
                <a:gd name="T28" fmla="*/ 0 w 34"/>
                <a:gd name="T29" fmla="*/ 16 h 25"/>
                <a:gd name="T30" fmla="*/ 9 w 34"/>
                <a:gd name="T31" fmla="*/ 16 h 25"/>
                <a:gd name="T32" fmla="*/ 9 w 34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25">
                  <a:moveTo>
                    <a:pt x="9" y="25"/>
                  </a:moveTo>
                  <a:lnTo>
                    <a:pt x="9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7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0" y="16"/>
                  </a:lnTo>
                  <a:lnTo>
                    <a:pt x="9" y="16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8" name="Freeform 138">
              <a:extLst>
                <a:ext uri="{FF2B5EF4-FFF2-40B4-BE49-F238E27FC236}">
                  <a16:creationId xmlns:a16="http://schemas.microsoft.com/office/drawing/2014/main" id="{9F6AD40E-970B-4F57-AB84-16680725E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3493" y="4947674"/>
              <a:ext cx="156896" cy="187339"/>
            </a:xfrm>
            <a:custGeom>
              <a:avLst/>
              <a:gdLst>
                <a:gd name="T0" fmla="*/ 0 w 134"/>
                <a:gd name="T1" fmla="*/ 135 h 160"/>
                <a:gd name="T2" fmla="*/ 8 w 134"/>
                <a:gd name="T3" fmla="*/ 135 h 160"/>
                <a:gd name="T4" fmla="*/ 17 w 134"/>
                <a:gd name="T5" fmla="*/ 135 h 160"/>
                <a:gd name="T6" fmla="*/ 8 w 134"/>
                <a:gd name="T7" fmla="*/ 118 h 160"/>
                <a:gd name="T8" fmla="*/ 8 w 134"/>
                <a:gd name="T9" fmla="*/ 118 h 160"/>
                <a:gd name="T10" fmla="*/ 8 w 134"/>
                <a:gd name="T11" fmla="*/ 118 h 160"/>
                <a:gd name="T12" fmla="*/ 17 w 134"/>
                <a:gd name="T13" fmla="*/ 109 h 160"/>
                <a:gd name="T14" fmla="*/ 25 w 134"/>
                <a:gd name="T15" fmla="*/ 109 h 160"/>
                <a:gd name="T16" fmla="*/ 25 w 134"/>
                <a:gd name="T17" fmla="*/ 101 h 160"/>
                <a:gd name="T18" fmla="*/ 42 w 134"/>
                <a:gd name="T19" fmla="*/ 109 h 160"/>
                <a:gd name="T20" fmla="*/ 50 w 134"/>
                <a:gd name="T21" fmla="*/ 109 h 160"/>
                <a:gd name="T22" fmla="*/ 50 w 134"/>
                <a:gd name="T23" fmla="*/ 118 h 160"/>
                <a:gd name="T24" fmla="*/ 59 w 134"/>
                <a:gd name="T25" fmla="*/ 93 h 160"/>
                <a:gd name="T26" fmla="*/ 59 w 134"/>
                <a:gd name="T27" fmla="*/ 84 h 160"/>
                <a:gd name="T28" fmla="*/ 50 w 134"/>
                <a:gd name="T29" fmla="*/ 76 h 160"/>
                <a:gd name="T30" fmla="*/ 50 w 134"/>
                <a:gd name="T31" fmla="*/ 76 h 160"/>
                <a:gd name="T32" fmla="*/ 50 w 134"/>
                <a:gd name="T33" fmla="*/ 67 h 160"/>
                <a:gd name="T34" fmla="*/ 50 w 134"/>
                <a:gd name="T35" fmla="*/ 67 h 160"/>
                <a:gd name="T36" fmla="*/ 59 w 134"/>
                <a:gd name="T37" fmla="*/ 59 h 160"/>
                <a:gd name="T38" fmla="*/ 59 w 134"/>
                <a:gd name="T39" fmla="*/ 50 h 160"/>
                <a:gd name="T40" fmla="*/ 50 w 134"/>
                <a:gd name="T41" fmla="*/ 50 h 160"/>
                <a:gd name="T42" fmla="*/ 42 w 134"/>
                <a:gd name="T43" fmla="*/ 50 h 160"/>
                <a:gd name="T44" fmla="*/ 33 w 134"/>
                <a:gd name="T45" fmla="*/ 50 h 160"/>
                <a:gd name="T46" fmla="*/ 33 w 134"/>
                <a:gd name="T47" fmla="*/ 34 h 160"/>
                <a:gd name="T48" fmla="*/ 59 w 134"/>
                <a:gd name="T49" fmla="*/ 34 h 160"/>
                <a:gd name="T50" fmla="*/ 67 w 134"/>
                <a:gd name="T51" fmla="*/ 34 h 160"/>
                <a:gd name="T52" fmla="*/ 67 w 134"/>
                <a:gd name="T53" fmla="*/ 34 h 160"/>
                <a:gd name="T54" fmla="*/ 75 w 134"/>
                <a:gd name="T55" fmla="*/ 34 h 160"/>
                <a:gd name="T56" fmla="*/ 84 w 134"/>
                <a:gd name="T57" fmla="*/ 42 h 160"/>
                <a:gd name="T58" fmla="*/ 84 w 134"/>
                <a:gd name="T59" fmla="*/ 42 h 160"/>
                <a:gd name="T60" fmla="*/ 84 w 134"/>
                <a:gd name="T61" fmla="*/ 42 h 160"/>
                <a:gd name="T62" fmla="*/ 92 w 134"/>
                <a:gd name="T63" fmla="*/ 34 h 160"/>
                <a:gd name="T64" fmla="*/ 101 w 134"/>
                <a:gd name="T65" fmla="*/ 8 h 160"/>
                <a:gd name="T66" fmla="*/ 117 w 134"/>
                <a:gd name="T67" fmla="*/ 8 h 160"/>
                <a:gd name="T68" fmla="*/ 126 w 134"/>
                <a:gd name="T69" fmla="*/ 0 h 160"/>
                <a:gd name="T70" fmla="*/ 126 w 134"/>
                <a:gd name="T71" fmla="*/ 8 h 160"/>
                <a:gd name="T72" fmla="*/ 134 w 134"/>
                <a:gd name="T73" fmla="*/ 8 h 160"/>
                <a:gd name="T74" fmla="*/ 134 w 134"/>
                <a:gd name="T75" fmla="*/ 17 h 160"/>
                <a:gd name="T76" fmla="*/ 126 w 134"/>
                <a:gd name="T77" fmla="*/ 42 h 160"/>
                <a:gd name="T78" fmla="*/ 117 w 134"/>
                <a:gd name="T79" fmla="*/ 50 h 160"/>
                <a:gd name="T80" fmla="*/ 117 w 134"/>
                <a:gd name="T81" fmla="*/ 59 h 160"/>
                <a:gd name="T82" fmla="*/ 117 w 134"/>
                <a:gd name="T83" fmla="*/ 67 h 160"/>
                <a:gd name="T84" fmla="*/ 109 w 134"/>
                <a:gd name="T85" fmla="*/ 93 h 160"/>
                <a:gd name="T86" fmla="*/ 101 w 134"/>
                <a:gd name="T87" fmla="*/ 93 h 160"/>
                <a:gd name="T88" fmla="*/ 92 w 134"/>
                <a:gd name="T89" fmla="*/ 101 h 160"/>
                <a:gd name="T90" fmla="*/ 84 w 134"/>
                <a:gd name="T91" fmla="*/ 118 h 160"/>
                <a:gd name="T92" fmla="*/ 84 w 134"/>
                <a:gd name="T93" fmla="*/ 135 h 160"/>
                <a:gd name="T94" fmla="*/ 84 w 134"/>
                <a:gd name="T95" fmla="*/ 143 h 160"/>
                <a:gd name="T96" fmla="*/ 67 w 134"/>
                <a:gd name="T97" fmla="*/ 151 h 160"/>
                <a:gd name="T98" fmla="*/ 59 w 134"/>
                <a:gd name="T99" fmla="*/ 160 h 160"/>
                <a:gd name="T100" fmla="*/ 59 w 134"/>
                <a:gd name="T101" fmla="*/ 151 h 160"/>
                <a:gd name="T102" fmla="*/ 50 w 134"/>
                <a:gd name="T103" fmla="*/ 151 h 160"/>
                <a:gd name="T104" fmla="*/ 42 w 134"/>
                <a:gd name="T105" fmla="*/ 160 h 160"/>
                <a:gd name="T106" fmla="*/ 42 w 134"/>
                <a:gd name="T107" fmla="*/ 160 h 160"/>
                <a:gd name="T108" fmla="*/ 33 w 134"/>
                <a:gd name="T109" fmla="*/ 160 h 160"/>
                <a:gd name="T110" fmla="*/ 33 w 134"/>
                <a:gd name="T111" fmla="*/ 151 h 160"/>
                <a:gd name="T112" fmla="*/ 25 w 134"/>
                <a:gd name="T113" fmla="*/ 151 h 160"/>
                <a:gd name="T114" fmla="*/ 17 w 134"/>
                <a:gd name="T115" fmla="*/ 160 h 160"/>
                <a:gd name="T116" fmla="*/ 17 w 134"/>
                <a:gd name="T117" fmla="*/ 160 h 160"/>
                <a:gd name="T118" fmla="*/ 8 w 134"/>
                <a:gd name="T119" fmla="*/ 151 h 160"/>
                <a:gd name="T120" fmla="*/ 0 w 134"/>
                <a:gd name="T121" fmla="*/ 1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60">
                  <a:moveTo>
                    <a:pt x="0" y="143"/>
                  </a:moveTo>
                  <a:lnTo>
                    <a:pt x="0" y="135"/>
                  </a:lnTo>
                  <a:lnTo>
                    <a:pt x="0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26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7" y="118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109"/>
                  </a:lnTo>
                  <a:lnTo>
                    <a:pt x="33" y="118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25"/>
                  </a:lnTo>
                  <a:lnTo>
                    <a:pt x="101" y="17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25"/>
                  </a:lnTo>
                  <a:lnTo>
                    <a:pt x="126" y="34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9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92" y="118"/>
                  </a:lnTo>
                  <a:lnTo>
                    <a:pt x="84" y="126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75" y="143"/>
                  </a:lnTo>
                  <a:lnTo>
                    <a:pt x="75" y="143"/>
                  </a:lnTo>
                  <a:lnTo>
                    <a:pt x="67" y="151"/>
                  </a:lnTo>
                  <a:lnTo>
                    <a:pt x="67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42" y="151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43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9" name="Freeform 139">
              <a:extLst>
                <a:ext uri="{FF2B5EF4-FFF2-40B4-BE49-F238E27FC236}">
                  <a16:creationId xmlns:a16="http://schemas.microsoft.com/office/drawing/2014/main" id="{9BC22ECF-CC52-4991-B51A-0D76FCF9B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5124475"/>
              <a:ext cx="18734" cy="30443"/>
            </a:xfrm>
            <a:custGeom>
              <a:avLst/>
              <a:gdLst>
                <a:gd name="T0" fmla="*/ 16 w 16"/>
                <a:gd name="T1" fmla="*/ 9 h 26"/>
                <a:gd name="T2" fmla="*/ 16 w 16"/>
                <a:gd name="T3" fmla="*/ 0 h 26"/>
                <a:gd name="T4" fmla="*/ 16 w 16"/>
                <a:gd name="T5" fmla="*/ 0 h 26"/>
                <a:gd name="T6" fmla="*/ 16 w 16"/>
                <a:gd name="T7" fmla="*/ 0 h 26"/>
                <a:gd name="T8" fmla="*/ 8 w 16"/>
                <a:gd name="T9" fmla="*/ 0 h 26"/>
                <a:gd name="T10" fmla="*/ 8 w 16"/>
                <a:gd name="T11" fmla="*/ 0 h 26"/>
                <a:gd name="T12" fmla="*/ 8 w 16"/>
                <a:gd name="T13" fmla="*/ 0 h 26"/>
                <a:gd name="T14" fmla="*/ 8 w 16"/>
                <a:gd name="T15" fmla="*/ 0 h 26"/>
                <a:gd name="T16" fmla="*/ 0 w 16"/>
                <a:gd name="T17" fmla="*/ 9 h 26"/>
                <a:gd name="T18" fmla="*/ 0 w 16"/>
                <a:gd name="T19" fmla="*/ 9 h 26"/>
                <a:gd name="T20" fmla="*/ 0 w 16"/>
                <a:gd name="T21" fmla="*/ 9 h 26"/>
                <a:gd name="T22" fmla="*/ 0 w 16"/>
                <a:gd name="T23" fmla="*/ 9 h 26"/>
                <a:gd name="T24" fmla="*/ 0 w 16"/>
                <a:gd name="T25" fmla="*/ 17 h 26"/>
                <a:gd name="T26" fmla="*/ 0 w 16"/>
                <a:gd name="T27" fmla="*/ 17 h 26"/>
                <a:gd name="T28" fmla="*/ 0 w 16"/>
                <a:gd name="T29" fmla="*/ 26 h 26"/>
                <a:gd name="T30" fmla="*/ 0 w 16"/>
                <a:gd name="T31" fmla="*/ 26 h 26"/>
                <a:gd name="T32" fmla="*/ 0 w 16"/>
                <a:gd name="T33" fmla="*/ 26 h 26"/>
                <a:gd name="T34" fmla="*/ 8 w 16"/>
                <a:gd name="T35" fmla="*/ 26 h 26"/>
                <a:gd name="T36" fmla="*/ 8 w 16"/>
                <a:gd name="T37" fmla="*/ 17 h 26"/>
                <a:gd name="T38" fmla="*/ 8 w 16"/>
                <a:gd name="T39" fmla="*/ 17 h 26"/>
                <a:gd name="T40" fmla="*/ 8 w 16"/>
                <a:gd name="T41" fmla="*/ 9 h 26"/>
                <a:gd name="T42" fmla="*/ 16 w 16"/>
                <a:gd name="T43" fmla="*/ 9 h 26"/>
                <a:gd name="T44" fmla="*/ 16 w 16"/>
                <a:gd name="T45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26">
                  <a:moveTo>
                    <a:pt x="16" y="9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0" name="Freeform 140">
              <a:extLst>
                <a:ext uri="{FF2B5EF4-FFF2-40B4-BE49-F238E27FC236}">
                  <a16:creationId xmlns:a16="http://schemas.microsoft.com/office/drawing/2014/main" id="{726B806B-DE0F-4B9D-BE47-28421813A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999" y="5046027"/>
              <a:ext cx="236515" cy="236515"/>
            </a:xfrm>
            <a:custGeom>
              <a:avLst/>
              <a:gdLst>
                <a:gd name="T0" fmla="*/ 25 w 202"/>
                <a:gd name="T1" fmla="*/ 9 h 202"/>
                <a:gd name="T2" fmla="*/ 84 w 202"/>
                <a:gd name="T3" fmla="*/ 0 h 202"/>
                <a:gd name="T4" fmla="*/ 151 w 202"/>
                <a:gd name="T5" fmla="*/ 51 h 202"/>
                <a:gd name="T6" fmla="*/ 177 w 202"/>
                <a:gd name="T7" fmla="*/ 67 h 202"/>
                <a:gd name="T8" fmla="*/ 177 w 202"/>
                <a:gd name="T9" fmla="*/ 76 h 202"/>
                <a:gd name="T10" fmla="*/ 168 w 202"/>
                <a:gd name="T11" fmla="*/ 93 h 202"/>
                <a:gd name="T12" fmla="*/ 177 w 202"/>
                <a:gd name="T13" fmla="*/ 109 h 202"/>
                <a:gd name="T14" fmla="*/ 185 w 202"/>
                <a:gd name="T15" fmla="*/ 109 h 202"/>
                <a:gd name="T16" fmla="*/ 177 w 202"/>
                <a:gd name="T17" fmla="*/ 118 h 202"/>
                <a:gd name="T18" fmla="*/ 177 w 202"/>
                <a:gd name="T19" fmla="*/ 135 h 202"/>
                <a:gd name="T20" fmla="*/ 177 w 202"/>
                <a:gd name="T21" fmla="*/ 143 h 202"/>
                <a:gd name="T22" fmla="*/ 177 w 202"/>
                <a:gd name="T23" fmla="*/ 152 h 202"/>
                <a:gd name="T24" fmla="*/ 185 w 202"/>
                <a:gd name="T25" fmla="*/ 152 h 202"/>
                <a:gd name="T26" fmla="*/ 193 w 202"/>
                <a:gd name="T27" fmla="*/ 168 h 202"/>
                <a:gd name="T28" fmla="*/ 202 w 202"/>
                <a:gd name="T29" fmla="*/ 177 h 202"/>
                <a:gd name="T30" fmla="*/ 193 w 202"/>
                <a:gd name="T31" fmla="*/ 177 h 202"/>
                <a:gd name="T32" fmla="*/ 185 w 202"/>
                <a:gd name="T33" fmla="*/ 177 h 202"/>
                <a:gd name="T34" fmla="*/ 177 w 202"/>
                <a:gd name="T35" fmla="*/ 185 h 202"/>
                <a:gd name="T36" fmla="*/ 168 w 202"/>
                <a:gd name="T37" fmla="*/ 185 h 202"/>
                <a:gd name="T38" fmla="*/ 160 w 202"/>
                <a:gd name="T39" fmla="*/ 194 h 202"/>
                <a:gd name="T40" fmla="*/ 151 w 202"/>
                <a:gd name="T41" fmla="*/ 185 h 202"/>
                <a:gd name="T42" fmla="*/ 151 w 202"/>
                <a:gd name="T43" fmla="*/ 194 h 202"/>
                <a:gd name="T44" fmla="*/ 143 w 202"/>
                <a:gd name="T45" fmla="*/ 194 h 202"/>
                <a:gd name="T46" fmla="*/ 135 w 202"/>
                <a:gd name="T47" fmla="*/ 194 h 202"/>
                <a:gd name="T48" fmla="*/ 126 w 202"/>
                <a:gd name="T49" fmla="*/ 194 h 202"/>
                <a:gd name="T50" fmla="*/ 118 w 202"/>
                <a:gd name="T51" fmla="*/ 194 h 202"/>
                <a:gd name="T52" fmla="*/ 118 w 202"/>
                <a:gd name="T53" fmla="*/ 194 h 202"/>
                <a:gd name="T54" fmla="*/ 109 w 202"/>
                <a:gd name="T55" fmla="*/ 194 h 202"/>
                <a:gd name="T56" fmla="*/ 93 w 202"/>
                <a:gd name="T57" fmla="*/ 202 h 202"/>
                <a:gd name="T58" fmla="*/ 84 w 202"/>
                <a:gd name="T59" fmla="*/ 160 h 202"/>
                <a:gd name="T60" fmla="*/ 76 w 202"/>
                <a:gd name="T61" fmla="*/ 160 h 202"/>
                <a:gd name="T62" fmla="*/ 76 w 202"/>
                <a:gd name="T63" fmla="*/ 160 h 202"/>
                <a:gd name="T64" fmla="*/ 67 w 202"/>
                <a:gd name="T65" fmla="*/ 160 h 202"/>
                <a:gd name="T66" fmla="*/ 67 w 202"/>
                <a:gd name="T67" fmla="*/ 152 h 202"/>
                <a:gd name="T68" fmla="*/ 59 w 202"/>
                <a:gd name="T69" fmla="*/ 152 h 202"/>
                <a:gd name="T70" fmla="*/ 59 w 202"/>
                <a:gd name="T71" fmla="*/ 143 h 202"/>
                <a:gd name="T72" fmla="*/ 42 w 202"/>
                <a:gd name="T73" fmla="*/ 143 h 202"/>
                <a:gd name="T74" fmla="*/ 34 w 202"/>
                <a:gd name="T75" fmla="*/ 135 h 202"/>
                <a:gd name="T76" fmla="*/ 34 w 202"/>
                <a:gd name="T77" fmla="*/ 135 h 202"/>
                <a:gd name="T78" fmla="*/ 9 w 202"/>
                <a:gd name="T79" fmla="*/ 101 h 202"/>
                <a:gd name="T80" fmla="*/ 9 w 202"/>
                <a:gd name="T81" fmla="*/ 67 h 202"/>
                <a:gd name="T82" fmla="*/ 25 w 202"/>
                <a:gd name="T83" fmla="*/ 59 h 202"/>
                <a:gd name="T84" fmla="*/ 34 w 202"/>
                <a:gd name="T85" fmla="*/ 51 h 202"/>
                <a:gd name="T86" fmla="*/ 25 w 202"/>
                <a:gd name="T87" fmla="*/ 42 h 202"/>
                <a:gd name="T88" fmla="*/ 25 w 202"/>
                <a:gd name="T89" fmla="*/ 34 h 202"/>
                <a:gd name="T90" fmla="*/ 25 w 202"/>
                <a:gd name="T91" fmla="*/ 34 h 202"/>
                <a:gd name="T92" fmla="*/ 34 w 202"/>
                <a:gd name="T93" fmla="*/ 34 h 202"/>
                <a:gd name="T94" fmla="*/ 34 w 202"/>
                <a:gd name="T95" fmla="*/ 25 h 202"/>
                <a:gd name="T96" fmla="*/ 25 w 202"/>
                <a:gd name="T97" fmla="*/ 1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202"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51" y="9"/>
                  </a:lnTo>
                  <a:lnTo>
                    <a:pt x="84" y="0"/>
                  </a:lnTo>
                  <a:lnTo>
                    <a:pt x="151" y="42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168" y="84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77" y="101"/>
                  </a:lnTo>
                  <a:lnTo>
                    <a:pt x="177" y="109"/>
                  </a:lnTo>
                  <a:lnTo>
                    <a:pt x="177" y="101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7" y="109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52"/>
                  </a:lnTo>
                  <a:lnTo>
                    <a:pt x="185" y="152"/>
                  </a:lnTo>
                  <a:lnTo>
                    <a:pt x="177" y="152"/>
                  </a:lnTo>
                  <a:lnTo>
                    <a:pt x="185" y="152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85" y="177"/>
                  </a:lnTo>
                  <a:lnTo>
                    <a:pt x="185" y="185"/>
                  </a:lnTo>
                  <a:lnTo>
                    <a:pt x="185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0" y="185"/>
                  </a:lnTo>
                  <a:lnTo>
                    <a:pt x="160" y="194"/>
                  </a:lnTo>
                  <a:lnTo>
                    <a:pt x="160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93" y="194"/>
                  </a:lnTo>
                  <a:lnTo>
                    <a:pt x="93" y="202"/>
                  </a:lnTo>
                  <a:lnTo>
                    <a:pt x="93" y="177"/>
                  </a:lnTo>
                  <a:lnTo>
                    <a:pt x="84" y="16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59" y="152"/>
                  </a:lnTo>
                  <a:lnTo>
                    <a:pt x="59" y="152"/>
                  </a:lnTo>
                  <a:lnTo>
                    <a:pt x="59" y="152"/>
                  </a:lnTo>
                  <a:lnTo>
                    <a:pt x="59" y="143"/>
                  </a:lnTo>
                  <a:lnTo>
                    <a:pt x="51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17" y="118"/>
                  </a:lnTo>
                  <a:lnTo>
                    <a:pt x="9" y="101"/>
                  </a:lnTo>
                  <a:lnTo>
                    <a:pt x="0" y="84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4" y="34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25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1" name="Freeform 141">
              <a:extLst>
                <a:ext uri="{FF2B5EF4-FFF2-40B4-BE49-F238E27FC236}">
                  <a16:creationId xmlns:a16="http://schemas.microsoft.com/office/drawing/2014/main" id="{A123BA7C-7055-48AE-803D-0547A4B86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999" y="5056565"/>
              <a:ext cx="39809" cy="29272"/>
            </a:xfrm>
            <a:custGeom>
              <a:avLst/>
              <a:gdLst>
                <a:gd name="T0" fmla="*/ 9 w 34"/>
                <a:gd name="T1" fmla="*/ 0 h 25"/>
                <a:gd name="T2" fmla="*/ 9 w 34"/>
                <a:gd name="T3" fmla="*/ 0 h 25"/>
                <a:gd name="T4" fmla="*/ 9 w 34"/>
                <a:gd name="T5" fmla="*/ 0 h 25"/>
                <a:gd name="T6" fmla="*/ 17 w 34"/>
                <a:gd name="T7" fmla="*/ 0 h 25"/>
                <a:gd name="T8" fmla="*/ 17 w 34"/>
                <a:gd name="T9" fmla="*/ 0 h 25"/>
                <a:gd name="T10" fmla="*/ 17 w 34"/>
                <a:gd name="T11" fmla="*/ 0 h 25"/>
                <a:gd name="T12" fmla="*/ 17 w 34"/>
                <a:gd name="T13" fmla="*/ 0 h 25"/>
                <a:gd name="T14" fmla="*/ 17 w 34"/>
                <a:gd name="T15" fmla="*/ 0 h 25"/>
                <a:gd name="T16" fmla="*/ 17 w 34"/>
                <a:gd name="T17" fmla="*/ 0 h 25"/>
                <a:gd name="T18" fmla="*/ 25 w 34"/>
                <a:gd name="T19" fmla="*/ 0 h 25"/>
                <a:gd name="T20" fmla="*/ 25 w 34"/>
                <a:gd name="T21" fmla="*/ 0 h 25"/>
                <a:gd name="T22" fmla="*/ 25 w 34"/>
                <a:gd name="T23" fmla="*/ 8 h 25"/>
                <a:gd name="T24" fmla="*/ 25 w 34"/>
                <a:gd name="T25" fmla="*/ 8 h 25"/>
                <a:gd name="T26" fmla="*/ 34 w 34"/>
                <a:gd name="T27" fmla="*/ 8 h 25"/>
                <a:gd name="T28" fmla="*/ 34 w 34"/>
                <a:gd name="T29" fmla="*/ 16 h 25"/>
                <a:gd name="T30" fmla="*/ 34 w 34"/>
                <a:gd name="T31" fmla="*/ 16 h 25"/>
                <a:gd name="T32" fmla="*/ 34 w 34"/>
                <a:gd name="T33" fmla="*/ 16 h 25"/>
                <a:gd name="T34" fmla="*/ 34 w 34"/>
                <a:gd name="T35" fmla="*/ 25 h 25"/>
                <a:gd name="T36" fmla="*/ 25 w 34"/>
                <a:gd name="T37" fmla="*/ 25 h 25"/>
                <a:gd name="T38" fmla="*/ 25 w 34"/>
                <a:gd name="T39" fmla="*/ 25 h 25"/>
                <a:gd name="T40" fmla="*/ 25 w 34"/>
                <a:gd name="T41" fmla="*/ 25 h 25"/>
                <a:gd name="T42" fmla="*/ 25 w 34"/>
                <a:gd name="T43" fmla="*/ 25 h 25"/>
                <a:gd name="T44" fmla="*/ 25 w 34"/>
                <a:gd name="T45" fmla="*/ 25 h 25"/>
                <a:gd name="T46" fmla="*/ 25 w 34"/>
                <a:gd name="T47" fmla="*/ 25 h 25"/>
                <a:gd name="T48" fmla="*/ 25 w 34"/>
                <a:gd name="T49" fmla="*/ 16 h 25"/>
                <a:gd name="T50" fmla="*/ 17 w 34"/>
                <a:gd name="T51" fmla="*/ 16 h 25"/>
                <a:gd name="T52" fmla="*/ 17 w 34"/>
                <a:gd name="T53" fmla="*/ 16 h 25"/>
                <a:gd name="T54" fmla="*/ 17 w 34"/>
                <a:gd name="T55" fmla="*/ 16 h 25"/>
                <a:gd name="T56" fmla="*/ 17 w 34"/>
                <a:gd name="T57" fmla="*/ 16 h 25"/>
                <a:gd name="T58" fmla="*/ 17 w 34"/>
                <a:gd name="T59" fmla="*/ 25 h 25"/>
                <a:gd name="T60" fmla="*/ 17 w 34"/>
                <a:gd name="T61" fmla="*/ 25 h 25"/>
                <a:gd name="T62" fmla="*/ 9 w 34"/>
                <a:gd name="T63" fmla="*/ 25 h 25"/>
                <a:gd name="T64" fmla="*/ 9 w 34"/>
                <a:gd name="T65" fmla="*/ 25 h 25"/>
                <a:gd name="T66" fmla="*/ 9 w 34"/>
                <a:gd name="T67" fmla="*/ 25 h 25"/>
                <a:gd name="T68" fmla="*/ 9 w 34"/>
                <a:gd name="T69" fmla="*/ 25 h 25"/>
                <a:gd name="T70" fmla="*/ 0 w 34"/>
                <a:gd name="T71" fmla="*/ 25 h 25"/>
                <a:gd name="T72" fmla="*/ 0 w 34"/>
                <a:gd name="T73" fmla="*/ 25 h 25"/>
                <a:gd name="T74" fmla="*/ 0 w 34"/>
                <a:gd name="T75" fmla="*/ 25 h 25"/>
                <a:gd name="T76" fmla="*/ 0 w 34"/>
                <a:gd name="T77" fmla="*/ 25 h 25"/>
                <a:gd name="T78" fmla="*/ 0 w 34"/>
                <a:gd name="T79" fmla="*/ 25 h 25"/>
                <a:gd name="T80" fmla="*/ 0 w 34"/>
                <a:gd name="T81" fmla="*/ 25 h 25"/>
                <a:gd name="T82" fmla="*/ 0 w 34"/>
                <a:gd name="T83" fmla="*/ 8 h 25"/>
                <a:gd name="T84" fmla="*/ 0 w 34"/>
                <a:gd name="T85" fmla="*/ 8 h 25"/>
                <a:gd name="T86" fmla="*/ 9 w 34"/>
                <a:gd name="T8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" h="25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8"/>
                  </a:lnTo>
                  <a:lnTo>
                    <a:pt x="0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2" name="Freeform 142">
              <a:extLst>
                <a:ext uri="{FF2B5EF4-FFF2-40B4-BE49-F238E27FC236}">
                  <a16:creationId xmlns:a16="http://schemas.microsoft.com/office/drawing/2014/main" id="{9433DA1C-31D4-4B1F-8642-17FDE568E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632" y="5075299"/>
              <a:ext cx="49176" cy="49176"/>
            </a:xfrm>
            <a:custGeom>
              <a:avLst/>
              <a:gdLst>
                <a:gd name="T0" fmla="*/ 8 w 42"/>
                <a:gd name="T1" fmla="*/ 42 h 42"/>
                <a:gd name="T2" fmla="*/ 17 w 42"/>
                <a:gd name="T3" fmla="*/ 42 h 42"/>
                <a:gd name="T4" fmla="*/ 25 w 42"/>
                <a:gd name="T5" fmla="*/ 42 h 42"/>
                <a:gd name="T6" fmla="*/ 25 w 42"/>
                <a:gd name="T7" fmla="*/ 34 h 42"/>
                <a:gd name="T8" fmla="*/ 33 w 42"/>
                <a:gd name="T9" fmla="*/ 34 h 42"/>
                <a:gd name="T10" fmla="*/ 33 w 42"/>
                <a:gd name="T11" fmla="*/ 26 h 42"/>
                <a:gd name="T12" fmla="*/ 33 w 42"/>
                <a:gd name="T13" fmla="*/ 26 h 42"/>
                <a:gd name="T14" fmla="*/ 42 w 42"/>
                <a:gd name="T15" fmla="*/ 26 h 42"/>
                <a:gd name="T16" fmla="*/ 42 w 42"/>
                <a:gd name="T17" fmla="*/ 26 h 42"/>
                <a:gd name="T18" fmla="*/ 42 w 42"/>
                <a:gd name="T19" fmla="*/ 17 h 42"/>
                <a:gd name="T20" fmla="*/ 33 w 42"/>
                <a:gd name="T21" fmla="*/ 17 h 42"/>
                <a:gd name="T22" fmla="*/ 33 w 42"/>
                <a:gd name="T23" fmla="*/ 17 h 42"/>
                <a:gd name="T24" fmla="*/ 33 w 42"/>
                <a:gd name="T25" fmla="*/ 9 h 42"/>
                <a:gd name="T26" fmla="*/ 33 w 42"/>
                <a:gd name="T27" fmla="*/ 9 h 42"/>
                <a:gd name="T28" fmla="*/ 33 w 42"/>
                <a:gd name="T29" fmla="*/ 9 h 42"/>
                <a:gd name="T30" fmla="*/ 33 w 42"/>
                <a:gd name="T31" fmla="*/ 9 h 42"/>
                <a:gd name="T32" fmla="*/ 33 w 42"/>
                <a:gd name="T33" fmla="*/ 9 h 42"/>
                <a:gd name="T34" fmla="*/ 33 w 42"/>
                <a:gd name="T35" fmla="*/ 0 h 42"/>
                <a:gd name="T36" fmla="*/ 25 w 42"/>
                <a:gd name="T37" fmla="*/ 0 h 42"/>
                <a:gd name="T38" fmla="*/ 25 w 42"/>
                <a:gd name="T39" fmla="*/ 0 h 42"/>
                <a:gd name="T40" fmla="*/ 25 w 42"/>
                <a:gd name="T41" fmla="*/ 0 h 42"/>
                <a:gd name="T42" fmla="*/ 25 w 42"/>
                <a:gd name="T43" fmla="*/ 0 h 42"/>
                <a:gd name="T44" fmla="*/ 25 w 42"/>
                <a:gd name="T45" fmla="*/ 9 h 42"/>
                <a:gd name="T46" fmla="*/ 25 w 42"/>
                <a:gd name="T47" fmla="*/ 9 h 42"/>
                <a:gd name="T48" fmla="*/ 17 w 42"/>
                <a:gd name="T49" fmla="*/ 9 h 42"/>
                <a:gd name="T50" fmla="*/ 17 w 42"/>
                <a:gd name="T51" fmla="*/ 9 h 42"/>
                <a:gd name="T52" fmla="*/ 17 w 42"/>
                <a:gd name="T53" fmla="*/ 9 h 42"/>
                <a:gd name="T54" fmla="*/ 17 w 42"/>
                <a:gd name="T55" fmla="*/ 9 h 42"/>
                <a:gd name="T56" fmla="*/ 8 w 42"/>
                <a:gd name="T57" fmla="*/ 9 h 42"/>
                <a:gd name="T58" fmla="*/ 8 w 42"/>
                <a:gd name="T59" fmla="*/ 9 h 42"/>
                <a:gd name="T60" fmla="*/ 8 w 42"/>
                <a:gd name="T61" fmla="*/ 9 h 42"/>
                <a:gd name="T62" fmla="*/ 8 w 42"/>
                <a:gd name="T63" fmla="*/ 9 h 42"/>
                <a:gd name="T64" fmla="*/ 8 w 42"/>
                <a:gd name="T65" fmla="*/ 9 h 42"/>
                <a:gd name="T66" fmla="*/ 0 w 42"/>
                <a:gd name="T67" fmla="*/ 9 h 42"/>
                <a:gd name="T68" fmla="*/ 8 w 42"/>
                <a:gd name="T69" fmla="*/ 17 h 42"/>
                <a:gd name="T70" fmla="*/ 8 w 42"/>
                <a:gd name="T71" fmla="*/ 17 h 42"/>
                <a:gd name="T72" fmla="*/ 8 w 42"/>
                <a:gd name="T73" fmla="*/ 26 h 42"/>
                <a:gd name="T74" fmla="*/ 8 w 42"/>
                <a:gd name="T7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2">
                  <a:moveTo>
                    <a:pt x="8" y="42"/>
                  </a:moveTo>
                  <a:lnTo>
                    <a:pt x="17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33" y="3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0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6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3" name="Freeform 143">
              <a:extLst>
                <a:ext uri="{FF2B5EF4-FFF2-40B4-BE49-F238E27FC236}">
                  <a16:creationId xmlns:a16="http://schemas.microsoft.com/office/drawing/2014/main" id="{DED0C804-8847-426F-865B-BB15F2B45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4918402"/>
              <a:ext cx="393411" cy="393412"/>
            </a:xfrm>
            <a:custGeom>
              <a:avLst/>
              <a:gdLst>
                <a:gd name="T0" fmla="*/ 8 w 336"/>
                <a:gd name="T1" fmla="*/ 185 h 336"/>
                <a:gd name="T2" fmla="*/ 25 w 336"/>
                <a:gd name="T3" fmla="*/ 185 h 336"/>
                <a:gd name="T4" fmla="*/ 33 w 336"/>
                <a:gd name="T5" fmla="*/ 176 h 336"/>
                <a:gd name="T6" fmla="*/ 42 w 336"/>
                <a:gd name="T7" fmla="*/ 185 h 336"/>
                <a:gd name="T8" fmla="*/ 67 w 336"/>
                <a:gd name="T9" fmla="*/ 168 h 336"/>
                <a:gd name="T10" fmla="*/ 67 w 336"/>
                <a:gd name="T11" fmla="*/ 134 h 336"/>
                <a:gd name="T12" fmla="*/ 84 w 336"/>
                <a:gd name="T13" fmla="*/ 118 h 336"/>
                <a:gd name="T14" fmla="*/ 100 w 336"/>
                <a:gd name="T15" fmla="*/ 92 h 336"/>
                <a:gd name="T16" fmla="*/ 109 w 336"/>
                <a:gd name="T17" fmla="*/ 67 h 336"/>
                <a:gd name="T18" fmla="*/ 117 w 336"/>
                <a:gd name="T19" fmla="*/ 42 h 336"/>
                <a:gd name="T20" fmla="*/ 117 w 336"/>
                <a:gd name="T21" fmla="*/ 17 h 336"/>
                <a:gd name="T22" fmla="*/ 117 w 336"/>
                <a:gd name="T23" fmla="*/ 8 h 336"/>
                <a:gd name="T24" fmla="*/ 134 w 336"/>
                <a:gd name="T25" fmla="*/ 8 h 336"/>
                <a:gd name="T26" fmla="*/ 151 w 336"/>
                <a:gd name="T27" fmla="*/ 17 h 336"/>
                <a:gd name="T28" fmla="*/ 168 w 336"/>
                <a:gd name="T29" fmla="*/ 17 h 336"/>
                <a:gd name="T30" fmla="*/ 184 w 336"/>
                <a:gd name="T31" fmla="*/ 17 h 336"/>
                <a:gd name="T32" fmla="*/ 193 w 336"/>
                <a:gd name="T33" fmla="*/ 17 h 336"/>
                <a:gd name="T34" fmla="*/ 218 w 336"/>
                <a:gd name="T35" fmla="*/ 8 h 336"/>
                <a:gd name="T36" fmla="*/ 227 w 336"/>
                <a:gd name="T37" fmla="*/ 8 h 336"/>
                <a:gd name="T38" fmla="*/ 235 w 336"/>
                <a:gd name="T39" fmla="*/ 0 h 336"/>
                <a:gd name="T40" fmla="*/ 252 w 336"/>
                <a:gd name="T41" fmla="*/ 8 h 336"/>
                <a:gd name="T42" fmla="*/ 277 w 336"/>
                <a:gd name="T43" fmla="*/ 8 h 336"/>
                <a:gd name="T44" fmla="*/ 285 w 336"/>
                <a:gd name="T45" fmla="*/ 17 h 336"/>
                <a:gd name="T46" fmla="*/ 302 w 336"/>
                <a:gd name="T47" fmla="*/ 17 h 336"/>
                <a:gd name="T48" fmla="*/ 311 w 336"/>
                <a:gd name="T49" fmla="*/ 8 h 336"/>
                <a:gd name="T50" fmla="*/ 327 w 336"/>
                <a:gd name="T51" fmla="*/ 25 h 336"/>
                <a:gd name="T52" fmla="*/ 336 w 336"/>
                <a:gd name="T53" fmla="*/ 33 h 336"/>
                <a:gd name="T54" fmla="*/ 336 w 336"/>
                <a:gd name="T55" fmla="*/ 59 h 336"/>
                <a:gd name="T56" fmla="*/ 319 w 336"/>
                <a:gd name="T57" fmla="*/ 84 h 336"/>
                <a:gd name="T58" fmla="*/ 311 w 336"/>
                <a:gd name="T59" fmla="*/ 118 h 336"/>
                <a:gd name="T60" fmla="*/ 302 w 336"/>
                <a:gd name="T61" fmla="*/ 151 h 336"/>
                <a:gd name="T62" fmla="*/ 327 w 336"/>
                <a:gd name="T63" fmla="*/ 244 h 336"/>
                <a:gd name="T64" fmla="*/ 294 w 336"/>
                <a:gd name="T65" fmla="*/ 269 h 336"/>
                <a:gd name="T66" fmla="*/ 294 w 336"/>
                <a:gd name="T67" fmla="*/ 286 h 336"/>
                <a:gd name="T68" fmla="*/ 285 w 336"/>
                <a:gd name="T69" fmla="*/ 311 h 336"/>
                <a:gd name="T70" fmla="*/ 302 w 336"/>
                <a:gd name="T71" fmla="*/ 319 h 336"/>
                <a:gd name="T72" fmla="*/ 311 w 336"/>
                <a:gd name="T73" fmla="*/ 336 h 336"/>
                <a:gd name="T74" fmla="*/ 294 w 336"/>
                <a:gd name="T75" fmla="*/ 336 h 336"/>
                <a:gd name="T76" fmla="*/ 269 w 336"/>
                <a:gd name="T77" fmla="*/ 319 h 336"/>
                <a:gd name="T78" fmla="*/ 260 w 336"/>
                <a:gd name="T79" fmla="*/ 303 h 336"/>
                <a:gd name="T80" fmla="*/ 252 w 336"/>
                <a:gd name="T81" fmla="*/ 311 h 336"/>
                <a:gd name="T82" fmla="*/ 235 w 336"/>
                <a:gd name="T83" fmla="*/ 303 h 336"/>
                <a:gd name="T84" fmla="*/ 227 w 336"/>
                <a:gd name="T85" fmla="*/ 294 h 336"/>
                <a:gd name="T86" fmla="*/ 218 w 336"/>
                <a:gd name="T87" fmla="*/ 303 h 336"/>
                <a:gd name="T88" fmla="*/ 210 w 336"/>
                <a:gd name="T89" fmla="*/ 294 h 336"/>
                <a:gd name="T90" fmla="*/ 193 w 336"/>
                <a:gd name="T91" fmla="*/ 294 h 336"/>
                <a:gd name="T92" fmla="*/ 176 w 336"/>
                <a:gd name="T93" fmla="*/ 294 h 336"/>
                <a:gd name="T94" fmla="*/ 176 w 336"/>
                <a:gd name="T95" fmla="*/ 286 h 336"/>
                <a:gd name="T96" fmla="*/ 176 w 336"/>
                <a:gd name="T97" fmla="*/ 277 h 336"/>
                <a:gd name="T98" fmla="*/ 168 w 336"/>
                <a:gd name="T99" fmla="*/ 269 h 336"/>
                <a:gd name="T100" fmla="*/ 168 w 336"/>
                <a:gd name="T101" fmla="*/ 252 h 336"/>
                <a:gd name="T102" fmla="*/ 168 w 336"/>
                <a:gd name="T103" fmla="*/ 235 h 336"/>
                <a:gd name="T104" fmla="*/ 151 w 336"/>
                <a:gd name="T105" fmla="*/ 227 h 336"/>
                <a:gd name="T106" fmla="*/ 126 w 336"/>
                <a:gd name="T107" fmla="*/ 227 h 336"/>
                <a:gd name="T108" fmla="*/ 109 w 336"/>
                <a:gd name="T109" fmla="*/ 244 h 336"/>
                <a:gd name="T110" fmla="*/ 92 w 336"/>
                <a:gd name="T111" fmla="*/ 235 h 336"/>
                <a:gd name="T112" fmla="*/ 84 w 336"/>
                <a:gd name="T113" fmla="*/ 218 h 336"/>
                <a:gd name="T114" fmla="*/ 84 w 336"/>
                <a:gd name="T115" fmla="*/ 202 h 336"/>
                <a:gd name="T116" fmla="*/ 42 w 336"/>
                <a:gd name="T117" fmla="*/ 202 h 336"/>
                <a:gd name="T118" fmla="*/ 16 w 336"/>
                <a:gd name="T119" fmla="*/ 202 h 336"/>
                <a:gd name="T120" fmla="*/ 8 w 336"/>
                <a:gd name="T121" fmla="*/ 20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6" h="336">
                  <a:moveTo>
                    <a:pt x="0" y="202"/>
                  </a:moveTo>
                  <a:lnTo>
                    <a:pt x="0" y="202"/>
                  </a:lnTo>
                  <a:lnTo>
                    <a:pt x="8" y="202"/>
                  </a:lnTo>
                  <a:lnTo>
                    <a:pt x="8" y="193"/>
                  </a:lnTo>
                  <a:lnTo>
                    <a:pt x="8" y="193"/>
                  </a:lnTo>
                  <a:lnTo>
                    <a:pt x="8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25" y="176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76"/>
                  </a:lnTo>
                  <a:lnTo>
                    <a:pt x="33" y="176"/>
                  </a:lnTo>
                  <a:lnTo>
                    <a:pt x="33" y="176"/>
                  </a:lnTo>
                  <a:lnTo>
                    <a:pt x="33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50" y="185"/>
                  </a:lnTo>
                  <a:lnTo>
                    <a:pt x="50" y="176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1"/>
                  </a:lnTo>
                  <a:lnTo>
                    <a:pt x="75" y="143"/>
                  </a:lnTo>
                  <a:lnTo>
                    <a:pt x="67" y="143"/>
                  </a:lnTo>
                  <a:lnTo>
                    <a:pt x="67" y="134"/>
                  </a:lnTo>
                  <a:lnTo>
                    <a:pt x="75" y="134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100" y="109"/>
                  </a:lnTo>
                  <a:lnTo>
                    <a:pt x="100" y="101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59"/>
                  </a:lnTo>
                  <a:lnTo>
                    <a:pt x="117" y="50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33"/>
                  </a:lnTo>
                  <a:lnTo>
                    <a:pt x="117" y="33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2" y="8"/>
                  </a:lnTo>
                  <a:lnTo>
                    <a:pt x="142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76" y="17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84" y="25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8"/>
                  </a:lnTo>
                  <a:lnTo>
                    <a:pt x="193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8"/>
                  </a:lnTo>
                  <a:lnTo>
                    <a:pt x="252" y="8"/>
                  </a:lnTo>
                  <a:lnTo>
                    <a:pt x="252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9" y="25"/>
                  </a:lnTo>
                  <a:lnTo>
                    <a:pt x="327" y="25"/>
                  </a:lnTo>
                  <a:lnTo>
                    <a:pt x="327" y="25"/>
                  </a:lnTo>
                  <a:lnTo>
                    <a:pt x="327" y="25"/>
                  </a:lnTo>
                  <a:lnTo>
                    <a:pt x="327" y="33"/>
                  </a:lnTo>
                  <a:lnTo>
                    <a:pt x="327" y="33"/>
                  </a:lnTo>
                  <a:lnTo>
                    <a:pt x="327" y="33"/>
                  </a:lnTo>
                  <a:lnTo>
                    <a:pt x="336" y="33"/>
                  </a:lnTo>
                  <a:lnTo>
                    <a:pt x="336" y="33"/>
                  </a:lnTo>
                  <a:lnTo>
                    <a:pt x="336" y="33"/>
                  </a:lnTo>
                  <a:lnTo>
                    <a:pt x="336" y="42"/>
                  </a:lnTo>
                  <a:lnTo>
                    <a:pt x="336" y="42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67"/>
                  </a:lnTo>
                  <a:lnTo>
                    <a:pt x="327" y="75"/>
                  </a:lnTo>
                  <a:lnTo>
                    <a:pt x="319" y="84"/>
                  </a:lnTo>
                  <a:lnTo>
                    <a:pt x="319" y="84"/>
                  </a:lnTo>
                  <a:lnTo>
                    <a:pt x="311" y="92"/>
                  </a:lnTo>
                  <a:lnTo>
                    <a:pt x="311" y="101"/>
                  </a:lnTo>
                  <a:lnTo>
                    <a:pt x="311" y="101"/>
                  </a:lnTo>
                  <a:lnTo>
                    <a:pt x="311" y="109"/>
                  </a:lnTo>
                  <a:lnTo>
                    <a:pt x="311" y="118"/>
                  </a:lnTo>
                  <a:lnTo>
                    <a:pt x="311" y="118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302" y="143"/>
                  </a:lnTo>
                  <a:lnTo>
                    <a:pt x="294" y="143"/>
                  </a:lnTo>
                  <a:lnTo>
                    <a:pt x="302" y="151"/>
                  </a:lnTo>
                  <a:lnTo>
                    <a:pt x="302" y="151"/>
                  </a:lnTo>
                  <a:lnTo>
                    <a:pt x="302" y="160"/>
                  </a:lnTo>
                  <a:lnTo>
                    <a:pt x="302" y="193"/>
                  </a:lnTo>
                  <a:lnTo>
                    <a:pt x="311" y="210"/>
                  </a:lnTo>
                  <a:lnTo>
                    <a:pt x="319" y="227"/>
                  </a:lnTo>
                  <a:lnTo>
                    <a:pt x="327" y="244"/>
                  </a:lnTo>
                  <a:lnTo>
                    <a:pt x="327" y="244"/>
                  </a:lnTo>
                  <a:lnTo>
                    <a:pt x="294" y="252"/>
                  </a:lnTo>
                  <a:lnTo>
                    <a:pt x="285" y="261"/>
                  </a:lnTo>
                  <a:lnTo>
                    <a:pt x="285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77"/>
                  </a:lnTo>
                  <a:lnTo>
                    <a:pt x="294" y="277"/>
                  </a:lnTo>
                  <a:lnTo>
                    <a:pt x="294" y="277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85" y="294"/>
                  </a:lnTo>
                  <a:lnTo>
                    <a:pt x="285" y="294"/>
                  </a:lnTo>
                  <a:lnTo>
                    <a:pt x="285" y="303"/>
                  </a:lnTo>
                  <a:lnTo>
                    <a:pt x="285" y="311"/>
                  </a:lnTo>
                  <a:lnTo>
                    <a:pt x="285" y="311"/>
                  </a:lnTo>
                  <a:lnTo>
                    <a:pt x="294" y="311"/>
                  </a:lnTo>
                  <a:lnTo>
                    <a:pt x="294" y="319"/>
                  </a:lnTo>
                  <a:lnTo>
                    <a:pt x="294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1"/>
                  </a:lnTo>
                  <a:lnTo>
                    <a:pt x="311" y="311"/>
                  </a:lnTo>
                  <a:lnTo>
                    <a:pt x="311" y="311"/>
                  </a:lnTo>
                  <a:lnTo>
                    <a:pt x="311" y="336"/>
                  </a:lnTo>
                  <a:lnTo>
                    <a:pt x="311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294" y="336"/>
                  </a:lnTo>
                  <a:lnTo>
                    <a:pt x="294" y="328"/>
                  </a:lnTo>
                  <a:lnTo>
                    <a:pt x="285" y="328"/>
                  </a:lnTo>
                  <a:lnTo>
                    <a:pt x="285" y="328"/>
                  </a:lnTo>
                  <a:lnTo>
                    <a:pt x="285" y="319"/>
                  </a:lnTo>
                  <a:lnTo>
                    <a:pt x="277" y="319"/>
                  </a:lnTo>
                  <a:lnTo>
                    <a:pt x="269" y="319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9" y="303"/>
                  </a:lnTo>
                  <a:lnTo>
                    <a:pt x="260" y="303"/>
                  </a:lnTo>
                  <a:lnTo>
                    <a:pt x="260" y="303"/>
                  </a:lnTo>
                  <a:lnTo>
                    <a:pt x="260" y="303"/>
                  </a:lnTo>
                  <a:lnTo>
                    <a:pt x="260" y="311"/>
                  </a:lnTo>
                  <a:lnTo>
                    <a:pt x="260" y="311"/>
                  </a:lnTo>
                  <a:lnTo>
                    <a:pt x="252" y="311"/>
                  </a:lnTo>
                  <a:lnTo>
                    <a:pt x="252" y="311"/>
                  </a:lnTo>
                  <a:lnTo>
                    <a:pt x="252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27" y="303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18" y="294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01" y="294"/>
                  </a:lnTo>
                  <a:lnTo>
                    <a:pt x="201" y="294"/>
                  </a:lnTo>
                  <a:lnTo>
                    <a:pt x="201" y="294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68" y="269"/>
                  </a:lnTo>
                  <a:lnTo>
                    <a:pt x="168" y="269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52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51" y="218"/>
                  </a:lnTo>
                  <a:lnTo>
                    <a:pt x="151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26" y="218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09" y="235"/>
                  </a:lnTo>
                  <a:lnTo>
                    <a:pt x="109" y="244"/>
                  </a:lnTo>
                  <a:lnTo>
                    <a:pt x="100" y="244"/>
                  </a:lnTo>
                  <a:lnTo>
                    <a:pt x="100" y="235"/>
                  </a:lnTo>
                  <a:lnTo>
                    <a:pt x="100" y="244"/>
                  </a:lnTo>
                  <a:lnTo>
                    <a:pt x="92" y="244"/>
                  </a:lnTo>
                  <a:lnTo>
                    <a:pt x="92" y="235"/>
                  </a:lnTo>
                  <a:lnTo>
                    <a:pt x="92" y="235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58" y="202"/>
                  </a:lnTo>
                  <a:lnTo>
                    <a:pt x="50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Freeform 144">
              <a:extLst>
                <a:ext uri="{FF2B5EF4-FFF2-40B4-BE49-F238E27FC236}">
                  <a16:creationId xmlns:a16="http://schemas.microsoft.com/office/drawing/2014/main" id="{A2E2320F-AFD8-4A88-B5AF-19F825623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080" y="5223999"/>
              <a:ext cx="69081" cy="167434"/>
            </a:xfrm>
            <a:custGeom>
              <a:avLst/>
              <a:gdLst>
                <a:gd name="T0" fmla="*/ 8 w 59"/>
                <a:gd name="T1" fmla="*/ 0 h 143"/>
                <a:gd name="T2" fmla="*/ 8 w 59"/>
                <a:gd name="T3" fmla="*/ 8 h 143"/>
                <a:gd name="T4" fmla="*/ 17 w 59"/>
                <a:gd name="T5" fmla="*/ 8 h 143"/>
                <a:gd name="T6" fmla="*/ 17 w 59"/>
                <a:gd name="T7" fmla="*/ 8 h 143"/>
                <a:gd name="T8" fmla="*/ 17 w 59"/>
                <a:gd name="T9" fmla="*/ 8 h 143"/>
                <a:gd name="T10" fmla="*/ 25 w 59"/>
                <a:gd name="T11" fmla="*/ 8 h 143"/>
                <a:gd name="T12" fmla="*/ 25 w 59"/>
                <a:gd name="T13" fmla="*/ 16 h 143"/>
                <a:gd name="T14" fmla="*/ 34 w 59"/>
                <a:gd name="T15" fmla="*/ 50 h 143"/>
                <a:gd name="T16" fmla="*/ 34 w 59"/>
                <a:gd name="T17" fmla="*/ 75 h 143"/>
                <a:gd name="T18" fmla="*/ 42 w 59"/>
                <a:gd name="T19" fmla="*/ 75 h 143"/>
                <a:gd name="T20" fmla="*/ 42 w 59"/>
                <a:gd name="T21" fmla="*/ 84 h 143"/>
                <a:gd name="T22" fmla="*/ 50 w 59"/>
                <a:gd name="T23" fmla="*/ 92 h 143"/>
                <a:gd name="T24" fmla="*/ 59 w 59"/>
                <a:gd name="T25" fmla="*/ 100 h 143"/>
                <a:gd name="T26" fmla="*/ 59 w 59"/>
                <a:gd name="T27" fmla="*/ 100 h 143"/>
                <a:gd name="T28" fmla="*/ 50 w 59"/>
                <a:gd name="T29" fmla="*/ 109 h 143"/>
                <a:gd name="T30" fmla="*/ 50 w 59"/>
                <a:gd name="T31" fmla="*/ 109 h 143"/>
                <a:gd name="T32" fmla="*/ 50 w 59"/>
                <a:gd name="T33" fmla="*/ 109 h 143"/>
                <a:gd name="T34" fmla="*/ 50 w 59"/>
                <a:gd name="T35" fmla="*/ 117 h 143"/>
                <a:gd name="T36" fmla="*/ 50 w 59"/>
                <a:gd name="T37" fmla="*/ 126 h 143"/>
                <a:gd name="T38" fmla="*/ 42 w 59"/>
                <a:gd name="T39" fmla="*/ 126 h 143"/>
                <a:gd name="T40" fmla="*/ 42 w 59"/>
                <a:gd name="T41" fmla="*/ 134 h 143"/>
                <a:gd name="T42" fmla="*/ 42 w 59"/>
                <a:gd name="T43" fmla="*/ 143 h 143"/>
                <a:gd name="T44" fmla="*/ 42 w 59"/>
                <a:gd name="T45" fmla="*/ 143 h 143"/>
                <a:gd name="T46" fmla="*/ 34 w 59"/>
                <a:gd name="T47" fmla="*/ 134 h 143"/>
                <a:gd name="T48" fmla="*/ 34 w 59"/>
                <a:gd name="T49" fmla="*/ 134 h 143"/>
                <a:gd name="T50" fmla="*/ 25 w 59"/>
                <a:gd name="T51" fmla="*/ 126 h 143"/>
                <a:gd name="T52" fmla="*/ 25 w 59"/>
                <a:gd name="T53" fmla="*/ 117 h 143"/>
                <a:gd name="T54" fmla="*/ 25 w 59"/>
                <a:gd name="T55" fmla="*/ 117 h 143"/>
                <a:gd name="T56" fmla="*/ 34 w 59"/>
                <a:gd name="T57" fmla="*/ 109 h 143"/>
                <a:gd name="T58" fmla="*/ 34 w 59"/>
                <a:gd name="T59" fmla="*/ 100 h 143"/>
                <a:gd name="T60" fmla="*/ 25 w 59"/>
                <a:gd name="T61" fmla="*/ 92 h 143"/>
                <a:gd name="T62" fmla="*/ 17 w 59"/>
                <a:gd name="T63" fmla="*/ 92 h 143"/>
                <a:gd name="T64" fmla="*/ 17 w 59"/>
                <a:gd name="T65" fmla="*/ 92 h 143"/>
                <a:gd name="T66" fmla="*/ 17 w 59"/>
                <a:gd name="T67" fmla="*/ 92 h 143"/>
                <a:gd name="T68" fmla="*/ 8 w 59"/>
                <a:gd name="T69" fmla="*/ 92 h 143"/>
                <a:gd name="T70" fmla="*/ 8 w 59"/>
                <a:gd name="T71" fmla="*/ 84 h 143"/>
                <a:gd name="T72" fmla="*/ 0 w 59"/>
                <a:gd name="T73" fmla="*/ 84 h 143"/>
                <a:gd name="T74" fmla="*/ 0 w 59"/>
                <a:gd name="T75" fmla="*/ 75 h 143"/>
                <a:gd name="T76" fmla="*/ 8 w 59"/>
                <a:gd name="T77" fmla="*/ 75 h 143"/>
                <a:gd name="T78" fmla="*/ 8 w 59"/>
                <a:gd name="T79" fmla="*/ 67 h 143"/>
                <a:gd name="T80" fmla="*/ 8 w 59"/>
                <a:gd name="T81" fmla="*/ 67 h 143"/>
                <a:gd name="T82" fmla="*/ 8 w 59"/>
                <a:gd name="T83" fmla="*/ 58 h 143"/>
                <a:gd name="T84" fmla="*/ 17 w 59"/>
                <a:gd name="T85" fmla="*/ 58 h 143"/>
                <a:gd name="T86" fmla="*/ 17 w 59"/>
                <a:gd name="T87" fmla="*/ 58 h 143"/>
                <a:gd name="T88" fmla="*/ 8 w 59"/>
                <a:gd name="T89" fmla="*/ 50 h 143"/>
                <a:gd name="T90" fmla="*/ 8 w 59"/>
                <a:gd name="T91" fmla="*/ 50 h 143"/>
                <a:gd name="T92" fmla="*/ 8 w 59"/>
                <a:gd name="T93" fmla="*/ 42 h 143"/>
                <a:gd name="T94" fmla="*/ 8 w 59"/>
                <a:gd name="T95" fmla="*/ 42 h 143"/>
                <a:gd name="T96" fmla="*/ 8 w 59"/>
                <a:gd name="T97" fmla="*/ 33 h 143"/>
                <a:gd name="T98" fmla="*/ 17 w 59"/>
                <a:gd name="T99" fmla="*/ 25 h 143"/>
                <a:gd name="T100" fmla="*/ 17 w 59"/>
                <a:gd name="T101" fmla="*/ 25 h 143"/>
                <a:gd name="T102" fmla="*/ 17 w 59"/>
                <a:gd name="T103" fmla="*/ 16 h 143"/>
                <a:gd name="T104" fmla="*/ 8 w 59"/>
                <a:gd name="T105" fmla="*/ 16 h 143"/>
                <a:gd name="T106" fmla="*/ 17 w 59"/>
                <a:gd name="T107" fmla="*/ 8 h 143"/>
                <a:gd name="T108" fmla="*/ 8 w 59"/>
                <a:gd name="T109" fmla="*/ 8 h 143"/>
                <a:gd name="T110" fmla="*/ 8 w 59"/>
                <a:gd name="T11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" h="143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34" y="25"/>
                  </a:lnTo>
                  <a:lnTo>
                    <a:pt x="34" y="50"/>
                  </a:lnTo>
                  <a:lnTo>
                    <a:pt x="25" y="58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42" y="75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0" y="100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0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5" name="Freeform 145">
              <a:extLst>
                <a:ext uri="{FF2B5EF4-FFF2-40B4-BE49-F238E27FC236}">
                  <a16:creationId xmlns:a16="http://schemas.microsoft.com/office/drawing/2014/main" id="{D1DB32A4-1555-4693-AC1C-959DDC6EF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03" y="5204094"/>
              <a:ext cx="245882" cy="206073"/>
            </a:xfrm>
            <a:custGeom>
              <a:avLst/>
              <a:gdLst>
                <a:gd name="T0" fmla="*/ 42 w 210"/>
                <a:gd name="T1" fmla="*/ 50 h 176"/>
                <a:gd name="T2" fmla="*/ 50 w 210"/>
                <a:gd name="T3" fmla="*/ 59 h 176"/>
                <a:gd name="T4" fmla="*/ 59 w 210"/>
                <a:gd name="T5" fmla="*/ 50 h 176"/>
                <a:gd name="T6" fmla="*/ 67 w 210"/>
                <a:gd name="T7" fmla="*/ 59 h 176"/>
                <a:gd name="T8" fmla="*/ 67 w 210"/>
                <a:gd name="T9" fmla="*/ 59 h 176"/>
                <a:gd name="T10" fmla="*/ 84 w 210"/>
                <a:gd name="T11" fmla="*/ 67 h 176"/>
                <a:gd name="T12" fmla="*/ 92 w 210"/>
                <a:gd name="T13" fmla="*/ 67 h 176"/>
                <a:gd name="T14" fmla="*/ 101 w 210"/>
                <a:gd name="T15" fmla="*/ 59 h 176"/>
                <a:gd name="T16" fmla="*/ 101 w 210"/>
                <a:gd name="T17" fmla="*/ 75 h 176"/>
                <a:gd name="T18" fmla="*/ 117 w 210"/>
                <a:gd name="T19" fmla="*/ 84 h 176"/>
                <a:gd name="T20" fmla="*/ 134 w 210"/>
                <a:gd name="T21" fmla="*/ 92 h 176"/>
                <a:gd name="T22" fmla="*/ 143 w 210"/>
                <a:gd name="T23" fmla="*/ 92 h 176"/>
                <a:gd name="T24" fmla="*/ 134 w 210"/>
                <a:gd name="T25" fmla="*/ 67 h 176"/>
                <a:gd name="T26" fmla="*/ 126 w 210"/>
                <a:gd name="T27" fmla="*/ 75 h 176"/>
                <a:gd name="T28" fmla="*/ 117 w 210"/>
                <a:gd name="T29" fmla="*/ 67 h 176"/>
                <a:gd name="T30" fmla="*/ 126 w 210"/>
                <a:gd name="T31" fmla="*/ 42 h 176"/>
                <a:gd name="T32" fmla="*/ 126 w 210"/>
                <a:gd name="T33" fmla="*/ 33 h 176"/>
                <a:gd name="T34" fmla="*/ 126 w 210"/>
                <a:gd name="T35" fmla="*/ 25 h 176"/>
                <a:gd name="T36" fmla="*/ 117 w 210"/>
                <a:gd name="T37" fmla="*/ 17 h 176"/>
                <a:gd name="T38" fmla="*/ 168 w 210"/>
                <a:gd name="T39" fmla="*/ 0 h 176"/>
                <a:gd name="T40" fmla="*/ 176 w 210"/>
                <a:gd name="T41" fmla="*/ 8 h 176"/>
                <a:gd name="T42" fmla="*/ 193 w 210"/>
                <a:gd name="T43" fmla="*/ 8 h 176"/>
                <a:gd name="T44" fmla="*/ 201 w 210"/>
                <a:gd name="T45" fmla="*/ 17 h 176"/>
                <a:gd name="T46" fmla="*/ 201 w 210"/>
                <a:gd name="T47" fmla="*/ 25 h 176"/>
                <a:gd name="T48" fmla="*/ 201 w 210"/>
                <a:gd name="T49" fmla="*/ 33 h 176"/>
                <a:gd name="T50" fmla="*/ 210 w 210"/>
                <a:gd name="T51" fmla="*/ 42 h 176"/>
                <a:gd name="T52" fmla="*/ 201 w 210"/>
                <a:gd name="T53" fmla="*/ 50 h 176"/>
                <a:gd name="T54" fmla="*/ 201 w 210"/>
                <a:gd name="T55" fmla="*/ 59 h 176"/>
                <a:gd name="T56" fmla="*/ 201 w 210"/>
                <a:gd name="T57" fmla="*/ 67 h 176"/>
                <a:gd name="T58" fmla="*/ 210 w 210"/>
                <a:gd name="T59" fmla="*/ 75 h 176"/>
                <a:gd name="T60" fmla="*/ 201 w 210"/>
                <a:gd name="T61" fmla="*/ 84 h 176"/>
                <a:gd name="T62" fmla="*/ 201 w 210"/>
                <a:gd name="T63" fmla="*/ 92 h 176"/>
                <a:gd name="T64" fmla="*/ 193 w 210"/>
                <a:gd name="T65" fmla="*/ 101 h 176"/>
                <a:gd name="T66" fmla="*/ 193 w 210"/>
                <a:gd name="T67" fmla="*/ 109 h 176"/>
                <a:gd name="T68" fmla="*/ 159 w 210"/>
                <a:gd name="T69" fmla="*/ 117 h 176"/>
                <a:gd name="T70" fmla="*/ 151 w 210"/>
                <a:gd name="T71" fmla="*/ 134 h 176"/>
                <a:gd name="T72" fmla="*/ 143 w 210"/>
                <a:gd name="T73" fmla="*/ 134 h 176"/>
                <a:gd name="T74" fmla="*/ 134 w 210"/>
                <a:gd name="T75" fmla="*/ 134 h 176"/>
                <a:gd name="T76" fmla="*/ 126 w 210"/>
                <a:gd name="T77" fmla="*/ 143 h 176"/>
                <a:gd name="T78" fmla="*/ 117 w 210"/>
                <a:gd name="T79" fmla="*/ 143 h 176"/>
                <a:gd name="T80" fmla="*/ 92 w 210"/>
                <a:gd name="T81" fmla="*/ 176 h 176"/>
                <a:gd name="T82" fmla="*/ 84 w 210"/>
                <a:gd name="T83" fmla="*/ 168 h 176"/>
                <a:gd name="T84" fmla="*/ 75 w 210"/>
                <a:gd name="T85" fmla="*/ 168 h 176"/>
                <a:gd name="T86" fmla="*/ 67 w 210"/>
                <a:gd name="T87" fmla="*/ 168 h 176"/>
                <a:gd name="T88" fmla="*/ 50 w 210"/>
                <a:gd name="T89" fmla="*/ 168 h 176"/>
                <a:gd name="T90" fmla="*/ 50 w 210"/>
                <a:gd name="T91" fmla="*/ 168 h 176"/>
                <a:gd name="T92" fmla="*/ 25 w 210"/>
                <a:gd name="T93" fmla="*/ 168 h 176"/>
                <a:gd name="T94" fmla="*/ 16 w 210"/>
                <a:gd name="T95" fmla="*/ 160 h 176"/>
                <a:gd name="T96" fmla="*/ 8 w 210"/>
                <a:gd name="T97" fmla="*/ 151 h 176"/>
                <a:gd name="T98" fmla="*/ 0 w 210"/>
                <a:gd name="T99" fmla="*/ 143 h 176"/>
                <a:gd name="T100" fmla="*/ 42 w 210"/>
                <a:gd name="T101" fmla="*/ 75 h 176"/>
                <a:gd name="T102" fmla="*/ 42 w 210"/>
                <a:gd name="T103" fmla="*/ 67 h 176"/>
                <a:gd name="T104" fmla="*/ 42 w 210"/>
                <a:gd name="T105" fmla="*/ 5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176">
                  <a:moveTo>
                    <a:pt x="42" y="50"/>
                  </a:move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50" y="5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59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75"/>
                  </a:lnTo>
                  <a:lnTo>
                    <a:pt x="109" y="75"/>
                  </a:lnTo>
                  <a:lnTo>
                    <a:pt x="117" y="75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26" y="84"/>
                  </a:lnTo>
                  <a:lnTo>
                    <a:pt x="126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34" y="67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6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59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26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85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10" y="25"/>
                  </a:lnTo>
                  <a:lnTo>
                    <a:pt x="210" y="25"/>
                  </a:lnTo>
                  <a:lnTo>
                    <a:pt x="201" y="33"/>
                  </a:lnTo>
                  <a:lnTo>
                    <a:pt x="201" y="33"/>
                  </a:lnTo>
                  <a:lnTo>
                    <a:pt x="210" y="33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01" y="50"/>
                  </a:lnTo>
                  <a:lnTo>
                    <a:pt x="201" y="50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10" y="59"/>
                  </a:lnTo>
                  <a:lnTo>
                    <a:pt x="201" y="59"/>
                  </a:lnTo>
                  <a:lnTo>
                    <a:pt x="210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17" y="143"/>
                  </a:lnTo>
                  <a:lnTo>
                    <a:pt x="117" y="151"/>
                  </a:lnTo>
                  <a:lnTo>
                    <a:pt x="101" y="160"/>
                  </a:lnTo>
                  <a:lnTo>
                    <a:pt x="92" y="168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6" name="Freeform 146">
              <a:extLst>
                <a:ext uri="{FF2B5EF4-FFF2-40B4-BE49-F238E27FC236}">
                  <a16:creationId xmlns:a16="http://schemas.microsoft.com/office/drawing/2014/main" id="{E906B02D-3583-4872-8938-750193E36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859" y="5154918"/>
              <a:ext cx="256420" cy="255249"/>
            </a:xfrm>
            <a:custGeom>
              <a:avLst/>
              <a:gdLst>
                <a:gd name="T0" fmla="*/ 193 w 219"/>
                <a:gd name="T1" fmla="*/ 202 h 218"/>
                <a:gd name="T2" fmla="*/ 185 w 219"/>
                <a:gd name="T3" fmla="*/ 193 h 218"/>
                <a:gd name="T4" fmla="*/ 177 w 219"/>
                <a:gd name="T5" fmla="*/ 185 h 218"/>
                <a:gd name="T6" fmla="*/ 219 w 219"/>
                <a:gd name="T7" fmla="*/ 126 h 218"/>
                <a:gd name="T8" fmla="*/ 219 w 219"/>
                <a:gd name="T9" fmla="*/ 109 h 218"/>
                <a:gd name="T10" fmla="*/ 219 w 219"/>
                <a:gd name="T11" fmla="*/ 92 h 218"/>
                <a:gd name="T12" fmla="*/ 210 w 219"/>
                <a:gd name="T13" fmla="*/ 92 h 218"/>
                <a:gd name="T14" fmla="*/ 202 w 219"/>
                <a:gd name="T15" fmla="*/ 92 h 218"/>
                <a:gd name="T16" fmla="*/ 193 w 219"/>
                <a:gd name="T17" fmla="*/ 92 h 218"/>
                <a:gd name="T18" fmla="*/ 185 w 219"/>
                <a:gd name="T19" fmla="*/ 92 h 218"/>
                <a:gd name="T20" fmla="*/ 185 w 219"/>
                <a:gd name="T21" fmla="*/ 84 h 218"/>
                <a:gd name="T22" fmla="*/ 185 w 219"/>
                <a:gd name="T23" fmla="*/ 75 h 218"/>
                <a:gd name="T24" fmla="*/ 185 w 219"/>
                <a:gd name="T25" fmla="*/ 67 h 218"/>
                <a:gd name="T26" fmla="*/ 177 w 219"/>
                <a:gd name="T27" fmla="*/ 67 h 218"/>
                <a:gd name="T28" fmla="*/ 177 w 219"/>
                <a:gd name="T29" fmla="*/ 59 h 218"/>
                <a:gd name="T30" fmla="*/ 177 w 219"/>
                <a:gd name="T31" fmla="*/ 42 h 218"/>
                <a:gd name="T32" fmla="*/ 177 w 219"/>
                <a:gd name="T33" fmla="*/ 33 h 218"/>
                <a:gd name="T34" fmla="*/ 177 w 219"/>
                <a:gd name="T35" fmla="*/ 25 h 218"/>
                <a:gd name="T36" fmla="*/ 160 w 219"/>
                <a:gd name="T37" fmla="*/ 16 h 218"/>
                <a:gd name="T38" fmla="*/ 135 w 219"/>
                <a:gd name="T39" fmla="*/ 25 h 218"/>
                <a:gd name="T40" fmla="*/ 135 w 219"/>
                <a:gd name="T41" fmla="*/ 33 h 218"/>
                <a:gd name="T42" fmla="*/ 109 w 219"/>
                <a:gd name="T43" fmla="*/ 33 h 218"/>
                <a:gd name="T44" fmla="*/ 101 w 219"/>
                <a:gd name="T45" fmla="*/ 33 h 218"/>
                <a:gd name="T46" fmla="*/ 93 w 219"/>
                <a:gd name="T47" fmla="*/ 25 h 218"/>
                <a:gd name="T48" fmla="*/ 93 w 219"/>
                <a:gd name="T49" fmla="*/ 8 h 218"/>
                <a:gd name="T50" fmla="*/ 93 w 219"/>
                <a:gd name="T51" fmla="*/ 0 h 218"/>
                <a:gd name="T52" fmla="*/ 59 w 219"/>
                <a:gd name="T53" fmla="*/ 0 h 218"/>
                <a:gd name="T54" fmla="*/ 42 w 219"/>
                <a:gd name="T55" fmla="*/ 0 h 218"/>
                <a:gd name="T56" fmla="*/ 25 w 219"/>
                <a:gd name="T57" fmla="*/ 0 h 218"/>
                <a:gd name="T58" fmla="*/ 17 w 219"/>
                <a:gd name="T59" fmla="*/ 0 h 218"/>
                <a:gd name="T60" fmla="*/ 9 w 219"/>
                <a:gd name="T61" fmla="*/ 8 h 218"/>
                <a:gd name="T62" fmla="*/ 25 w 219"/>
                <a:gd name="T63" fmla="*/ 33 h 218"/>
                <a:gd name="T64" fmla="*/ 25 w 219"/>
                <a:gd name="T65" fmla="*/ 59 h 218"/>
                <a:gd name="T66" fmla="*/ 34 w 219"/>
                <a:gd name="T67" fmla="*/ 84 h 218"/>
                <a:gd name="T68" fmla="*/ 34 w 219"/>
                <a:gd name="T69" fmla="*/ 117 h 218"/>
                <a:gd name="T70" fmla="*/ 9 w 219"/>
                <a:gd name="T71" fmla="*/ 134 h 218"/>
                <a:gd name="T72" fmla="*/ 0 w 219"/>
                <a:gd name="T73" fmla="*/ 159 h 218"/>
                <a:gd name="T74" fmla="*/ 0 w 219"/>
                <a:gd name="T75" fmla="*/ 185 h 218"/>
                <a:gd name="T76" fmla="*/ 0 w 219"/>
                <a:gd name="T77" fmla="*/ 202 h 218"/>
                <a:gd name="T78" fmla="*/ 0 w 219"/>
                <a:gd name="T79" fmla="*/ 202 h 218"/>
                <a:gd name="T80" fmla="*/ 9 w 219"/>
                <a:gd name="T81" fmla="*/ 202 h 218"/>
                <a:gd name="T82" fmla="*/ 25 w 219"/>
                <a:gd name="T83" fmla="*/ 202 h 218"/>
                <a:gd name="T84" fmla="*/ 25 w 219"/>
                <a:gd name="T85" fmla="*/ 202 h 218"/>
                <a:gd name="T86" fmla="*/ 34 w 219"/>
                <a:gd name="T87" fmla="*/ 202 h 218"/>
                <a:gd name="T88" fmla="*/ 42 w 219"/>
                <a:gd name="T89" fmla="*/ 202 h 218"/>
                <a:gd name="T90" fmla="*/ 118 w 219"/>
                <a:gd name="T91" fmla="*/ 202 h 218"/>
                <a:gd name="T92" fmla="*/ 118 w 219"/>
                <a:gd name="T93" fmla="*/ 210 h 218"/>
                <a:gd name="T94" fmla="*/ 126 w 219"/>
                <a:gd name="T95" fmla="*/ 210 h 218"/>
                <a:gd name="T96" fmla="*/ 143 w 219"/>
                <a:gd name="T97" fmla="*/ 210 h 218"/>
                <a:gd name="T98" fmla="*/ 151 w 219"/>
                <a:gd name="T99" fmla="*/ 210 h 218"/>
                <a:gd name="T100" fmla="*/ 160 w 219"/>
                <a:gd name="T101" fmla="*/ 218 h 218"/>
                <a:gd name="T102" fmla="*/ 168 w 219"/>
                <a:gd name="T103" fmla="*/ 218 h 218"/>
                <a:gd name="T104" fmla="*/ 168 w 219"/>
                <a:gd name="T105" fmla="*/ 218 h 218"/>
                <a:gd name="T106" fmla="*/ 202 w 219"/>
                <a:gd name="T107" fmla="*/ 21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18">
                  <a:moveTo>
                    <a:pt x="202" y="210"/>
                  </a:moveTo>
                  <a:lnTo>
                    <a:pt x="202" y="210"/>
                  </a:lnTo>
                  <a:lnTo>
                    <a:pt x="202" y="210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7" y="126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0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35" y="16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09" y="42"/>
                  </a:lnTo>
                  <a:lnTo>
                    <a:pt x="109" y="33"/>
                  </a:lnTo>
                  <a:lnTo>
                    <a:pt x="109" y="42"/>
                  </a:lnTo>
                  <a:lnTo>
                    <a:pt x="101" y="42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25" y="33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92"/>
                  </a:lnTo>
                  <a:lnTo>
                    <a:pt x="34" y="101"/>
                  </a:lnTo>
                  <a:lnTo>
                    <a:pt x="34" y="117"/>
                  </a:lnTo>
                  <a:lnTo>
                    <a:pt x="25" y="117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9" y="134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59"/>
                  </a:lnTo>
                  <a:lnTo>
                    <a:pt x="0" y="159"/>
                  </a:lnTo>
                  <a:lnTo>
                    <a:pt x="0" y="168"/>
                  </a:lnTo>
                  <a:lnTo>
                    <a:pt x="0" y="176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17" y="193"/>
                  </a:lnTo>
                  <a:lnTo>
                    <a:pt x="17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42" y="210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10"/>
                  </a:lnTo>
                  <a:lnTo>
                    <a:pt x="118" y="210"/>
                  </a:lnTo>
                  <a:lnTo>
                    <a:pt x="118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35" y="218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51" y="210"/>
                  </a:lnTo>
                  <a:lnTo>
                    <a:pt x="151" y="218"/>
                  </a:lnTo>
                  <a:lnTo>
                    <a:pt x="151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77" y="218"/>
                  </a:lnTo>
                  <a:lnTo>
                    <a:pt x="177" y="218"/>
                  </a:lnTo>
                  <a:lnTo>
                    <a:pt x="202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7" name="Freeform 147">
              <a:extLst>
                <a:ext uri="{FF2B5EF4-FFF2-40B4-BE49-F238E27FC236}">
                  <a16:creationId xmlns:a16="http://schemas.microsoft.com/office/drawing/2014/main" id="{FFB8657C-B89B-47A4-A9A7-2714B6334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184" y="5360990"/>
              <a:ext cx="156896" cy="147529"/>
            </a:xfrm>
            <a:custGeom>
              <a:avLst/>
              <a:gdLst>
                <a:gd name="T0" fmla="*/ 8 w 134"/>
                <a:gd name="T1" fmla="*/ 34 h 126"/>
                <a:gd name="T2" fmla="*/ 8 w 134"/>
                <a:gd name="T3" fmla="*/ 42 h 126"/>
                <a:gd name="T4" fmla="*/ 16 w 134"/>
                <a:gd name="T5" fmla="*/ 34 h 126"/>
                <a:gd name="T6" fmla="*/ 25 w 134"/>
                <a:gd name="T7" fmla="*/ 42 h 126"/>
                <a:gd name="T8" fmla="*/ 33 w 134"/>
                <a:gd name="T9" fmla="*/ 42 h 126"/>
                <a:gd name="T10" fmla="*/ 58 w 134"/>
                <a:gd name="T11" fmla="*/ 17 h 126"/>
                <a:gd name="T12" fmla="*/ 67 w 134"/>
                <a:gd name="T13" fmla="*/ 9 h 126"/>
                <a:gd name="T14" fmla="*/ 67 w 134"/>
                <a:gd name="T15" fmla="*/ 9 h 126"/>
                <a:gd name="T16" fmla="*/ 75 w 134"/>
                <a:gd name="T17" fmla="*/ 0 h 126"/>
                <a:gd name="T18" fmla="*/ 84 w 134"/>
                <a:gd name="T19" fmla="*/ 0 h 126"/>
                <a:gd name="T20" fmla="*/ 92 w 134"/>
                <a:gd name="T21" fmla="*/ 0 h 126"/>
                <a:gd name="T22" fmla="*/ 92 w 134"/>
                <a:gd name="T23" fmla="*/ 0 h 126"/>
                <a:gd name="T24" fmla="*/ 100 w 134"/>
                <a:gd name="T25" fmla="*/ 9 h 126"/>
                <a:gd name="T26" fmla="*/ 109 w 134"/>
                <a:gd name="T27" fmla="*/ 9 h 126"/>
                <a:gd name="T28" fmla="*/ 117 w 134"/>
                <a:gd name="T29" fmla="*/ 17 h 126"/>
                <a:gd name="T30" fmla="*/ 134 w 134"/>
                <a:gd name="T31" fmla="*/ 17 h 126"/>
                <a:gd name="T32" fmla="*/ 134 w 134"/>
                <a:gd name="T33" fmla="*/ 26 h 126"/>
                <a:gd name="T34" fmla="*/ 134 w 134"/>
                <a:gd name="T35" fmla="*/ 34 h 126"/>
                <a:gd name="T36" fmla="*/ 134 w 134"/>
                <a:gd name="T37" fmla="*/ 42 h 126"/>
                <a:gd name="T38" fmla="*/ 134 w 134"/>
                <a:gd name="T39" fmla="*/ 42 h 126"/>
                <a:gd name="T40" fmla="*/ 134 w 134"/>
                <a:gd name="T41" fmla="*/ 51 h 126"/>
                <a:gd name="T42" fmla="*/ 126 w 134"/>
                <a:gd name="T43" fmla="*/ 59 h 126"/>
                <a:gd name="T44" fmla="*/ 134 w 134"/>
                <a:gd name="T45" fmla="*/ 68 h 126"/>
                <a:gd name="T46" fmla="*/ 134 w 134"/>
                <a:gd name="T47" fmla="*/ 76 h 126"/>
                <a:gd name="T48" fmla="*/ 126 w 134"/>
                <a:gd name="T49" fmla="*/ 84 h 126"/>
                <a:gd name="T50" fmla="*/ 126 w 134"/>
                <a:gd name="T51" fmla="*/ 84 h 126"/>
                <a:gd name="T52" fmla="*/ 126 w 134"/>
                <a:gd name="T53" fmla="*/ 101 h 126"/>
                <a:gd name="T54" fmla="*/ 100 w 134"/>
                <a:gd name="T55" fmla="*/ 118 h 126"/>
                <a:gd name="T56" fmla="*/ 84 w 134"/>
                <a:gd name="T57" fmla="*/ 118 h 126"/>
                <a:gd name="T58" fmla="*/ 75 w 134"/>
                <a:gd name="T59" fmla="*/ 118 h 126"/>
                <a:gd name="T60" fmla="*/ 67 w 134"/>
                <a:gd name="T61" fmla="*/ 118 h 126"/>
                <a:gd name="T62" fmla="*/ 67 w 134"/>
                <a:gd name="T63" fmla="*/ 110 h 126"/>
                <a:gd name="T64" fmla="*/ 58 w 134"/>
                <a:gd name="T65" fmla="*/ 110 h 126"/>
                <a:gd name="T66" fmla="*/ 50 w 134"/>
                <a:gd name="T67" fmla="*/ 110 h 126"/>
                <a:gd name="T68" fmla="*/ 42 w 134"/>
                <a:gd name="T69" fmla="*/ 101 h 126"/>
                <a:gd name="T70" fmla="*/ 42 w 134"/>
                <a:gd name="T71" fmla="*/ 93 h 126"/>
                <a:gd name="T72" fmla="*/ 33 w 134"/>
                <a:gd name="T73" fmla="*/ 84 h 126"/>
                <a:gd name="T74" fmla="*/ 33 w 134"/>
                <a:gd name="T75" fmla="*/ 84 h 126"/>
                <a:gd name="T76" fmla="*/ 25 w 134"/>
                <a:gd name="T77" fmla="*/ 76 h 126"/>
                <a:gd name="T78" fmla="*/ 16 w 134"/>
                <a:gd name="T79" fmla="*/ 59 h 126"/>
                <a:gd name="T80" fmla="*/ 8 w 134"/>
                <a:gd name="T81" fmla="*/ 59 h 126"/>
                <a:gd name="T82" fmla="*/ 8 w 134"/>
                <a:gd name="T83" fmla="*/ 51 h 126"/>
                <a:gd name="T84" fmla="*/ 8 w 134"/>
                <a:gd name="T85" fmla="*/ 51 h 126"/>
                <a:gd name="T86" fmla="*/ 0 w 134"/>
                <a:gd name="T87" fmla="*/ 42 h 126"/>
                <a:gd name="T88" fmla="*/ 0 w 134"/>
                <a:gd name="T89" fmla="*/ 34 h 126"/>
                <a:gd name="T90" fmla="*/ 0 w 134"/>
                <a:gd name="T91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4" h="126">
                  <a:moveTo>
                    <a:pt x="0" y="34"/>
                  </a:moveTo>
                  <a:lnTo>
                    <a:pt x="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42" y="26"/>
                  </a:lnTo>
                  <a:lnTo>
                    <a:pt x="58" y="17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9" y="0"/>
                  </a:lnTo>
                  <a:lnTo>
                    <a:pt x="109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17"/>
                  </a:lnTo>
                  <a:lnTo>
                    <a:pt x="126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26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00" y="126"/>
                  </a:lnTo>
                  <a:lnTo>
                    <a:pt x="100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0" y="101"/>
                  </a:lnTo>
                  <a:lnTo>
                    <a:pt x="50" y="110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6" y="6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8" name="Freeform 148">
              <a:extLst>
                <a:ext uri="{FF2B5EF4-FFF2-40B4-BE49-F238E27FC236}">
                  <a16:creationId xmlns:a16="http://schemas.microsoft.com/office/drawing/2014/main" id="{B0E4D58C-EC47-4D09-AB9F-E184E3488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926" y="5400800"/>
              <a:ext cx="196705" cy="196706"/>
            </a:xfrm>
            <a:custGeom>
              <a:avLst/>
              <a:gdLst>
                <a:gd name="T0" fmla="*/ 101 w 168"/>
                <a:gd name="T1" fmla="*/ 8 h 168"/>
                <a:gd name="T2" fmla="*/ 101 w 168"/>
                <a:gd name="T3" fmla="*/ 8 h 168"/>
                <a:gd name="T4" fmla="*/ 109 w 168"/>
                <a:gd name="T5" fmla="*/ 17 h 168"/>
                <a:gd name="T6" fmla="*/ 109 w 168"/>
                <a:gd name="T7" fmla="*/ 17 h 168"/>
                <a:gd name="T8" fmla="*/ 117 w 168"/>
                <a:gd name="T9" fmla="*/ 25 h 168"/>
                <a:gd name="T10" fmla="*/ 117 w 168"/>
                <a:gd name="T11" fmla="*/ 34 h 168"/>
                <a:gd name="T12" fmla="*/ 126 w 168"/>
                <a:gd name="T13" fmla="*/ 42 h 168"/>
                <a:gd name="T14" fmla="*/ 134 w 168"/>
                <a:gd name="T15" fmla="*/ 50 h 168"/>
                <a:gd name="T16" fmla="*/ 134 w 168"/>
                <a:gd name="T17" fmla="*/ 50 h 168"/>
                <a:gd name="T18" fmla="*/ 143 w 168"/>
                <a:gd name="T19" fmla="*/ 59 h 168"/>
                <a:gd name="T20" fmla="*/ 143 w 168"/>
                <a:gd name="T21" fmla="*/ 67 h 168"/>
                <a:gd name="T22" fmla="*/ 151 w 168"/>
                <a:gd name="T23" fmla="*/ 67 h 168"/>
                <a:gd name="T24" fmla="*/ 159 w 168"/>
                <a:gd name="T25" fmla="*/ 76 h 168"/>
                <a:gd name="T26" fmla="*/ 168 w 168"/>
                <a:gd name="T27" fmla="*/ 76 h 168"/>
                <a:gd name="T28" fmla="*/ 168 w 168"/>
                <a:gd name="T29" fmla="*/ 84 h 168"/>
                <a:gd name="T30" fmla="*/ 159 w 168"/>
                <a:gd name="T31" fmla="*/ 84 h 168"/>
                <a:gd name="T32" fmla="*/ 159 w 168"/>
                <a:gd name="T33" fmla="*/ 92 h 168"/>
                <a:gd name="T34" fmla="*/ 151 w 168"/>
                <a:gd name="T35" fmla="*/ 92 h 168"/>
                <a:gd name="T36" fmla="*/ 143 w 168"/>
                <a:gd name="T37" fmla="*/ 92 h 168"/>
                <a:gd name="T38" fmla="*/ 134 w 168"/>
                <a:gd name="T39" fmla="*/ 101 h 168"/>
                <a:gd name="T40" fmla="*/ 134 w 168"/>
                <a:gd name="T41" fmla="*/ 101 h 168"/>
                <a:gd name="T42" fmla="*/ 126 w 168"/>
                <a:gd name="T43" fmla="*/ 118 h 168"/>
                <a:gd name="T44" fmla="*/ 126 w 168"/>
                <a:gd name="T45" fmla="*/ 118 h 168"/>
                <a:gd name="T46" fmla="*/ 117 w 168"/>
                <a:gd name="T47" fmla="*/ 126 h 168"/>
                <a:gd name="T48" fmla="*/ 117 w 168"/>
                <a:gd name="T49" fmla="*/ 126 h 168"/>
                <a:gd name="T50" fmla="*/ 101 w 168"/>
                <a:gd name="T51" fmla="*/ 134 h 168"/>
                <a:gd name="T52" fmla="*/ 101 w 168"/>
                <a:gd name="T53" fmla="*/ 143 h 168"/>
                <a:gd name="T54" fmla="*/ 101 w 168"/>
                <a:gd name="T55" fmla="*/ 151 h 168"/>
                <a:gd name="T56" fmla="*/ 92 w 168"/>
                <a:gd name="T57" fmla="*/ 151 h 168"/>
                <a:gd name="T58" fmla="*/ 84 w 168"/>
                <a:gd name="T59" fmla="*/ 151 h 168"/>
                <a:gd name="T60" fmla="*/ 75 w 168"/>
                <a:gd name="T61" fmla="*/ 143 h 168"/>
                <a:gd name="T62" fmla="*/ 58 w 168"/>
                <a:gd name="T63" fmla="*/ 143 h 168"/>
                <a:gd name="T64" fmla="*/ 50 w 168"/>
                <a:gd name="T65" fmla="*/ 151 h 168"/>
                <a:gd name="T66" fmla="*/ 42 w 168"/>
                <a:gd name="T67" fmla="*/ 160 h 168"/>
                <a:gd name="T68" fmla="*/ 33 w 168"/>
                <a:gd name="T69" fmla="*/ 168 h 168"/>
                <a:gd name="T70" fmla="*/ 16 w 168"/>
                <a:gd name="T71" fmla="*/ 168 h 168"/>
                <a:gd name="T72" fmla="*/ 16 w 168"/>
                <a:gd name="T73" fmla="*/ 160 h 168"/>
                <a:gd name="T74" fmla="*/ 8 w 168"/>
                <a:gd name="T75" fmla="*/ 134 h 168"/>
                <a:gd name="T76" fmla="*/ 0 w 168"/>
                <a:gd name="T77" fmla="*/ 134 h 168"/>
                <a:gd name="T78" fmla="*/ 25 w 168"/>
                <a:gd name="T79" fmla="*/ 76 h 168"/>
                <a:gd name="T80" fmla="*/ 58 w 168"/>
                <a:gd name="T81" fmla="*/ 8 h 168"/>
                <a:gd name="T82" fmla="*/ 67 w 168"/>
                <a:gd name="T83" fmla="*/ 8 h 168"/>
                <a:gd name="T84" fmla="*/ 67 w 168"/>
                <a:gd name="T85" fmla="*/ 17 h 168"/>
                <a:gd name="T86" fmla="*/ 67 w 168"/>
                <a:gd name="T87" fmla="*/ 17 h 168"/>
                <a:gd name="T88" fmla="*/ 84 w 168"/>
                <a:gd name="T89" fmla="*/ 8 h 168"/>
                <a:gd name="T90" fmla="*/ 84 w 168"/>
                <a:gd name="T91" fmla="*/ 8 h 168"/>
                <a:gd name="T92" fmla="*/ 101 w 168"/>
                <a:gd name="T9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" h="168">
                  <a:moveTo>
                    <a:pt x="101" y="0"/>
                  </a:moveTo>
                  <a:lnTo>
                    <a:pt x="101" y="0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34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34" y="4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43" y="50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51" y="76"/>
                  </a:lnTo>
                  <a:lnTo>
                    <a:pt x="151" y="67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92"/>
                  </a:lnTo>
                  <a:lnTo>
                    <a:pt x="159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9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17" y="118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09" y="126"/>
                  </a:lnTo>
                  <a:lnTo>
                    <a:pt x="109" y="134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75" y="151"/>
                  </a:lnTo>
                  <a:lnTo>
                    <a:pt x="75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0" y="143"/>
                  </a:lnTo>
                  <a:lnTo>
                    <a:pt x="50" y="151"/>
                  </a:lnTo>
                  <a:lnTo>
                    <a:pt x="50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33" y="160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51"/>
                  </a:lnTo>
                  <a:lnTo>
                    <a:pt x="8" y="143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8" y="76"/>
                  </a:lnTo>
                  <a:lnTo>
                    <a:pt x="25" y="76"/>
                  </a:lnTo>
                  <a:lnTo>
                    <a:pt x="25" y="17"/>
                  </a:lnTo>
                  <a:lnTo>
                    <a:pt x="42" y="1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9" name="Freeform 149">
              <a:extLst>
                <a:ext uri="{FF2B5EF4-FFF2-40B4-BE49-F238E27FC236}">
                  <a16:creationId xmlns:a16="http://schemas.microsoft.com/office/drawing/2014/main" id="{60A19E0A-8BEE-4F62-A5C4-36271C25D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859" y="5380895"/>
              <a:ext cx="276324" cy="265787"/>
            </a:xfrm>
            <a:custGeom>
              <a:avLst/>
              <a:gdLst>
                <a:gd name="T0" fmla="*/ 143 w 236"/>
                <a:gd name="T1" fmla="*/ 93 h 227"/>
                <a:gd name="T2" fmla="*/ 177 w 236"/>
                <a:gd name="T3" fmla="*/ 34 h 227"/>
                <a:gd name="T4" fmla="*/ 202 w 236"/>
                <a:gd name="T5" fmla="*/ 25 h 227"/>
                <a:gd name="T6" fmla="*/ 202 w 236"/>
                <a:gd name="T7" fmla="*/ 25 h 227"/>
                <a:gd name="T8" fmla="*/ 202 w 236"/>
                <a:gd name="T9" fmla="*/ 34 h 227"/>
                <a:gd name="T10" fmla="*/ 210 w 236"/>
                <a:gd name="T11" fmla="*/ 25 h 227"/>
                <a:gd name="T12" fmla="*/ 219 w 236"/>
                <a:gd name="T13" fmla="*/ 25 h 227"/>
                <a:gd name="T14" fmla="*/ 227 w 236"/>
                <a:gd name="T15" fmla="*/ 17 h 227"/>
                <a:gd name="T16" fmla="*/ 227 w 236"/>
                <a:gd name="T17" fmla="*/ 17 h 227"/>
                <a:gd name="T18" fmla="*/ 227 w 236"/>
                <a:gd name="T19" fmla="*/ 17 h 227"/>
                <a:gd name="T20" fmla="*/ 219 w 236"/>
                <a:gd name="T21" fmla="*/ 17 h 227"/>
                <a:gd name="T22" fmla="*/ 177 w 236"/>
                <a:gd name="T23" fmla="*/ 25 h 227"/>
                <a:gd name="T24" fmla="*/ 168 w 236"/>
                <a:gd name="T25" fmla="*/ 25 h 227"/>
                <a:gd name="T26" fmla="*/ 168 w 236"/>
                <a:gd name="T27" fmla="*/ 25 h 227"/>
                <a:gd name="T28" fmla="*/ 160 w 236"/>
                <a:gd name="T29" fmla="*/ 25 h 227"/>
                <a:gd name="T30" fmla="*/ 151 w 236"/>
                <a:gd name="T31" fmla="*/ 25 h 227"/>
                <a:gd name="T32" fmla="*/ 143 w 236"/>
                <a:gd name="T33" fmla="*/ 17 h 227"/>
                <a:gd name="T34" fmla="*/ 143 w 236"/>
                <a:gd name="T35" fmla="*/ 17 h 227"/>
                <a:gd name="T36" fmla="*/ 135 w 236"/>
                <a:gd name="T37" fmla="*/ 25 h 227"/>
                <a:gd name="T38" fmla="*/ 126 w 236"/>
                <a:gd name="T39" fmla="*/ 17 h 227"/>
                <a:gd name="T40" fmla="*/ 118 w 236"/>
                <a:gd name="T41" fmla="*/ 17 h 227"/>
                <a:gd name="T42" fmla="*/ 118 w 236"/>
                <a:gd name="T43" fmla="*/ 9 h 227"/>
                <a:gd name="T44" fmla="*/ 42 w 236"/>
                <a:gd name="T45" fmla="*/ 9 h 227"/>
                <a:gd name="T46" fmla="*/ 42 w 236"/>
                <a:gd name="T47" fmla="*/ 17 h 227"/>
                <a:gd name="T48" fmla="*/ 34 w 236"/>
                <a:gd name="T49" fmla="*/ 9 h 227"/>
                <a:gd name="T50" fmla="*/ 25 w 236"/>
                <a:gd name="T51" fmla="*/ 9 h 227"/>
                <a:gd name="T52" fmla="*/ 25 w 236"/>
                <a:gd name="T53" fmla="*/ 9 h 227"/>
                <a:gd name="T54" fmla="*/ 17 w 236"/>
                <a:gd name="T55" fmla="*/ 0 h 227"/>
                <a:gd name="T56" fmla="*/ 9 w 236"/>
                <a:gd name="T57" fmla="*/ 9 h 227"/>
                <a:gd name="T58" fmla="*/ 0 w 236"/>
                <a:gd name="T59" fmla="*/ 9 h 227"/>
                <a:gd name="T60" fmla="*/ 0 w 236"/>
                <a:gd name="T61" fmla="*/ 9 h 227"/>
                <a:gd name="T62" fmla="*/ 0 w 236"/>
                <a:gd name="T63" fmla="*/ 25 h 227"/>
                <a:gd name="T64" fmla="*/ 25 w 236"/>
                <a:gd name="T65" fmla="*/ 67 h 227"/>
                <a:gd name="T66" fmla="*/ 34 w 236"/>
                <a:gd name="T67" fmla="*/ 93 h 227"/>
                <a:gd name="T68" fmla="*/ 42 w 236"/>
                <a:gd name="T69" fmla="*/ 109 h 227"/>
                <a:gd name="T70" fmla="*/ 51 w 236"/>
                <a:gd name="T71" fmla="*/ 151 h 227"/>
                <a:gd name="T72" fmla="*/ 51 w 236"/>
                <a:gd name="T73" fmla="*/ 160 h 227"/>
                <a:gd name="T74" fmla="*/ 51 w 236"/>
                <a:gd name="T75" fmla="*/ 177 h 227"/>
                <a:gd name="T76" fmla="*/ 51 w 236"/>
                <a:gd name="T77" fmla="*/ 185 h 227"/>
                <a:gd name="T78" fmla="*/ 59 w 236"/>
                <a:gd name="T79" fmla="*/ 202 h 227"/>
                <a:gd name="T80" fmla="*/ 67 w 236"/>
                <a:gd name="T81" fmla="*/ 210 h 227"/>
                <a:gd name="T82" fmla="*/ 84 w 236"/>
                <a:gd name="T83" fmla="*/ 219 h 227"/>
                <a:gd name="T84" fmla="*/ 84 w 236"/>
                <a:gd name="T85" fmla="*/ 210 h 227"/>
                <a:gd name="T86" fmla="*/ 93 w 236"/>
                <a:gd name="T87" fmla="*/ 210 h 227"/>
                <a:gd name="T88" fmla="*/ 101 w 236"/>
                <a:gd name="T89" fmla="*/ 219 h 227"/>
                <a:gd name="T90" fmla="*/ 109 w 236"/>
                <a:gd name="T91" fmla="*/ 227 h 227"/>
                <a:gd name="T92" fmla="*/ 109 w 236"/>
                <a:gd name="T93" fmla="*/ 227 h 227"/>
                <a:gd name="T94" fmla="*/ 118 w 236"/>
                <a:gd name="T95" fmla="*/ 227 h 227"/>
                <a:gd name="T96" fmla="*/ 126 w 236"/>
                <a:gd name="T97" fmla="*/ 219 h 227"/>
                <a:gd name="T98" fmla="*/ 135 w 236"/>
                <a:gd name="T99" fmla="*/ 210 h 227"/>
                <a:gd name="T100" fmla="*/ 135 w 236"/>
                <a:gd name="T101" fmla="*/ 151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6" h="227">
                  <a:moveTo>
                    <a:pt x="135" y="151"/>
                  </a:moveTo>
                  <a:lnTo>
                    <a:pt x="135" y="151"/>
                  </a:lnTo>
                  <a:lnTo>
                    <a:pt x="143" y="93"/>
                  </a:lnTo>
                  <a:lnTo>
                    <a:pt x="160" y="93"/>
                  </a:lnTo>
                  <a:lnTo>
                    <a:pt x="160" y="34"/>
                  </a:lnTo>
                  <a:lnTo>
                    <a:pt x="177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10" y="34"/>
                  </a:lnTo>
                  <a:lnTo>
                    <a:pt x="210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27" y="25"/>
                  </a:lnTo>
                  <a:lnTo>
                    <a:pt x="227" y="17"/>
                  </a:lnTo>
                  <a:lnTo>
                    <a:pt x="236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19" y="17"/>
                  </a:lnTo>
                  <a:lnTo>
                    <a:pt x="219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7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25"/>
                  </a:lnTo>
                  <a:lnTo>
                    <a:pt x="9" y="34"/>
                  </a:lnTo>
                  <a:lnTo>
                    <a:pt x="17" y="42"/>
                  </a:lnTo>
                  <a:lnTo>
                    <a:pt x="25" y="67"/>
                  </a:lnTo>
                  <a:lnTo>
                    <a:pt x="25" y="76"/>
                  </a:lnTo>
                  <a:lnTo>
                    <a:pt x="34" y="84"/>
                  </a:lnTo>
                  <a:lnTo>
                    <a:pt x="34" y="93"/>
                  </a:lnTo>
                  <a:lnTo>
                    <a:pt x="42" y="10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18"/>
                  </a:lnTo>
                  <a:lnTo>
                    <a:pt x="42" y="135"/>
                  </a:lnTo>
                  <a:lnTo>
                    <a:pt x="51" y="151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8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85"/>
                  </a:lnTo>
                  <a:lnTo>
                    <a:pt x="51" y="185"/>
                  </a:lnTo>
                  <a:lnTo>
                    <a:pt x="59" y="185"/>
                  </a:lnTo>
                  <a:lnTo>
                    <a:pt x="59" y="194"/>
                  </a:lnTo>
                  <a:lnTo>
                    <a:pt x="59" y="202"/>
                  </a:lnTo>
                  <a:lnTo>
                    <a:pt x="59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84" y="219"/>
                  </a:lnTo>
                  <a:lnTo>
                    <a:pt x="84" y="210"/>
                  </a:lnTo>
                  <a:lnTo>
                    <a:pt x="76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93" y="210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101" y="219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26" y="219"/>
                  </a:lnTo>
                  <a:lnTo>
                    <a:pt x="126" y="219"/>
                  </a:lnTo>
                  <a:lnTo>
                    <a:pt x="126" y="210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43" y="151"/>
                  </a:lnTo>
                  <a:lnTo>
                    <a:pt x="135" y="1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0" name="Freeform 150">
              <a:extLst>
                <a:ext uri="{FF2B5EF4-FFF2-40B4-BE49-F238E27FC236}">
                  <a16:creationId xmlns:a16="http://schemas.microsoft.com/office/drawing/2014/main" id="{011FB5B2-87C9-4CB1-9986-DA7EEBAA8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1413" y="5489786"/>
              <a:ext cx="88986" cy="58543"/>
            </a:xfrm>
            <a:custGeom>
              <a:avLst/>
              <a:gdLst>
                <a:gd name="T0" fmla="*/ 8 w 76"/>
                <a:gd name="T1" fmla="*/ 8 h 50"/>
                <a:gd name="T2" fmla="*/ 8 w 76"/>
                <a:gd name="T3" fmla="*/ 8 h 50"/>
                <a:gd name="T4" fmla="*/ 17 w 76"/>
                <a:gd name="T5" fmla="*/ 16 h 50"/>
                <a:gd name="T6" fmla="*/ 17 w 76"/>
                <a:gd name="T7" fmla="*/ 16 h 50"/>
                <a:gd name="T8" fmla="*/ 34 w 76"/>
                <a:gd name="T9" fmla="*/ 33 h 50"/>
                <a:gd name="T10" fmla="*/ 34 w 76"/>
                <a:gd name="T11" fmla="*/ 33 h 50"/>
                <a:gd name="T12" fmla="*/ 42 w 76"/>
                <a:gd name="T13" fmla="*/ 50 h 50"/>
                <a:gd name="T14" fmla="*/ 50 w 76"/>
                <a:gd name="T15" fmla="*/ 50 h 50"/>
                <a:gd name="T16" fmla="*/ 42 w 76"/>
                <a:gd name="T17" fmla="*/ 50 h 50"/>
                <a:gd name="T18" fmla="*/ 34 w 76"/>
                <a:gd name="T19" fmla="*/ 50 h 50"/>
                <a:gd name="T20" fmla="*/ 34 w 76"/>
                <a:gd name="T21" fmla="*/ 42 h 50"/>
                <a:gd name="T22" fmla="*/ 25 w 76"/>
                <a:gd name="T23" fmla="*/ 42 h 50"/>
                <a:gd name="T24" fmla="*/ 25 w 76"/>
                <a:gd name="T25" fmla="*/ 42 h 50"/>
                <a:gd name="T26" fmla="*/ 17 w 76"/>
                <a:gd name="T27" fmla="*/ 33 h 50"/>
                <a:gd name="T28" fmla="*/ 17 w 76"/>
                <a:gd name="T29" fmla="*/ 25 h 50"/>
                <a:gd name="T30" fmla="*/ 8 w 76"/>
                <a:gd name="T31" fmla="*/ 25 h 50"/>
                <a:gd name="T32" fmla="*/ 0 w 76"/>
                <a:gd name="T33" fmla="*/ 8 h 50"/>
                <a:gd name="T34" fmla="*/ 0 w 76"/>
                <a:gd name="T35" fmla="*/ 8 h 50"/>
                <a:gd name="T36" fmla="*/ 0 w 76"/>
                <a:gd name="T37" fmla="*/ 0 h 50"/>
                <a:gd name="T38" fmla="*/ 67 w 76"/>
                <a:gd name="T39" fmla="*/ 33 h 50"/>
                <a:gd name="T40" fmla="*/ 67 w 76"/>
                <a:gd name="T41" fmla="*/ 33 h 50"/>
                <a:gd name="T42" fmla="*/ 67 w 76"/>
                <a:gd name="T43" fmla="*/ 42 h 50"/>
                <a:gd name="T44" fmla="*/ 67 w 76"/>
                <a:gd name="T45" fmla="*/ 33 h 50"/>
                <a:gd name="T46" fmla="*/ 59 w 76"/>
                <a:gd name="T47" fmla="*/ 16 h 50"/>
                <a:gd name="T48" fmla="*/ 50 w 76"/>
                <a:gd name="T49" fmla="*/ 16 h 50"/>
                <a:gd name="T50" fmla="*/ 59 w 76"/>
                <a:gd name="T51" fmla="*/ 25 h 50"/>
                <a:gd name="T52" fmla="*/ 59 w 76"/>
                <a:gd name="T53" fmla="*/ 25 h 50"/>
                <a:gd name="T54" fmla="*/ 59 w 76"/>
                <a:gd name="T55" fmla="*/ 16 h 50"/>
                <a:gd name="T56" fmla="*/ 59 w 76"/>
                <a:gd name="T57" fmla="*/ 16 h 50"/>
                <a:gd name="T58" fmla="*/ 42 w 76"/>
                <a:gd name="T59" fmla="*/ 8 h 50"/>
                <a:gd name="T60" fmla="*/ 42 w 76"/>
                <a:gd name="T61" fmla="*/ 16 h 50"/>
                <a:gd name="T62" fmla="*/ 50 w 76"/>
                <a:gd name="T63" fmla="*/ 16 h 50"/>
                <a:gd name="T64" fmla="*/ 42 w 76"/>
                <a:gd name="T65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50">
                  <a:moveTo>
                    <a:pt x="0" y="0"/>
                  </a:move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25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42"/>
                  </a:lnTo>
                  <a:lnTo>
                    <a:pt x="42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17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7" y="33"/>
                  </a:moveTo>
                  <a:lnTo>
                    <a:pt x="67" y="33"/>
                  </a:lnTo>
                  <a:lnTo>
                    <a:pt x="76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close/>
                  <a:moveTo>
                    <a:pt x="59" y="16"/>
                  </a:moveTo>
                  <a:lnTo>
                    <a:pt x="50" y="16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close/>
                  <a:moveTo>
                    <a:pt x="42" y="8"/>
                  </a:moveTo>
                  <a:lnTo>
                    <a:pt x="42" y="16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42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1" name="Freeform 151">
              <a:extLst>
                <a:ext uri="{FF2B5EF4-FFF2-40B4-BE49-F238E27FC236}">
                  <a16:creationId xmlns:a16="http://schemas.microsoft.com/office/drawing/2014/main" id="{26BA8A4D-B75D-4DC5-AA72-D11C4F18A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182" y="6296514"/>
              <a:ext cx="9367" cy="10538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0 h 9"/>
                <a:gd name="T4" fmla="*/ 0 w 8"/>
                <a:gd name="T5" fmla="*/ 9 h 9"/>
                <a:gd name="T6" fmla="*/ 8 w 8"/>
                <a:gd name="T7" fmla="*/ 9 h 9"/>
                <a:gd name="T8" fmla="*/ 8 w 8"/>
                <a:gd name="T9" fmla="*/ 9 h 9"/>
                <a:gd name="T10" fmla="*/ 8 w 8"/>
                <a:gd name="T11" fmla="*/ 9 h 9"/>
                <a:gd name="T12" fmla="*/ 8 w 8"/>
                <a:gd name="T13" fmla="*/ 0 h 9"/>
                <a:gd name="T14" fmla="*/ 0 w 8"/>
                <a:gd name="T15" fmla="*/ 0 h 9"/>
                <a:gd name="T16" fmla="*/ 0 w 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2" name="Freeform 152">
              <a:extLst>
                <a:ext uri="{FF2B5EF4-FFF2-40B4-BE49-F238E27FC236}">
                  <a16:creationId xmlns:a16="http://schemas.microsoft.com/office/drawing/2014/main" id="{68023DFF-43BC-493B-AB50-5CC4040327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25468" y="6168889"/>
              <a:ext cx="29272" cy="29272"/>
            </a:xfrm>
            <a:custGeom>
              <a:avLst/>
              <a:gdLst>
                <a:gd name="T0" fmla="*/ 9 w 25"/>
                <a:gd name="T1" fmla="*/ 8 h 25"/>
                <a:gd name="T2" fmla="*/ 9 w 25"/>
                <a:gd name="T3" fmla="*/ 0 h 25"/>
                <a:gd name="T4" fmla="*/ 17 w 25"/>
                <a:gd name="T5" fmla="*/ 0 h 25"/>
                <a:gd name="T6" fmla="*/ 17 w 25"/>
                <a:gd name="T7" fmla="*/ 8 h 25"/>
                <a:gd name="T8" fmla="*/ 9 w 25"/>
                <a:gd name="T9" fmla="*/ 8 h 25"/>
                <a:gd name="T10" fmla="*/ 9 w 25"/>
                <a:gd name="T11" fmla="*/ 8 h 25"/>
                <a:gd name="T12" fmla="*/ 9 w 25"/>
                <a:gd name="T13" fmla="*/ 8 h 25"/>
                <a:gd name="T14" fmla="*/ 9 w 25"/>
                <a:gd name="T15" fmla="*/ 8 h 25"/>
                <a:gd name="T16" fmla="*/ 0 w 25"/>
                <a:gd name="T17" fmla="*/ 17 h 25"/>
                <a:gd name="T18" fmla="*/ 0 w 25"/>
                <a:gd name="T19" fmla="*/ 17 h 25"/>
                <a:gd name="T20" fmla="*/ 9 w 25"/>
                <a:gd name="T21" fmla="*/ 17 h 25"/>
                <a:gd name="T22" fmla="*/ 9 w 25"/>
                <a:gd name="T23" fmla="*/ 17 h 25"/>
                <a:gd name="T24" fmla="*/ 9 w 25"/>
                <a:gd name="T25" fmla="*/ 17 h 25"/>
                <a:gd name="T26" fmla="*/ 17 w 25"/>
                <a:gd name="T27" fmla="*/ 17 h 25"/>
                <a:gd name="T28" fmla="*/ 17 w 25"/>
                <a:gd name="T29" fmla="*/ 17 h 25"/>
                <a:gd name="T30" fmla="*/ 17 w 25"/>
                <a:gd name="T31" fmla="*/ 17 h 25"/>
                <a:gd name="T32" fmla="*/ 17 w 25"/>
                <a:gd name="T33" fmla="*/ 17 h 25"/>
                <a:gd name="T34" fmla="*/ 17 w 25"/>
                <a:gd name="T35" fmla="*/ 17 h 25"/>
                <a:gd name="T36" fmla="*/ 17 w 25"/>
                <a:gd name="T37" fmla="*/ 25 h 25"/>
                <a:gd name="T38" fmla="*/ 25 w 25"/>
                <a:gd name="T39" fmla="*/ 25 h 25"/>
                <a:gd name="T40" fmla="*/ 25 w 25"/>
                <a:gd name="T41" fmla="*/ 17 h 25"/>
                <a:gd name="T42" fmla="*/ 25 w 25"/>
                <a:gd name="T43" fmla="*/ 17 h 25"/>
                <a:gd name="T44" fmla="*/ 25 w 25"/>
                <a:gd name="T45" fmla="*/ 17 h 25"/>
                <a:gd name="T46" fmla="*/ 17 w 25"/>
                <a:gd name="T47" fmla="*/ 17 h 25"/>
                <a:gd name="T48" fmla="*/ 25 w 25"/>
                <a:gd name="T49" fmla="*/ 17 h 25"/>
                <a:gd name="T50" fmla="*/ 25 w 25"/>
                <a:gd name="T51" fmla="*/ 17 h 25"/>
                <a:gd name="T52" fmla="*/ 25 w 25"/>
                <a:gd name="T53" fmla="*/ 17 h 25"/>
                <a:gd name="T54" fmla="*/ 25 w 25"/>
                <a:gd name="T55" fmla="*/ 8 h 25"/>
                <a:gd name="T56" fmla="*/ 25 w 25"/>
                <a:gd name="T57" fmla="*/ 8 h 25"/>
                <a:gd name="T58" fmla="*/ 25 w 25"/>
                <a:gd name="T59" fmla="*/ 8 h 25"/>
                <a:gd name="T60" fmla="*/ 25 w 25"/>
                <a:gd name="T61" fmla="*/ 8 h 25"/>
                <a:gd name="T62" fmla="*/ 17 w 25"/>
                <a:gd name="T63" fmla="*/ 17 h 25"/>
                <a:gd name="T64" fmla="*/ 17 w 25"/>
                <a:gd name="T65" fmla="*/ 17 h 25"/>
                <a:gd name="T66" fmla="*/ 17 w 25"/>
                <a:gd name="T67" fmla="*/ 8 h 25"/>
                <a:gd name="T68" fmla="*/ 17 w 25"/>
                <a:gd name="T69" fmla="*/ 8 h 25"/>
                <a:gd name="T70" fmla="*/ 17 w 25"/>
                <a:gd name="T71" fmla="*/ 0 h 25"/>
                <a:gd name="T72" fmla="*/ 17 w 25"/>
                <a:gd name="T73" fmla="*/ 8 h 25"/>
                <a:gd name="T74" fmla="*/ 17 w 25"/>
                <a:gd name="T75" fmla="*/ 8 h 25"/>
                <a:gd name="T76" fmla="*/ 17 w 25"/>
                <a:gd name="T77" fmla="*/ 8 h 25"/>
                <a:gd name="T78" fmla="*/ 9 w 25"/>
                <a:gd name="T79" fmla="*/ 8 h 25"/>
                <a:gd name="T80" fmla="*/ 9 w 25"/>
                <a:gd name="T81" fmla="*/ 8 h 25"/>
                <a:gd name="T82" fmla="*/ 9 w 25"/>
                <a:gd name="T83" fmla="*/ 8 h 25"/>
                <a:gd name="T84" fmla="*/ 9 w 25"/>
                <a:gd name="T85" fmla="*/ 0 h 25"/>
                <a:gd name="T86" fmla="*/ 9 w 25"/>
                <a:gd name="T87" fmla="*/ 0 h 25"/>
                <a:gd name="T88" fmla="*/ 9 w 25"/>
                <a:gd name="T89" fmla="*/ 0 h 25"/>
                <a:gd name="T90" fmla="*/ 9 w 25"/>
                <a:gd name="T91" fmla="*/ 0 h 25"/>
                <a:gd name="T92" fmla="*/ 9 w 25"/>
                <a:gd name="T93" fmla="*/ 0 h 25"/>
                <a:gd name="T94" fmla="*/ 0 w 25"/>
                <a:gd name="T95" fmla="*/ 0 h 25"/>
                <a:gd name="T96" fmla="*/ 9 w 25"/>
                <a:gd name="T97" fmla="*/ 8 h 25"/>
                <a:gd name="T98" fmla="*/ 9 w 25"/>
                <a:gd name="T99" fmla="*/ 8 h 25"/>
                <a:gd name="T100" fmla="*/ 9 w 25"/>
                <a:gd name="T101" fmla="*/ 8 h 25"/>
                <a:gd name="T102" fmla="*/ 9 w 25"/>
                <a:gd name="T103" fmla="*/ 8 h 25"/>
                <a:gd name="T104" fmla="*/ 0 w 25"/>
                <a:gd name="T105" fmla="*/ 17 h 25"/>
                <a:gd name="T106" fmla="*/ 0 w 25"/>
                <a:gd name="T107" fmla="*/ 17 h 25"/>
                <a:gd name="T108" fmla="*/ 0 w 25"/>
                <a:gd name="T10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" h="25">
                  <a:moveTo>
                    <a:pt x="9" y="8"/>
                  </a:moveTo>
                  <a:lnTo>
                    <a:pt x="9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3" name="Freeform 153">
              <a:extLst>
                <a:ext uri="{FF2B5EF4-FFF2-40B4-BE49-F238E27FC236}">
                  <a16:creationId xmlns:a16="http://schemas.microsoft.com/office/drawing/2014/main" id="{E18AC9DE-9732-4402-B5E0-7B7F3ADEF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10" y="5449976"/>
              <a:ext cx="10538" cy="19905"/>
            </a:xfrm>
            <a:custGeom>
              <a:avLst/>
              <a:gdLst>
                <a:gd name="T0" fmla="*/ 0 w 9"/>
                <a:gd name="T1" fmla="*/ 0 h 17"/>
                <a:gd name="T2" fmla="*/ 0 w 9"/>
                <a:gd name="T3" fmla="*/ 8 h 17"/>
                <a:gd name="T4" fmla="*/ 0 w 9"/>
                <a:gd name="T5" fmla="*/ 8 h 17"/>
                <a:gd name="T6" fmla="*/ 0 w 9"/>
                <a:gd name="T7" fmla="*/ 17 h 17"/>
                <a:gd name="T8" fmla="*/ 9 w 9"/>
                <a:gd name="T9" fmla="*/ 8 h 17"/>
                <a:gd name="T10" fmla="*/ 9 w 9"/>
                <a:gd name="T11" fmla="*/ 8 h 17"/>
                <a:gd name="T12" fmla="*/ 9 w 9"/>
                <a:gd name="T13" fmla="*/ 8 h 17"/>
                <a:gd name="T14" fmla="*/ 9 w 9"/>
                <a:gd name="T15" fmla="*/ 8 h 17"/>
                <a:gd name="T16" fmla="*/ 9 w 9"/>
                <a:gd name="T17" fmla="*/ 0 h 17"/>
                <a:gd name="T18" fmla="*/ 0 w 9"/>
                <a:gd name="T19" fmla="*/ 8 h 17"/>
                <a:gd name="T20" fmla="*/ 0 w 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7"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4" name="Freeform 154">
              <a:extLst>
                <a:ext uri="{FF2B5EF4-FFF2-40B4-BE49-F238E27FC236}">
                  <a16:creationId xmlns:a16="http://schemas.microsoft.com/office/drawing/2014/main" id="{C0B9A9F6-B96B-4181-AEAD-87A2D26E8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572" y="5469881"/>
              <a:ext cx="9367" cy="9367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8 h 8"/>
                <a:gd name="T4" fmla="*/ 0 w 8"/>
                <a:gd name="T5" fmla="*/ 8 h 8"/>
                <a:gd name="T6" fmla="*/ 0 w 8"/>
                <a:gd name="T7" fmla="*/ 8 h 8"/>
                <a:gd name="T8" fmla="*/ 8 w 8"/>
                <a:gd name="T9" fmla="*/ 8 h 8"/>
                <a:gd name="T10" fmla="*/ 8 w 8"/>
                <a:gd name="T11" fmla="*/ 8 h 8"/>
                <a:gd name="T12" fmla="*/ 0 w 8"/>
                <a:gd name="T13" fmla="*/ 0 h 8"/>
                <a:gd name="T14" fmla="*/ 0 w 8"/>
                <a:gd name="T15" fmla="*/ 0 h 8"/>
                <a:gd name="T16" fmla="*/ 0 w 8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5" name="Freeform 155">
              <a:extLst>
                <a:ext uri="{FF2B5EF4-FFF2-40B4-BE49-F238E27FC236}">
                  <a16:creationId xmlns:a16="http://schemas.microsoft.com/office/drawing/2014/main" id="{53D187DE-D8A5-479C-8332-4CF30935D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52" y="5282542"/>
              <a:ext cx="158067" cy="295059"/>
            </a:xfrm>
            <a:custGeom>
              <a:avLst/>
              <a:gdLst>
                <a:gd name="T0" fmla="*/ 34 w 135"/>
                <a:gd name="T1" fmla="*/ 244 h 252"/>
                <a:gd name="T2" fmla="*/ 59 w 135"/>
                <a:gd name="T3" fmla="*/ 235 h 252"/>
                <a:gd name="T4" fmla="*/ 68 w 135"/>
                <a:gd name="T5" fmla="*/ 227 h 252"/>
                <a:gd name="T6" fmla="*/ 68 w 135"/>
                <a:gd name="T7" fmla="*/ 210 h 252"/>
                <a:gd name="T8" fmla="*/ 76 w 135"/>
                <a:gd name="T9" fmla="*/ 202 h 252"/>
                <a:gd name="T10" fmla="*/ 84 w 135"/>
                <a:gd name="T11" fmla="*/ 177 h 252"/>
                <a:gd name="T12" fmla="*/ 101 w 135"/>
                <a:gd name="T13" fmla="*/ 143 h 252"/>
                <a:gd name="T14" fmla="*/ 110 w 135"/>
                <a:gd name="T15" fmla="*/ 126 h 252"/>
                <a:gd name="T16" fmla="*/ 118 w 135"/>
                <a:gd name="T17" fmla="*/ 101 h 252"/>
                <a:gd name="T18" fmla="*/ 118 w 135"/>
                <a:gd name="T19" fmla="*/ 84 h 252"/>
                <a:gd name="T20" fmla="*/ 118 w 135"/>
                <a:gd name="T21" fmla="*/ 76 h 252"/>
                <a:gd name="T22" fmla="*/ 118 w 135"/>
                <a:gd name="T23" fmla="*/ 59 h 252"/>
                <a:gd name="T24" fmla="*/ 126 w 135"/>
                <a:gd name="T25" fmla="*/ 76 h 252"/>
                <a:gd name="T26" fmla="*/ 135 w 135"/>
                <a:gd name="T27" fmla="*/ 59 h 252"/>
                <a:gd name="T28" fmla="*/ 126 w 135"/>
                <a:gd name="T29" fmla="*/ 50 h 252"/>
                <a:gd name="T30" fmla="*/ 126 w 135"/>
                <a:gd name="T31" fmla="*/ 34 h 252"/>
                <a:gd name="T32" fmla="*/ 126 w 135"/>
                <a:gd name="T33" fmla="*/ 17 h 252"/>
                <a:gd name="T34" fmla="*/ 118 w 135"/>
                <a:gd name="T35" fmla="*/ 8 h 252"/>
                <a:gd name="T36" fmla="*/ 110 w 135"/>
                <a:gd name="T37" fmla="*/ 8 h 252"/>
                <a:gd name="T38" fmla="*/ 110 w 135"/>
                <a:gd name="T39" fmla="*/ 8 h 252"/>
                <a:gd name="T40" fmla="*/ 110 w 135"/>
                <a:gd name="T41" fmla="*/ 17 h 252"/>
                <a:gd name="T42" fmla="*/ 101 w 135"/>
                <a:gd name="T43" fmla="*/ 34 h 252"/>
                <a:gd name="T44" fmla="*/ 93 w 135"/>
                <a:gd name="T45" fmla="*/ 25 h 252"/>
                <a:gd name="T46" fmla="*/ 93 w 135"/>
                <a:gd name="T47" fmla="*/ 42 h 252"/>
                <a:gd name="T48" fmla="*/ 84 w 135"/>
                <a:gd name="T49" fmla="*/ 42 h 252"/>
                <a:gd name="T50" fmla="*/ 93 w 135"/>
                <a:gd name="T51" fmla="*/ 50 h 252"/>
                <a:gd name="T52" fmla="*/ 84 w 135"/>
                <a:gd name="T53" fmla="*/ 59 h 252"/>
                <a:gd name="T54" fmla="*/ 76 w 135"/>
                <a:gd name="T55" fmla="*/ 50 h 252"/>
                <a:gd name="T56" fmla="*/ 76 w 135"/>
                <a:gd name="T57" fmla="*/ 59 h 252"/>
                <a:gd name="T58" fmla="*/ 76 w 135"/>
                <a:gd name="T59" fmla="*/ 67 h 252"/>
                <a:gd name="T60" fmla="*/ 68 w 135"/>
                <a:gd name="T61" fmla="*/ 59 h 252"/>
                <a:gd name="T62" fmla="*/ 68 w 135"/>
                <a:gd name="T63" fmla="*/ 76 h 252"/>
                <a:gd name="T64" fmla="*/ 59 w 135"/>
                <a:gd name="T65" fmla="*/ 67 h 252"/>
                <a:gd name="T66" fmla="*/ 51 w 135"/>
                <a:gd name="T67" fmla="*/ 67 h 252"/>
                <a:gd name="T68" fmla="*/ 42 w 135"/>
                <a:gd name="T69" fmla="*/ 67 h 252"/>
                <a:gd name="T70" fmla="*/ 34 w 135"/>
                <a:gd name="T71" fmla="*/ 76 h 252"/>
                <a:gd name="T72" fmla="*/ 26 w 135"/>
                <a:gd name="T73" fmla="*/ 76 h 252"/>
                <a:gd name="T74" fmla="*/ 17 w 135"/>
                <a:gd name="T75" fmla="*/ 101 h 252"/>
                <a:gd name="T76" fmla="*/ 17 w 135"/>
                <a:gd name="T77" fmla="*/ 109 h 252"/>
                <a:gd name="T78" fmla="*/ 26 w 135"/>
                <a:gd name="T79" fmla="*/ 135 h 252"/>
                <a:gd name="T80" fmla="*/ 26 w 135"/>
                <a:gd name="T81" fmla="*/ 143 h 252"/>
                <a:gd name="T82" fmla="*/ 17 w 135"/>
                <a:gd name="T83" fmla="*/ 160 h 252"/>
                <a:gd name="T84" fmla="*/ 0 w 135"/>
                <a:gd name="T85" fmla="*/ 168 h 252"/>
                <a:gd name="T86" fmla="*/ 0 w 135"/>
                <a:gd name="T87" fmla="*/ 185 h 252"/>
                <a:gd name="T88" fmla="*/ 0 w 135"/>
                <a:gd name="T89" fmla="*/ 202 h 252"/>
                <a:gd name="T90" fmla="*/ 9 w 135"/>
                <a:gd name="T91" fmla="*/ 210 h 252"/>
                <a:gd name="T92" fmla="*/ 0 w 135"/>
                <a:gd name="T93" fmla="*/ 219 h 252"/>
                <a:gd name="T94" fmla="*/ 9 w 135"/>
                <a:gd name="T95" fmla="*/ 235 h 252"/>
                <a:gd name="T96" fmla="*/ 17 w 135"/>
                <a:gd name="T97" fmla="*/ 244 h 252"/>
                <a:gd name="T98" fmla="*/ 26 w 135"/>
                <a:gd name="T99" fmla="*/ 244 h 252"/>
                <a:gd name="T100" fmla="*/ 26 w 135"/>
                <a:gd name="T101" fmla="*/ 252 h 252"/>
                <a:gd name="T102" fmla="*/ 101 w 135"/>
                <a:gd name="T103" fmla="*/ 17 h 252"/>
                <a:gd name="T104" fmla="*/ 101 w 135"/>
                <a:gd name="T105" fmla="*/ 25 h 252"/>
                <a:gd name="T106" fmla="*/ 101 w 135"/>
                <a:gd name="T107" fmla="*/ 25 h 252"/>
                <a:gd name="T108" fmla="*/ 101 w 135"/>
                <a:gd name="T109" fmla="*/ 25 h 252"/>
                <a:gd name="T110" fmla="*/ 93 w 135"/>
                <a:gd name="T111" fmla="*/ 25 h 252"/>
                <a:gd name="T112" fmla="*/ 118 w 135"/>
                <a:gd name="T113" fmla="*/ 84 h 252"/>
                <a:gd name="T114" fmla="*/ 126 w 135"/>
                <a:gd name="T115" fmla="*/ 8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5" h="252">
                  <a:moveTo>
                    <a:pt x="26" y="252"/>
                  </a:moveTo>
                  <a:lnTo>
                    <a:pt x="26" y="244"/>
                  </a:lnTo>
                  <a:lnTo>
                    <a:pt x="34" y="252"/>
                  </a:lnTo>
                  <a:lnTo>
                    <a:pt x="34" y="244"/>
                  </a:lnTo>
                  <a:lnTo>
                    <a:pt x="42" y="244"/>
                  </a:lnTo>
                  <a:lnTo>
                    <a:pt x="51" y="244"/>
                  </a:lnTo>
                  <a:lnTo>
                    <a:pt x="51" y="244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68" y="235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68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4" y="177"/>
                  </a:lnTo>
                  <a:lnTo>
                    <a:pt x="84" y="168"/>
                  </a:lnTo>
                  <a:lnTo>
                    <a:pt x="93" y="160"/>
                  </a:lnTo>
                  <a:lnTo>
                    <a:pt x="101" y="151"/>
                  </a:lnTo>
                  <a:lnTo>
                    <a:pt x="101" y="143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26"/>
                  </a:lnTo>
                  <a:lnTo>
                    <a:pt x="110" y="126"/>
                  </a:lnTo>
                  <a:lnTo>
                    <a:pt x="110" y="109"/>
                  </a:lnTo>
                  <a:lnTo>
                    <a:pt x="110" y="109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0" y="93"/>
                  </a:lnTo>
                  <a:lnTo>
                    <a:pt x="118" y="93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59"/>
                  </a:lnTo>
                  <a:lnTo>
                    <a:pt x="118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76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34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0" y="0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8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76" y="59"/>
                  </a:lnTo>
                  <a:lnTo>
                    <a:pt x="68" y="59"/>
                  </a:lnTo>
                  <a:lnTo>
                    <a:pt x="76" y="59"/>
                  </a:lnTo>
                  <a:lnTo>
                    <a:pt x="68" y="59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76"/>
                  </a:lnTo>
                  <a:lnTo>
                    <a:pt x="59" y="7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84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18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43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17" y="160"/>
                  </a:lnTo>
                  <a:lnTo>
                    <a:pt x="9" y="160"/>
                  </a:lnTo>
                  <a:lnTo>
                    <a:pt x="9" y="168"/>
                  </a:lnTo>
                  <a:lnTo>
                    <a:pt x="9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10"/>
                  </a:lnTo>
                  <a:lnTo>
                    <a:pt x="9" y="210"/>
                  </a:lnTo>
                  <a:lnTo>
                    <a:pt x="9" y="210"/>
                  </a:lnTo>
                  <a:lnTo>
                    <a:pt x="9" y="210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9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26" y="244"/>
                  </a:lnTo>
                  <a:lnTo>
                    <a:pt x="26" y="244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close/>
                  <a:moveTo>
                    <a:pt x="101" y="17"/>
                  </a:move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close/>
                  <a:moveTo>
                    <a:pt x="101" y="25"/>
                  </a:move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close/>
                  <a:moveTo>
                    <a:pt x="93" y="25"/>
                  </a:moveTo>
                  <a:lnTo>
                    <a:pt x="93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close/>
                  <a:moveTo>
                    <a:pt x="118" y="93"/>
                  </a:moveTo>
                  <a:lnTo>
                    <a:pt x="118" y="93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18" y="93"/>
                  </a:lnTo>
                  <a:lnTo>
                    <a:pt x="118" y="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6" name="Freeform 156">
              <a:extLst>
                <a:ext uri="{FF2B5EF4-FFF2-40B4-BE49-F238E27FC236}">
                  <a16:creationId xmlns:a16="http://schemas.microsoft.com/office/drawing/2014/main" id="{5D0646C6-8ADB-4548-9391-76184D7BF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903" y="5253271"/>
              <a:ext cx="216610" cy="344235"/>
            </a:xfrm>
            <a:custGeom>
              <a:avLst/>
              <a:gdLst>
                <a:gd name="T0" fmla="*/ 34 w 185"/>
                <a:gd name="T1" fmla="*/ 185 h 294"/>
                <a:gd name="T2" fmla="*/ 34 w 185"/>
                <a:gd name="T3" fmla="*/ 168 h 294"/>
                <a:gd name="T4" fmla="*/ 42 w 185"/>
                <a:gd name="T5" fmla="*/ 160 h 294"/>
                <a:gd name="T6" fmla="*/ 42 w 185"/>
                <a:gd name="T7" fmla="*/ 151 h 294"/>
                <a:gd name="T8" fmla="*/ 42 w 185"/>
                <a:gd name="T9" fmla="*/ 134 h 294"/>
                <a:gd name="T10" fmla="*/ 42 w 185"/>
                <a:gd name="T11" fmla="*/ 126 h 294"/>
                <a:gd name="T12" fmla="*/ 42 w 185"/>
                <a:gd name="T13" fmla="*/ 109 h 294"/>
                <a:gd name="T14" fmla="*/ 25 w 185"/>
                <a:gd name="T15" fmla="*/ 101 h 294"/>
                <a:gd name="T16" fmla="*/ 8 w 185"/>
                <a:gd name="T17" fmla="*/ 101 h 294"/>
                <a:gd name="T18" fmla="*/ 0 w 185"/>
                <a:gd name="T19" fmla="*/ 84 h 294"/>
                <a:gd name="T20" fmla="*/ 34 w 185"/>
                <a:gd name="T21" fmla="*/ 67 h 294"/>
                <a:gd name="T22" fmla="*/ 50 w 185"/>
                <a:gd name="T23" fmla="*/ 67 h 294"/>
                <a:gd name="T24" fmla="*/ 59 w 185"/>
                <a:gd name="T25" fmla="*/ 67 h 294"/>
                <a:gd name="T26" fmla="*/ 76 w 185"/>
                <a:gd name="T27" fmla="*/ 75 h 294"/>
                <a:gd name="T28" fmla="*/ 67 w 185"/>
                <a:gd name="T29" fmla="*/ 92 h 294"/>
                <a:gd name="T30" fmla="*/ 76 w 185"/>
                <a:gd name="T31" fmla="*/ 109 h 294"/>
                <a:gd name="T32" fmla="*/ 84 w 185"/>
                <a:gd name="T33" fmla="*/ 118 h 294"/>
                <a:gd name="T34" fmla="*/ 84 w 185"/>
                <a:gd name="T35" fmla="*/ 101 h 294"/>
                <a:gd name="T36" fmla="*/ 92 w 185"/>
                <a:gd name="T37" fmla="*/ 84 h 294"/>
                <a:gd name="T38" fmla="*/ 92 w 185"/>
                <a:gd name="T39" fmla="*/ 75 h 294"/>
                <a:gd name="T40" fmla="*/ 92 w 185"/>
                <a:gd name="T41" fmla="*/ 67 h 294"/>
                <a:gd name="T42" fmla="*/ 76 w 185"/>
                <a:gd name="T43" fmla="*/ 50 h 294"/>
                <a:gd name="T44" fmla="*/ 92 w 185"/>
                <a:gd name="T45" fmla="*/ 17 h 294"/>
                <a:gd name="T46" fmla="*/ 101 w 185"/>
                <a:gd name="T47" fmla="*/ 17 h 294"/>
                <a:gd name="T48" fmla="*/ 118 w 185"/>
                <a:gd name="T49" fmla="*/ 17 h 294"/>
                <a:gd name="T50" fmla="*/ 126 w 185"/>
                <a:gd name="T51" fmla="*/ 17 h 294"/>
                <a:gd name="T52" fmla="*/ 134 w 185"/>
                <a:gd name="T53" fmla="*/ 8 h 294"/>
                <a:gd name="T54" fmla="*/ 143 w 185"/>
                <a:gd name="T55" fmla="*/ 8 h 294"/>
                <a:gd name="T56" fmla="*/ 160 w 185"/>
                <a:gd name="T57" fmla="*/ 8 h 294"/>
                <a:gd name="T58" fmla="*/ 176 w 185"/>
                <a:gd name="T59" fmla="*/ 0 h 294"/>
                <a:gd name="T60" fmla="*/ 185 w 185"/>
                <a:gd name="T61" fmla="*/ 0 h 294"/>
                <a:gd name="T62" fmla="*/ 176 w 185"/>
                <a:gd name="T63" fmla="*/ 17 h 294"/>
                <a:gd name="T64" fmla="*/ 176 w 185"/>
                <a:gd name="T65" fmla="*/ 25 h 294"/>
                <a:gd name="T66" fmla="*/ 176 w 185"/>
                <a:gd name="T67" fmla="*/ 42 h 294"/>
                <a:gd name="T68" fmla="*/ 176 w 185"/>
                <a:gd name="T69" fmla="*/ 59 h 294"/>
                <a:gd name="T70" fmla="*/ 185 w 185"/>
                <a:gd name="T71" fmla="*/ 75 h 294"/>
                <a:gd name="T72" fmla="*/ 176 w 185"/>
                <a:gd name="T73" fmla="*/ 75 h 294"/>
                <a:gd name="T74" fmla="*/ 176 w 185"/>
                <a:gd name="T75" fmla="*/ 84 h 294"/>
                <a:gd name="T76" fmla="*/ 168 w 185"/>
                <a:gd name="T77" fmla="*/ 101 h 294"/>
                <a:gd name="T78" fmla="*/ 151 w 185"/>
                <a:gd name="T79" fmla="*/ 109 h 294"/>
                <a:gd name="T80" fmla="*/ 118 w 185"/>
                <a:gd name="T81" fmla="*/ 126 h 294"/>
                <a:gd name="T82" fmla="*/ 109 w 185"/>
                <a:gd name="T83" fmla="*/ 134 h 294"/>
                <a:gd name="T84" fmla="*/ 101 w 185"/>
                <a:gd name="T85" fmla="*/ 143 h 294"/>
                <a:gd name="T86" fmla="*/ 84 w 185"/>
                <a:gd name="T87" fmla="*/ 160 h 294"/>
                <a:gd name="T88" fmla="*/ 76 w 185"/>
                <a:gd name="T89" fmla="*/ 160 h 294"/>
                <a:gd name="T90" fmla="*/ 67 w 185"/>
                <a:gd name="T91" fmla="*/ 168 h 294"/>
                <a:gd name="T92" fmla="*/ 76 w 185"/>
                <a:gd name="T93" fmla="*/ 185 h 294"/>
                <a:gd name="T94" fmla="*/ 76 w 185"/>
                <a:gd name="T95" fmla="*/ 210 h 294"/>
                <a:gd name="T96" fmla="*/ 84 w 185"/>
                <a:gd name="T97" fmla="*/ 210 h 294"/>
                <a:gd name="T98" fmla="*/ 84 w 185"/>
                <a:gd name="T99" fmla="*/ 218 h 294"/>
                <a:gd name="T100" fmla="*/ 76 w 185"/>
                <a:gd name="T101" fmla="*/ 235 h 294"/>
                <a:gd name="T102" fmla="*/ 76 w 185"/>
                <a:gd name="T103" fmla="*/ 244 h 294"/>
                <a:gd name="T104" fmla="*/ 34 w 185"/>
                <a:gd name="T105" fmla="*/ 269 h 294"/>
                <a:gd name="T106" fmla="*/ 25 w 185"/>
                <a:gd name="T107" fmla="*/ 277 h 294"/>
                <a:gd name="T108" fmla="*/ 34 w 185"/>
                <a:gd name="T109" fmla="*/ 286 h 294"/>
                <a:gd name="T110" fmla="*/ 34 w 185"/>
                <a:gd name="T111" fmla="*/ 294 h 294"/>
                <a:gd name="T112" fmla="*/ 17 w 185"/>
                <a:gd name="T113" fmla="*/ 294 h 294"/>
                <a:gd name="T114" fmla="*/ 17 w 185"/>
                <a:gd name="T115" fmla="*/ 277 h 294"/>
                <a:gd name="T116" fmla="*/ 17 w 185"/>
                <a:gd name="T117" fmla="*/ 260 h 294"/>
                <a:gd name="T118" fmla="*/ 17 w 185"/>
                <a:gd name="T119" fmla="*/ 235 h 294"/>
                <a:gd name="T120" fmla="*/ 8 w 185"/>
                <a:gd name="T121" fmla="*/ 218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5" h="294">
                  <a:moveTo>
                    <a:pt x="8" y="218"/>
                  </a:moveTo>
                  <a:lnTo>
                    <a:pt x="34" y="193"/>
                  </a:lnTo>
                  <a:lnTo>
                    <a:pt x="34" y="193"/>
                  </a:lnTo>
                  <a:lnTo>
                    <a:pt x="34" y="185"/>
                  </a:lnTo>
                  <a:lnTo>
                    <a:pt x="34" y="185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42" y="151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4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17" y="101"/>
                  </a:lnTo>
                  <a:lnTo>
                    <a:pt x="17" y="92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2"/>
                  </a:lnTo>
                  <a:lnTo>
                    <a:pt x="0" y="92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25" y="67"/>
                  </a:lnTo>
                  <a:lnTo>
                    <a:pt x="34" y="67"/>
                  </a:lnTo>
                  <a:lnTo>
                    <a:pt x="42" y="67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6" y="67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84"/>
                  </a:lnTo>
                  <a:lnTo>
                    <a:pt x="67" y="84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92" y="101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67" y="33"/>
                  </a:lnTo>
                  <a:lnTo>
                    <a:pt x="76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3" y="8"/>
                  </a:lnTo>
                  <a:lnTo>
                    <a:pt x="143" y="17"/>
                  </a:lnTo>
                  <a:lnTo>
                    <a:pt x="143" y="8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76" y="8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76" y="33"/>
                  </a:lnTo>
                  <a:lnTo>
                    <a:pt x="176" y="33"/>
                  </a:lnTo>
                  <a:lnTo>
                    <a:pt x="185" y="33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76" y="59"/>
                  </a:lnTo>
                  <a:lnTo>
                    <a:pt x="176" y="59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85" y="67"/>
                  </a:lnTo>
                  <a:lnTo>
                    <a:pt x="185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68" y="101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6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51"/>
                  </a:lnTo>
                  <a:lnTo>
                    <a:pt x="92" y="151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8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67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67" y="168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6" y="202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67" y="252"/>
                  </a:lnTo>
                  <a:lnTo>
                    <a:pt x="59" y="260"/>
                  </a:lnTo>
                  <a:lnTo>
                    <a:pt x="42" y="260"/>
                  </a:lnTo>
                  <a:lnTo>
                    <a:pt x="42" y="269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86"/>
                  </a:lnTo>
                  <a:lnTo>
                    <a:pt x="25" y="286"/>
                  </a:lnTo>
                  <a:lnTo>
                    <a:pt x="25" y="286"/>
                  </a:lnTo>
                  <a:lnTo>
                    <a:pt x="34" y="286"/>
                  </a:lnTo>
                  <a:lnTo>
                    <a:pt x="34" y="277"/>
                  </a:lnTo>
                  <a:lnTo>
                    <a:pt x="34" y="277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25" y="294"/>
                  </a:lnTo>
                  <a:lnTo>
                    <a:pt x="25" y="294"/>
                  </a:lnTo>
                  <a:lnTo>
                    <a:pt x="17" y="294"/>
                  </a:lnTo>
                  <a:lnTo>
                    <a:pt x="17" y="294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25" y="286"/>
                  </a:lnTo>
                  <a:lnTo>
                    <a:pt x="17" y="286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0"/>
                  </a:lnTo>
                  <a:lnTo>
                    <a:pt x="17" y="252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8" y="218"/>
                  </a:lnTo>
                  <a:lnTo>
                    <a:pt x="8" y="218"/>
                  </a:lnTo>
                  <a:lnTo>
                    <a:pt x="8" y="2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7" name="Freeform 157">
              <a:extLst>
                <a:ext uri="{FF2B5EF4-FFF2-40B4-BE49-F238E27FC236}">
                  <a16:creationId xmlns:a16="http://schemas.microsoft.com/office/drawing/2014/main" id="{EB1A9E9B-6526-4214-92DC-D4D4BFC4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903" y="5568234"/>
              <a:ext cx="29272" cy="39810"/>
            </a:xfrm>
            <a:custGeom>
              <a:avLst/>
              <a:gdLst>
                <a:gd name="T0" fmla="*/ 17 w 25"/>
                <a:gd name="T1" fmla="*/ 8 h 34"/>
                <a:gd name="T2" fmla="*/ 17 w 25"/>
                <a:gd name="T3" fmla="*/ 8 h 34"/>
                <a:gd name="T4" fmla="*/ 17 w 25"/>
                <a:gd name="T5" fmla="*/ 8 h 34"/>
                <a:gd name="T6" fmla="*/ 17 w 25"/>
                <a:gd name="T7" fmla="*/ 17 h 34"/>
                <a:gd name="T8" fmla="*/ 25 w 25"/>
                <a:gd name="T9" fmla="*/ 17 h 34"/>
                <a:gd name="T10" fmla="*/ 17 w 25"/>
                <a:gd name="T11" fmla="*/ 17 h 34"/>
                <a:gd name="T12" fmla="*/ 17 w 25"/>
                <a:gd name="T13" fmla="*/ 17 h 34"/>
                <a:gd name="T14" fmla="*/ 17 w 25"/>
                <a:gd name="T15" fmla="*/ 25 h 34"/>
                <a:gd name="T16" fmla="*/ 17 w 25"/>
                <a:gd name="T17" fmla="*/ 25 h 34"/>
                <a:gd name="T18" fmla="*/ 17 w 25"/>
                <a:gd name="T19" fmla="*/ 25 h 34"/>
                <a:gd name="T20" fmla="*/ 17 w 25"/>
                <a:gd name="T21" fmla="*/ 25 h 34"/>
                <a:gd name="T22" fmla="*/ 17 w 25"/>
                <a:gd name="T23" fmla="*/ 25 h 34"/>
                <a:gd name="T24" fmla="*/ 17 w 25"/>
                <a:gd name="T25" fmla="*/ 34 h 34"/>
                <a:gd name="T26" fmla="*/ 17 w 25"/>
                <a:gd name="T27" fmla="*/ 34 h 34"/>
                <a:gd name="T28" fmla="*/ 8 w 25"/>
                <a:gd name="T29" fmla="*/ 34 h 34"/>
                <a:gd name="T30" fmla="*/ 0 w 25"/>
                <a:gd name="T31" fmla="*/ 25 h 34"/>
                <a:gd name="T32" fmla="*/ 0 w 25"/>
                <a:gd name="T33" fmla="*/ 25 h 34"/>
                <a:gd name="T34" fmla="*/ 0 w 25"/>
                <a:gd name="T35" fmla="*/ 25 h 34"/>
                <a:gd name="T36" fmla="*/ 0 w 25"/>
                <a:gd name="T37" fmla="*/ 17 h 34"/>
                <a:gd name="T38" fmla="*/ 0 w 25"/>
                <a:gd name="T39" fmla="*/ 17 h 34"/>
                <a:gd name="T40" fmla="*/ 0 w 25"/>
                <a:gd name="T41" fmla="*/ 8 h 34"/>
                <a:gd name="T42" fmla="*/ 0 w 25"/>
                <a:gd name="T43" fmla="*/ 8 h 34"/>
                <a:gd name="T44" fmla="*/ 8 w 25"/>
                <a:gd name="T45" fmla="*/ 0 h 34"/>
                <a:gd name="T46" fmla="*/ 8 w 25"/>
                <a:gd name="T47" fmla="*/ 8 h 34"/>
                <a:gd name="T48" fmla="*/ 17 w 25"/>
                <a:gd name="T49" fmla="*/ 8 h 34"/>
                <a:gd name="T50" fmla="*/ 17 w 25"/>
                <a:gd name="T51" fmla="*/ 8 h 34"/>
                <a:gd name="T52" fmla="*/ 17 w 25"/>
                <a:gd name="T53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34">
                  <a:moveTo>
                    <a:pt x="17" y="8"/>
                  </a:moveTo>
                  <a:lnTo>
                    <a:pt x="17" y="8"/>
                  </a:lnTo>
                  <a:lnTo>
                    <a:pt x="17" y="8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8" name="Freeform 158">
              <a:extLst>
                <a:ext uri="{FF2B5EF4-FFF2-40B4-BE49-F238E27FC236}">
                  <a16:creationId xmlns:a16="http://schemas.microsoft.com/office/drawing/2014/main" id="{40A3B483-6D79-435E-A89E-0AC008D5B2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1845" y="5499153"/>
              <a:ext cx="334868" cy="285692"/>
            </a:xfrm>
            <a:custGeom>
              <a:avLst/>
              <a:gdLst>
                <a:gd name="T0" fmla="*/ 0 w 286"/>
                <a:gd name="T1" fmla="*/ 109 h 244"/>
                <a:gd name="T2" fmla="*/ 17 w 286"/>
                <a:gd name="T3" fmla="*/ 118 h 244"/>
                <a:gd name="T4" fmla="*/ 33 w 286"/>
                <a:gd name="T5" fmla="*/ 126 h 244"/>
                <a:gd name="T6" fmla="*/ 42 w 286"/>
                <a:gd name="T7" fmla="*/ 126 h 244"/>
                <a:gd name="T8" fmla="*/ 50 w 286"/>
                <a:gd name="T9" fmla="*/ 118 h 244"/>
                <a:gd name="T10" fmla="*/ 67 w 286"/>
                <a:gd name="T11" fmla="*/ 50 h 244"/>
                <a:gd name="T12" fmla="*/ 75 w 286"/>
                <a:gd name="T13" fmla="*/ 84 h 244"/>
                <a:gd name="T14" fmla="*/ 92 w 286"/>
                <a:gd name="T15" fmla="*/ 84 h 244"/>
                <a:gd name="T16" fmla="*/ 109 w 286"/>
                <a:gd name="T17" fmla="*/ 67 h 244"/>
                <a:gd name="T18" fmla="*/ 126 w 286"/>
                <a:gd name="T19" fmla="*/ 59 h 244"/>
                <a:gd name="T20" fmla="*/ 143 w 286"/>
                <a:gd name="T21" fmla="*/ 67 h 244"/>
                <a:gd name="T22" fmla="*/ 160 w 286"/>
                <a:gd name="T23" fmla="*/ 67 h 244"/>
                <a:gd name="T24" fmla="*/ 160 w 286"/>
                <a:gd name="T25" fmla="*/ 50 h 244"/>
                <a:gd name="T26" fmla="*/ 176 w 286"/>
                <a:gd name="T27" fmla="*/ 42 h 244"/>
                <a:gd name="T28" fmla="*/ 185 w 286"/>
                <a:gd name="T29" fmla="*/ 34 h 244"/>
                <a:gd name="T30" fmla="*/ 185 w 286"/>
                <a:gd name="T31" fmla="*/ 17 h 244"/>
                <a:gd name="T32" fmla="*/ 193 w 286"/>
                <a:gd name="T33" fmla="*/ 17 h 244"/>
                <a:gd name="T34" fmla="*/ 210 w 286"/>
                <a:gd name="T35" fmla="*/ 8 h 244"/>
                <a:gd name="T36" fmla="*/ 218 w 286"/>
                <a:gd name="T37" fmla="*/ 0 h 244"/>
                <a:gd name="T38" fmla="*/ 235 w 286"/>
                <a:gd name="T39" fmla="*/ 0 h 244"/>
                <a:gd name="T40" fmla="*/ 244 w 286"/>
                <a:gd name="T41" fmla="*/ 0 h 244"/>
                <a:gd name="T42" fmla="*/ 260 w 286"/>
                <a:gd name="T43" fmla="*/ 8 h 244"/>
                <a:gd name="T44" fmla="*/ 269 w 286"/>
                <a:gd name="T45" fmla="*/ 34 h 244"/>
                <a:gd name="T46" fmla="*/ 269 w 286"/>
                <a:gd name="T47" fmla="*/ 59 h 244"/>
                <a:gd name="T48" fmla="*/ 252 w 286"/>
                <a:gd name="T49" fmla="*/ 67 h 244"/>
                <a:gd name="T50" fmla="*/ 252 w 286"/>
                <a:gd name="T51" fmla="*/ 84 h 244"/>
                <a:gd name="T52" fmla="*/ 269 w 286"/>
                <a:gd name="T53" fmla="*/ 84 h 244"/>
                <a:gd name="T54" fmla="*/ 286 w 286"/>
                <a:gd name="T55" fmla="*/ 84 h 244"/>
                <a:gd name="T56" fmla="*/ 277 w 286"/>
                <a:gd name="T57" fmla="*/ 101 h 244"/>
                <a:gd name="T58" fmla="*/ 269 w 286"/>
                <a:gd name="T59" fmla="*/ 126 h 244"/>
                <a:gd name="T60" fmla="*/ 252 w 286"/>
                <a:gd name="T61" fmla="*/ 135 h 244"/>
                <a:gd name="T62" fmla="*/ 244 w 286"/>
                <a:gd name="T63" fmla="*/ 143 h 244"/>
                <a:gd name="T64" fmla="*/ 227 w 286"/>
                <a:gd name="T65" fmla="*/ 177 h 244"/>
                <a:gd name="T66" fmla="*/ 202 w 286"/>
                <a:gd name="T67" fmla="*/ 202 h 244"/>
                <a:gd name="T68" fmla="*/ 176 w 286"/>
                <a:gd name="T69" fmla="*/ 210 h 244"/>
                <a:gd name="T70" fmla="*/ 160 w 286"/>
                <a:gd name="T71" fmla="*/ 219 h 244"/>
                <a:gd name="T72" fmla="*/ 151 w 286"/>
                <a:gd name="T73" fmla="*/ 227 h 244"/>
                <a:gd name="T74" fmla="*/ 134 w 286"/>
                <a:gd name="T75" fmla="*/ 227 h 244"/>
                <a:gd name="T76" fmla="*/ 109 w 286"/>
                <a:gd name="T77" fmla="*/ 227 h 244"/>
                <a:gd name="T78" fmla="*/ 92 w 286"/>
                <a:gd name="T79" fmla="*/ 227 h 244"/>
                <a:gd name="T80" fmla="*/ 84 w 286"/>
                <a:gd name="T81" fmla="*/ 236 h 244"/>
                <a:gd name="T82" fmla="*/ 67 w 286"/>
                <a:gd name="T83" fmla="*/ 236 h 244"/>
                <a:gd name="T84" fmla="*/ 50 w 286"/>
                <a:gd name="T85" fmla="*/ 236 h 244"/>
                <a:gd name="T86" fmla="*/ 33 w 286"/>
                <a:gd name="T87" fmla="*/ 227 h 244"/>
                <a:gd name="T88" fmla="*/ 25 w 286"/>
                <a:gd name="T89" fmla="*/ 227 h 244"/>
                <a:gd name="T90" fmla="*/ 25 w 286"/>
                <a:gd name="T91" fmla="*/ 227 h 244"/>
                <a:gd name="T92" fmla="*/ 17 w 286"/>
                <a:gd name="T93" fmla="*/ 202 h 244"/>
                <a:gd name="T94" fmla="*/ 25 w 286"/>
                <a:gd name="T95" fmla="*/ 193 h 244"/>
                <a:gd name="T96" fmla="*/ 17 w 286"/>
                <a:gd name="T97" fmla="*/ 168 h 244"/>
                <a:gd name="T98" fmla="*/ 8 w 286"/>
                <a:gd name="T99" fmla="*/ 126 h 244"/>
                <a:gd name="T100" fmla="*/ 185 w 286"/>
                <a:gd name="T101" fmla="*/ 151 h 244"/>
                <a:gd name="T102" fmla="*/ 202 w 286"/>
                <a:gd name="T103" fmla="*/ 160 h 244"/>
                <a:gd name="T104" fmla="*/ 210 w 286"/>
                <a:gd name="T105" fmla="*/ 143 h 244"/>
                <a:gd name="T106" fmla="*/ 210 w 286"/>
                <a:gd name="T107" fmla="*/ 143 h 244"/>
                <a:gd name="T108" fmla="*/ 210 w 286"/>
                <a:gd name="T109" fmla="*/ 118 h 244"/>
                <a:gd name="T110" fmla="*/ 202 w 286"/>
                <a:gd name="T111" fmla="*/ 118 h 244"/>
                <a:gd name="T112" fmla="*/ 185 w 286"/>
                <a:gd name="T113" fmla="*/ 126 h 244"/>
                <a:gd name="T114" fmla="*/ 185 w 286"/>
                <a:gd name="T115" fmla="*/ 14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244">
                  <a:moveTo>
                    <a:pt x="0" y="118"/>
                  </a:moveTo>
                  <a:lnTo>
                    <a:pt x="0" y="118"/>
                  </a:lnTo>
                  <a:lnTo>
                    <a:pt x="8" y="118"/>
                  </a:lnTo>
                  <a:lnTo>
                    <a:pt x="8" y="109"/>
                  </a:lnTo>
                  <a:lnTo>
                    <a:pt x="0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09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1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75" y="67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9" y="76"/>
                  </a:lnTo>
                  <a:lnTo>
                    <a:pt x="109" y="67"/>
                  </a:lnTo>
                  <a:lnTo>
                    <a:pt x="109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8" y="50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25"/>
                  </a:lnTo>
                  <a:lnTo>
                    <a:pt x="185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202" y="17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27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0" y="0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69" y="34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0" y="67"/>
                  </a:lnTo>
                  <a:lnTo>
                    <a:pt x="260" y="59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52" y="76"/>
                  </a:lnTo>
                  <a:lnTo>
                    <a:pt x="252" y="76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60" y="93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77" y="84"/>
                  </a:lnTo>
                  <a:lnTo>
                    <a:pt x="286" y="84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77" y="109"/>
                  </a:lnTo>
                  <a:lnTo>
                    <a:pt x="269" y="118"/>
                  </a:lnTo>
                  <a:lnTo>
                    <a:pt x="269" y="118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52" y="143"/>
                  </a:lnTo>
                  <a:lnTo>
                    <a:pt x="252" y="143"/>
                  </a:lnTo>
                  <a:lnTo>
                    <a:pt x="244" y="143"/>
                  </a:lnTo>
                  <a:lnTo>
                    <a:pt x="244" y="143"/>
                  </a:lnTo>
                  <a:lnTo>
                    <a:pt x="244" y="151"/>
                  </a:lnTo>
                  <a:lnTo>
                    <a:pt x="235" y="160"/>
                  </a:lnTo>
                  <a:lnTo>
                    <a:pt x="227" y="168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2" y="193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193" y="202"/>
                  </a:lnTo>
                  <a:lnTo>
                    <a:pt x="185" y="210"/>
                  </a:lnTo>
                  <a:lnTo>
                    <a:pt x="176" y="210"/>
                  </a:lnTo>
                  <a:lnTo>
                    <a:pt x="176" y="210"/>
                  </a:lnTo>
                  <a:lnTo>
                    <a:pt x="176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0" y="219"/>
                  </a:lnTo>
                  <a:lnTo>
                    <a:pt x="160" y="219"/>
                  </a:lnTo>
                  <a:lnTo>
                    <a:pt x="151" y="219"/>
                  </a:lnTo>
                  <a:lnTo>
                    <a:pt x="151" y="219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43" y="227"/>
                  </a:lnTo>
                  <a:lnTo>
                    <a:pt x="143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17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1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0" y="244"/>
                  </a:lnTo>
                  <a:lnTo>
                    <a:pt x="50" y="236"/>
                  </a:lnTo>
                  <a:lnTo>
                    <a:pt x="50" y="244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33" y="227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36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0"/>
                  </a:lnTo>
                  <a:lnTo>
                    <a:pt x="17" y="210"/>
                  </a:lnTo>
                  <a:lnTo>
                    <a:pt x="17" y="202"/>
                  </a:lnTo>
                  <a:lnTo>
                    <a:pt x="17" y="193"/>
                  </a:lnTo>
                  <a:lnTo>
                    <a:pt x="17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77"/>
                  </a:lnTo>
                  <a:lnTo>
                    <a:pt x="17" y="168"/>
                  </a:lnTo>
                  <a:lnTo>
                    <a:pt x="17" y="160"/>
                  </a:lnTo>
                  <a:lnTo>
                    <a:pt x="8" y="151"/>
                  </a:lnTo>
                  <a:lnTo>
                    <a:pt x="8" y="143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0" y="126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close/>
                  <a:moveTo>
                    <a:pt x="185" y="151"/>
                  </a:moveTo>
                  <a:lnTo>
                    <a:pt x="185" y="151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210" y="151"/>
                  </a:lnTo>
                  <a:lnTo>
                    <a:pt x="210" y="143"/>
                  </a:lnTo>
                  <a:lnTo>
                    <a:pt x="210" y="151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0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26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193" y="126"/>
                  </a:lnTo>
                  <a:lnTo>
                    <a:pt x="185" y="126"/>
                  </a:lnTo>
                  <a:lnTo>
                    <a:pt x="185" y="135"/>
                  </a:lnTo>
                  <a:lnTo>
                    <a:pt x="185" y="135"/>
                  </a:lnTo>
                  <a:lnTo>
                    <a:pt x="176" y="135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51"/>
                  </a:lnTo>
                  <a:lnTo>
                    <a:pt x="185" y="1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9" name="Freeform 159">
              <a:extLst>
                <a:ext uri="{FF2B5EF4-FFF2-40B4-BE49-F238E27FC236}">
                  <a16:creationId xmlns:a16="http://schemas.microsoft.com/office/drawing/2014/main" id="{A1E3BBBF-A876-4DAD-A91C-8E97EE532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918" y="5637315"/>
              <a:ext cx="49176" cy="49176"/>
            </a:xfrm>
            <a:custGeom>
              <a:avLst/>
              <a:gdLst>
                <a:gd name="T0" fmla="*/ 9 w 42"/>
                <a:gd name="T1" fmla="*/ 33 h 42"/>
                <a:gd name="T2" fmla="*/ 9 w 42"/>
                <a:gd name="T3" fmla="*/ 33 h 42"/>
                <a:gd name="T4" fmla="*/ 9 w 42"/>
                <a:gd name="T5" fmla="*/ 25 h 42"/>
                <a:gd name="T6" fmla="*/ 9 w 42"/>
                <a:gd name="T7" fmla="*/ 25 h 42"/>
                <a:gd name="T8" fmla="*/ 9 w 42"/>
                <a:gd name="T9" fmla="*/ 25 h 42"/>
                <a:gd name="T10" fmla="*/ 0 w 42"/>
                <a:gd name="T11" fmla="*/ 17 h 42"/>
                <a:gd name="T12" fmla="*/ 9 w 42"/>
                <a:gd name="T13" fmla="*/ 17 h 42"/>
                <a:gd name="T14" fmla="*/ 9 w 42"/>
                <a:gd name="T15" fmla="*/ 17 h 42"/>
                <a:gd name="T16" fmla="*/ 9 w 42"/>
                <a:gd name="T17" fmla="*/ 8 h 42"/>
                <a:gd name="T18" fmla="*/ 17 w 42"/>
                <a:gd name="T19" fmla="*/ 8 h 42"/>
                <a:gd name="T20" fmla="*/ 26 w 42"/>
                <a:gd name="T21" fmla="*/ 8 h 42"/>
                <a:gd name="T22" fmla="*/ 26 w 42"/>
                <a:gd name="T23" fmla="*/ 8 h 42"/>
                <a:gd name="T24" fmla="*/ 26 w 42"/>
                <a:gd name="T25" fmla="*/ 0 h 42"/>
                <a:gd name="T26" fmla="*/ 26 w 42"/>
                <a:gd name="T27" fmla="*/ 0 h 42"/>
                <a:gd name="T28" fmla="*/ 26 w 42"/>
                <a:gd name="T29" fmla="*/ 0 h 42"/>
                <a:gd name="T30" fmla="*/ 34 w 42"/>
                <a:gd name="T31" fmla="*/ 0 h 42"/>
                <a:gd name="T32" fmla="*/ 34 w 42"/>
                <a:gd name="T33" fmla="*/ 0 h 42"/>
                <a:gd name="T34" fmla="*/ 34 w 42"/>
                <a:gd name="T35" fmla="*/ 0 h 42"/>
                <a:gd name="T36" fmla="*/ 34 w 42"/>
                <a:gd name="T37" fmla="*/ 0 h 42"/>
                <a:gd name="T38" fmla="*/ 42 w 42"/>
                <a:gd name="T39" fmla="*/ 8 h 42"/>
                <a:gd name="T40" fmla="*/ 42 w 42"/>
                <a:gd name="T41" fmla="*/ 17 h 42"/>
                <a:gd name="T42" fmla="*/ 42 w 42"/>
                <a:gd name="T43" fmla="*/ 17 h 42"/>
                <a:gd name="T44" fmla="*/ 42 w 42"/>
                <a:gd name="T45" fmla="*/ 17 h 42"/>
                <a:gd name="T46" fmla="*/ 34 w 42"/>
                <a:gd name="T47" fmla="*/ 25 h 42"/>
                <a:gd name="T48" fmla="*/ 42 w 42"/>
                <a:gd name="T49" fmla="*/ 25 h 42"/>
                <a:gd name="T50" fmla="*/ 42 w 42"/>
                <a:gd name="T51" fmla="*/ 25 h 42"/>
                <a:gd name="T52" fmla="*/ 42 w 42"/>
                <a:gd name="T53" fmla="*/ 25 h 42"/>
                <a:gd name="T54" fmla="*/ 34 w 42"/>
                <a:gd name="T55" fmla="*/ 33 h 42"/>
                <a:gd name="T56" fmla="*/ 34 w 42"/>
                <a:gd name="T57" fmla="*/ 25 h 42"/>
                <a:gd name="T58" fmla="*/ 34 w 42"/>
                <a:gd name="T59" fmla="*/ 33 h 42"/>
                <a:gd name="T60" fmla="*/ 26 w 42"/>
                <a:gd name="T61" fmla="*/ 33 h 42"/>
                <a:gd name="T62" fmla="*/ 26 w 42"/>
                <a:gd name="T63" fmla="*/ 33 h 42"/>
                <a:gd name="T64" fmla="*/ 26 w 42"/>
                <a:gd name="T65" fmla="*/ 33 h 42"/>
                <a:gd name="T66" fmla="*/ 26 w 42"/>
                <a:gd name="T67" fmla="*/ 42 h 42"/>
                <a:gd name="T68" fmla="*/ 26 w 42"/>
                <a:gd name="T69" fmla="*/ 42 h 42"/>
                <a:gd name="T70" fmla="*/ 17 w 42"/>
                <a:gd name="T71" fmla="*/ 42 h 42"/>
                <a:gd name="T72" fmla="*/ 17 w 42"/>
                <a:gd name="T73" fmla="*/ 42 h 42"/>
                <a:gd name="T74" fmla="*/ 9 w 42"/>
                <a:gd name="T75" fmla="*/ 33 h 42"/>
                <a:gd name="T76" fmla="*/ 9 w 42"/>
                <a:gd name="T77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" h="42">
                  <a:moveTo>
                    <a:pt x="9" y="33"/>
                  </a:move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1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4" y="33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33"/>
                  </a:lnTo>
                  <a:lnTo>
                    <a:pt x="9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Freeform 160">
              <a:extLst>
                <a:ext uri="{FF2B5EF4-FFF2-40B4-BE49-F238E27FC236}">
                  <a16:creationId xmlns:a16="http://schemas.microsoft.com/office/drawing/2014/main" id="{827231B2-2885-4D6C-B1D9-6A6D1BF6A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8900" y="5253271"/>
              <a:ext cx="835998" cy="895714"/>
            </a:xfrm>
            <a:custGeom>
              <a:avLst/>
              <a:gdLst>
                <a:gd name="T0" fmla="*/ 84 w 85"/>
                <a:gd name="T1" fmla="*/ 38 h 91"/>
                <a:gd name="T2" fmla="*/ 73 w 85"/>
                <a:gd name="T3" fmla="*/ 20 h 91"/>
                <a:gd name="T4" fmla="*/ 58 w 85"/>
                <a:gd name="T5" fmla="*/ 16 h 91"/>
                <a:gd name="T6" fmla="*/ 52 w 85"/>
                <a:gd name="T7" fmla="*/ 9 h 91"/>
                <a:gd name="T8" fmla="*/ 53 w 85"/>
                <a:gd name="T9" fmla="*/ 9 h 91"/>
                <a:gd name="T10" fmla="*/ 52 w 85"/>
                <a:gd name="T11" fmla="*/ 4 h 91"/>
                <a:gd name="T12" fmla="*/ 41 w 85"/>
                <a:gd name="T13" fmla="*/ 3 h 91"/>
                <a:gd name="T14" fmla="*/ 40 w 85"/>
                <a:gd name="T15" fmla="*/ 3 h 91"/>
                <a:gd name="T16" fmla="*/ 28 w 85"/>
                <a:gd name="T17" fmla="*/ 12 h 91"/>
                <a:gd name="T18" fmla="*/ 1 w 85"/>
                <a:gd name="T19" fmla="*/ 34 h 91"/>
                <a:gd name="T20" fmla="*/ 46 w 85"/>
                <a:gd name="T21" fmla="*/ 65 h 91"/>
                <a:gd name="T22" fmla="*/ 63 w 85"/>
                <a:gd name="T23" fmla="*/ 75 h 91"/>
                <a:gd name="T24" fmla="*/ 58 w 85"/>
                <a:gd name="T25" fmla="*/ 80 h 91"/>
                <a:gd name="T26" fmla="*/ 64 w 85"/>
                <a:gd name="T27" fmla="*/ 79 h 91"/>
                <a:gd name="T28" fmla="*/ 62 w 85"/>
                <a:gd name="T29" fmla="*/ 88 h 91"/>
                <a:gd name="T30" fmla="*/ 57 w 85"/>
                <a:gd name="T31" fmla="*/ 88 h 91"/>
                <a:gd name="T32" fmla="*/ 58 w 85"/>
                <a:gd name="T33" fmla="*/ 82 h 91"/>
                <a:gd name="T34" fmla="*/ 64 w 85"/>
                <a:gd name="T35" fmla="*/ 82 h 91"/>
                <a:gd name="T36" fmla="*/ 62 w 85"/>
                <a:gd name="T37" fmla="*/ 89 h 91"/>
                <a:gd name="T38" fmla="*/ 59 w 85"/>
                <a:gd name="T39" fmla="*/ 91 h 91"/>
                <a:gd name="T40" fmla="*/ 4 w 85"/>
                <a:gd name="T41" fmla="*/ 60 h 91"/>
                <a:gd name="T42" fmla="*/ 10 w 85"/>
                <a:gd name="T43" fmla="*/ 58 h 91"/>
                <a:gd name="T44" fmla="*/ 18 w 85"/>
                <a:gd name="T45" fmla="*/ 58 h 91"/>
                <a:gd name="T46" fmla="*/ 28 w 85"/>
                <a:gd name="T47" fmla="*/ 54 h 91"/>
                <a:gd name="T48" fmla="*/ 39 w 85"/>
                <a:gd name="T49" fmla="*/ 53 h 91"/>
                <a:gd name="T50" fmla="*/ 43 w 85"/>
                <a:gd name="T51" fmla="*/ 61 h 91"/>
                <a:gd name="T52" fmla="*/ 47 w 85"/>
                <a:gd name="T53" fmla="*/ 59 h 91"/>
                <a:gd name="T54" fmla="*/ 47 w 85"/>
                <a:gd name="T55" fmla="*/ 61 h 91"/>
                <a:gd name="T56" fmla="*/ 48 w 85"/>
                <a:gd name="T57" fmla="*/ 64 h 91"/>
                <a:gd name="T58" fmla="*/ 50 w 85"/>
                <a:gd name="T59" fmla="*/ 70 h 91"/>
                <a:gd name="T60" fmla="*/ 57 w 85"/>
                <a:gd name="T61" fmla="*/ 75 h 91"/>
                <a:gd name="T62" fmla="*/ 61 w 85"/>
                <a:gd name="T63" fmla="*/ 74 h 91"/>
                <a:gd name="T64" fmla="*/ 66 w 85"/>
                <a:gd name="T65" fmla="*/ 73 h 91"/>
                <a:gd name="T66" fmla="*/ 72 w 85"/>
                <a:gd name="T67" fmla="*/ 68 h 91"/>
                <a:gd name="T68" fmla="*/ 79 w 85"/>
                <a:gd name="T69" fmla="*/ 58 h 91"/>
                <a:gd name="T70" fmla="*/ 83 w 85"/>
                <a:gd name="T71" fmla="*/ 48 h 91"/>
                <a:gd name="T72" fmla="*/ 84 w 85"/>
                <a:gd name="T73" fmla="*/ 38 h 91"/>
                <a:gd name="T74" fmla="*/ 80 w 85"/>
                <a:gd name="T75" fmla="*/ 31 h 91"/>
                <a:gd name="T76" fmla="*/ 78 w 85"/>
                <a:gd name="T77" fmla="*/ 28 h 91"/>
                <a:gd name="T78" fmla="*/ 75 w 85"/>
                <a:gd name="T79" fmla="*/ 23 h 91"/>
                <a:gd name="T80" fmla="*/ 72 w 85"/>
                <a:gd name="T81" fmla="*/ 16 h 91"/>
                <a:gd name="T82" fmla="*/ 69 w 85"/>
                <a:gd name="T83" fmla="*/ 10 h 91"/>
                <a:gd name="T84" fmla="*/ 67 w 85"/>
                <a:gd name="T85" fmla="*/ 3 h 91"/>
                <a:gd name="T86" fmla="*/ 64 w 85"/>
                <a:gd name="T87" fmla="*/ 7 h 91"/>
                <a:gd name="T88" fmla="*/ 61 w 85"/>
                <a:gd name="T89" fmla="*/ 17 h 91"/>
                <a:gd name="T90" fmla="*/ 54 w 85"/>
                <a:gd name="T91" fmla="*/ 13 h 91"/>
                <a:gd name="T92" fmla="*/ 52 w 85"/>
                <a:gd name="T93" fmla="*/ 7 h 91"/>
                <a:gd name="T94" fmla="*/ 53 w 85"/>
                <a:gd name="T95" fmla="*/ 5 h 91"/>
                <a:gd name="T96" fmla="*/ 50 w 85"/>
                <a:gd name="T97" fmla="*/ 4 h 91"/>
                <a:gd name="T98" fmla="*/ 44 w 85"/>
                <a:gd name="T99" fmla="*/ 3 h 91"/>
                <a:gd name="T100" fmla="*/ 42 w 85"/>
                <a:gd name="T101" fmla="*/ 5 h 91"/>
                <a:gd name="T102" fmla="*/ 39 w 85"/>
                <a:gd name="T103" fmla="*/ 8 h 91"/>
                <a:gd name="T104" fmla="*/ 37 w 85"/>
                <a:gd name="T105" fmla="*/ 11 h 91"/>
                <a:gd name="T106" fmla="*/ 35 w 85"/>
                <a:gd name="T107" fmla="*/ 12 h 91"/>
                <a:gd name="T108" fmla="*/ 31 w 85"/>
                <a:gd name="T109" fmla="*/ 9 h 91"/>
                <a:gd name="T110" fmla="*/ 28 w 85"/>
                <a:gd name="T111" fmla="*/ 12 h 91"/>
                <a:gd name="T112" fmla="*/ 26 w 85"/>
                <a:gd name="T113" fmla="*/ 14 h 91"/>
                <a:gd name="T114" fmla="*/ 24 w 85"/>
                <a:gd name="T115" fmla="*/ 15 h 91"/>
                <a:gd name="T116" fmla="*/ 20 w 85"/>
                <a:gd name="T117" fmla="*/ 20 h 91"/>
                <a:gd name="T118" fmla="*/ 10 w 85"/>
                <a:gd name="T119" fmla="*/ 24 h 91"/>
                <a:gd name="T120" fmla="*/ 3 w 85"/>
                <a:gd name="T121" fmla="*/ 27 h 91"/>
                <a:gd name="T122" fmla="*/ 2 w 85"/>
                <a:gd name="T123" fmla="*/ 37 h 91"/>
                <a:gd name="T124" fmla="*/ 3 w 85"/>
                <a:gd name="T125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91">
                  <a:moveTo>
                    <a:pt x="84" y="44"/>
                  </a:move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4"/>
                    <a:pt x="84" y="44"/>
                    <a:pt x="84" y="44"/>
                  </a:cubicBezTo>
                  <a:close/>
                  <a:moveTo>
                    <a:pt x="84" y="38"/>
                  </a:move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4" y="38"/>
                    <a:pt x="84" y="38"/>
                    <a:pt x="84" y="38"/>
                  </a:cubicBezTo>
                  <a:close/>
                  <a:moveTo>
                    <a:pt x="81" y="32"/>
                  </a:moveTo>
                  <a:cubicBezTo>
                    <a:pt x="81" y="33"/>
                    <a:pt x="81" y="33"/>
                    <a:pt x="81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lose/>
                  <a:moveTo>
                    <a:pt x="72" y="20"/>
                  </a:moveTo>
                  <a:cubicBezTo>
                    <a:pt x="73" y="20"/>
                    <a:pt x="73" y="20"/>
                    <a:pt x="73" y="20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2" y="20"/>
                    <a:pt x="72" y="20"/>
                    <a:pt x="72" y="20"/>
                  </a:cubicBezTo>
                  <a:close/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lose/>
                  <a:moveTo>
                    <a:pt x="65" y="1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5" y="1"/>
                    <a:pt x="65" y="1"/>
                    <a:pt x="65" y="1"/>
                  </a:cubicBezTo>
                  <a:close/>
                  <a:moveTo>
                    <a:pt x="59" y="16"/>
                  </a:move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lose/>
                  <a:moveTo>
                    <a:pt x="58" y="15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lose/>
                  <a:moveTo>
                    <a:pt x="54" y="13"/>
                  </a:move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lose/>
                  <a:moveTo>
                    <a:pt x="52" y="9"/>
                  </a:move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2" y="9"/>
                    <a:pt x="52" y="9"/>
                    <a:pt x="52" y="9"/>
                  </a:cubicBezTo>
                  <a:close/>
                  <a:moveTo>
                    <a:pt x="53" y="9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lose/>
                  <a:moveTo>
                    <a:pt x="53" y="3"/>
                  </a:move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lose/>
                  <a:moveTo>
                    <a:pt x="53" y="3"/>
                  </a:move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lose/>
                  <a:moveTo>
                    <a:pt x="52" y="3"/>
                  </a:moveTo>
                  <a:cubicBezTo>
                    <a:pt x="53" y="4"/>
                    <a:pt x="53" y="4"/>
                    <a:pt x="53" y="4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3"/>
                    <a:pt x="52" y="3"/>
                    <a:pt x="52" y="3"/>
                  </a:cubicBezTo>
                  <a:close/>
                  <a:moveTo>
                    <a:pt x="52" y="4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lose/>
                  <a:moveTo>
                    <a:pt x="51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lose/>
                  <a:moveTo>
                    <a:pt x="51" y="5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lose/>
                  <a:moveTo>
                    <a:pt x="45" y="3"/>
                  </a:move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41" y="3"/>
                  </a:moveTo>
                  <a:cubicBezTo>
                    <a:pt x="41" y="3"/>
                    <a:pt x="41" y="3"/>
                    <a:pt x="41" y="3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1" y="3"/>
                    <a:pt x="41" y="3"/>
                    <a:pt x="41" y="3"/>
                  </a:cubicBezTo>
                  <a:close/>
                  <a:moveTo>
                    <a:pt x="40" y="3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lose/>
                  <a:moveTo>
                    <a:pt x="27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lose/>
                  <a:moveTo>
                    <a:pt x="27" y="13"/>
                  </a:moveTo>
                  <a:cubicBezTo>
                    <a:pt x="27" y="13"/>
                    <a:pt x="27" y="13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lose/>
                  <a:moveTo>
                    <a:pt x="29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lose/>
                  <a:moveTo>
                    <a:pt x="7" y="25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5"/>
                    <a:pt x="7" y="25"/>
                    <a:pt x="7" y="25"/>
                  </a:cubicBezTo>
                  <a:close/>
                  <a:moveTo>
                    <a:pt x="0" y="35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5"/>
                    <a:pt x="0" y="35"/>
                  </a:cubicBezTo>
                  <a:close/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7"/>
                    <a:pt x="0" y="37"/>
                    <a:pt x="0" y="3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60" y="74"/>
                  </a:move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0" y="74"/>
                    <a:pt x="60" y="74"/>
                    <a:pt x="60" y="74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8" y="80"/>
                  </a:move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lose/>
                  <a:moveTo>
                    <a:pt x="57" y="81"/>
                  </a:moveTo>
                  <a:cubicBezTo>
                    <a:pt x="57" y="81"/>
                    <a:pt x="57" y="81"/>
                    <a:pt x="57" y="81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7" y="81"/>
                    <a:pt x="57" y="81"/>
                    <a:pt x="57" y="81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64" y="80"/>
                  </a:move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lose/>
                  <a:moveTo>
                    <a:pt x="64" y="81"/>
                  </a:moveTo>
                  <a:cubicBezTo>
                    <a:pt x="64" y="81"/>
                    <a:pt x="64" y="81"/>
                    <a:pt x="64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lose/>
                  <a:moveTo>
                    <a:pt x="64" y="82"/>
                  </a:moveTo>
                  <a:cubicBezTo>
                    <a:pt x="64" y="82"/>
                    <a:pt x="64" y="82"/>
                    <a:pt x="64" y="82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2"/>
                    <a:pt x="64" y="82"/>
                    <a:pt x="64" y="82"/>
                  </a:cubicBezTo>
                  <a:close/>
                  <a:moveTo>
                    <a:pt x="62" y="89"/>
                  </a:move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0" y="91"/>
                  </a:moveTo>
                  <a:cubicBezTo>
                    <a:pt x="59" y="91"/>
                    <a:pt x="59" y="91"/>
                    <a:pt x="59" y="91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lose/>
                  <a:moveTo>
                    <a:pt x="57" y="91"/>
                  </a:move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64" y="84"/>
                    <a:pt x="64" y="84"/>
                    <a:pt x="64" y="84"/>
                  </a:cubicBezTo>
                  <a:cubicBezTo>
                    <a:pt x="64" y="84"/>
                    <a:pt x="64" y="84"/>
                    <a:pt x="64" y="84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1" y="58"/>
                  </a:moveTo>
                  <a:cubicBezTo>
                    <a:pt x="1" y="58"/>
                    <a:pt x="1" y="58"/>
                    <a:pt x="1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7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7"/>
                    <a:pt x="1" y="57"/>
                    <a:pt x="1" y="57"/>
                  </a:cubicBezTo>
                  <a:lnTo>
                    <a:pt x="1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Freeform 161">
              <a:extLst>
                <a:ext uri="{FF2B5EF4-FFF2-40B4-BE49-F238E27FC236}">
                  <a16:creationId xmlns:a16="http://schemas.microsoft.com/office/drawing/2014/main" id="{D2E07664-18D2-4174-B9E5-89DAE8F8B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4802" y="5903102"/>
              <a:ext cx="413316" cy="629927"/>
            </a:xfrm>
            <a:custGeom>
              <a:avLst/>
              <a:gdLst>
                <a:gd name="T0" fmla="*/ 25 w 353"/>
                <a:gd name="T1" fmla="*/ 538 h 538"/>
                <a:gd name="T2" fmla="*/ 0 w 353"/>
                <a:gd name="T3" fmla="*/ 471 h 538"/>
                <a:gd name="T4" fmla="*/ 0 w 353"/>
                <a:gd name="T5" fmla="*/ 471 h 538"/>
                <a:gd name="T6" fmla="*/ 303 w 353"/>
                <a:gd name="T7" fmla="*/ 59 h 538"/>
                <a:gd name="T8" fmla="*/ 311 w 353"/>
                <a:gd name="T9" fmla="*/ 59 h 538"/>
                <a:gd name="T10" fmla="*/ 261 w 353"/>
                <a:gd name="T11" fmla="*/ 202 h 538"/>
                <a:gd name="T12" fmla="*/ 286 w 353"/>
                <a:gd name="T13" fmla="*/ 193 h 538"/>
                <a:gd name="T14" fmla="*/ 311 w 353"/>
                <a:gd name="T15" fmla="*/ 160 h 538"/>
                <a:gd name="T16" fmla="*/ 319 w 353"/>
                <a:gd name="T17" fmla="*/ 143 h 538"/>
                <a:gd name="T18" fmla="*/ 328 w 353"/>
                <a:gd name="T19" fmla="*/ 134 h 538"/>
                <a:gd name="T20" fmla="*/ 345 w 353"/>
                <a:gd name="T21" fmla="*/ 109 h 538"/>
                <a:gd name="T22" fmla="*/ 345 w 353"/>
                <a:gd name="T23" fmla="*/ 92 h 538"/>
                <a:gd name="T24" fmla="*/ 311 w 353"/>
                <a:gd name="T25" fmla="*/ 92 h 538"/>
                <a:gd name="T26" fmla="*/ 311 w 353"/>
                <a:gd name="T27" fmla="*/ 67 h 538"/>
                <a:gd name="T28" fmla="*/ 303 w 353"/>
                <a:gd name="T29" fmla="*/ 76 h 538"/>
                <a:gd name="T30" fmla="*/ 294 w 353"/>
                <a:gd name="T31" fmla="*/ 76 h 538"/>
                <a:gd name="T32" fmla="*/ 303 w 353"/>
                <a:gd name="T33" fmla="*/ 50 h 538"/>
                <a:gd name="T34" fmla="*/ 303 w 353"/>
                <a:gd name="T35" fmla="*/ 34 h 538"/>
                <a:gd name="T36" fmla="*/ 294 w 353"/>
                <a:gd name="T37" fmla="*/ 17 h 538"/>
                <a:gd name="T38" fmla="*/ 286 w 353"/>
                <a:gd name="T39" fmla="*/ 8 h 538"/>
                <a:gd name="T40" fmla="*/ 277 w 353"/>
                <a:gd name="T41" fmla="*/ 0 h 538"/>
                <a:gd name="T42" fmla="*/ 277 w 353"/>
                <a:gd name="T43" fmla="*/ 17 h 538"/>
                <a:gd name="T44" fmla="*/ 277 w 353"/>
                <a:gd name="T45" fmla="*/ 34 h 538"/>
                <a:gd name="T46" fmla="*/ 286 w 353"/>
                <a:gd name="T47" fmla="*/ 50 h 538"/>
                <a:gd name="T48" fmla="*/ 286 w 353"/>
                <a:gd name="T49" fmla="*/ 67 h 538"/>
                <a:gd name="T50" fmla="*/ 294 w 353"/>
                <a:gd name="T51" fmla="*/ 76 h 538"/>
                <a:gd name="T52" fmla="*/ 286 w 353"/>
                <a:gd name="T53" fmla="*/ 101 h 538"/>
                <a:gd name="T54" fmla="*/ 277 w 353"/>
                <a:gd name="T55" fmla="*/ 109 h 538"/>
                <a:gd name="T56" fmla="*/ 252 w 353"/>
                <a:gd name="T57" fmla="*/ 143 h 538"/>
                <a:gd name="T58" fmla="*/ 277 w 353"/>
                <a:gd name="T59" fmla="*/ 168 h 538"/>
                <a:gd name="T60" fmla="*/ 244 w 353"/>
                <a:gd name="T61" fmla="*/ 185 h 538"/>
                <a:gd name="T62" fmla="*/ 244 w 353"/>
                <a:gd name="T63" fmla="*/ 185 h 538"/>
                <a:gd name="T64" fmla="*/ 244 w 353"/>
                <a:gd name="T65" fmla="*/ 185 h 538"/>
                <a:gd name="T66" fmla="*/ 76 w 353"/>
                <a:gd name="T67" fmla="*/ 362 h 538"/>
                <a:gd name="T68" fmla="*/ 84 w 353"/>
                <a:gd name="T69" fmla="*/ 345 h 538"/>
                <a:gd name="T70" fmla="*/ 84 w 353"/>
                <a:gd name="T71" fmla="*/ 353 h 538"/>
                <a:gd name="T72" fmla="*/ 84 w 353"/>
                <a:gd name="T73" fmla="*/ 362 h 538"/>
                <a:gd name="T74" fmla="*/ 76 w 353"/>
                <a:gd name="T75" fmla="*/ 319 h 538"/>
                <a:gd name="T76" fmla="*/ 84 w 353"/>
                <a:gd name="T77" fmla="*/ 303 h 538"/>
                <a:gd name="T78" fmla="*/ 101 w 353"/>
                <a:gd name="T79" fmla="*/ 294 h 538"/>
                <a:gd name="T80" fmla="*/ 109 w 353"/>
                <a:gd name="T81" fmla="*/ 277 h 538"/>
                <a:gd name="T82" fmla="*/ 143 w 353"/>
                <a:gd name="T83" fmla="*/ 269 h 538"/>
                <a:gd name="T84" fmla="*/ 160 w 353"/>
                <a:gd name="T85" fmla="*/ 244 h 538"/>
                <a:gd name="T86" fmla="*/ 193 w 353"/>
                <a:gd name="T87" fmla="*/ 219 h 538"/>
                <a:gd name="T88" fmla="*/ 210 w 353"/>
                <a:gd name="T89" fmla="*/ 193 h 538"/>
                <a:gd name="T90" fmla="*/ 227 w 353"/>
                <a:gd name="T91" fmla="*/ 185 h 538"/>
                <a:gd name="T92" fmla="*/ 235 w 353"/>
                <a:gd name="T93" fmla="*/ 193 h 538"/>
                <a:gd name="T94" fmla="*/ 244 w 353"/>
                <a:gd name="T95" fmla="*/ 193 h 538"/>
                <a:gd name="T96" fmla="*/ 252 w 353"/>
                <a:gd name="T97" fmla="*/ 193 h 538"/>
                <a:gd name="T98" fmla="*/ 235 w 353"/>
                <a:gd name="T99" fmla="*/ 219 h 538"/>
                <a:gd name="T100" fmla="*/ 210 w 353"/>
                <a:gd name="T101" fmla="*/ 252 h 538"/>
                <a:gd name="T102" fmla="*/ 202 w 353"/>
                <a:gd name="T103" fmla="*/ 269 h 538"/>
                <a:gd name="T104" fmla="*/ 202 w 353"/>
                <a:gd name="T105" fmla="*/ 269 h 538"/>
                <a:gd name="T106" fmla="*/ 185 w 353"/>
                <a:gd name="T107" fmla="*/ 269 h 538"/>
                <a:gd name="T108" fmla="*/ 168 w 353"/>
                <a:gd name="T109" fmla="*/ 277 h 538"/>
                <a:gd name="T110" fmla="*/ 151 w 353"/>
                <a:gd name="T111" fmla="*/ 311 h 538"/>
                <a:gd name="T112" fmla="*/ 135 w 353"/>
                <a:gd name="T113" fmla="*/ 328 h 538"/>
                <a:gd name="T114" fmla="*/ 118 w 353"/>
                <a:gd name="T115" fmla="*/ 345 h 538"/>
                <a:gd name="T116" fmla="*/ 101 w 353"/>
                <a:gd name="T117" fmla="*/ 345 h 538"/>
                <a:gd name="T118" fmla="*/ 84 w 353"/>
                <a:gd name="T119" fmla="*/ 32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3" h="538">
                  <a:moveTo>
                    <a:pt x="76" y="311"/>
                  </a:move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close/>
                  <a:moveTo>
                    <a:pt x="25" y="538"/>
                  </a:moveTo>
                  <a:lnTo>
                    <a:pt x="25" y="538"/>
                  </a:lnTo>
                  <a:lnTo>
                    <a:pt x="25" y="538"/>
                  </a:lnTo>
                  <a:lnTo>
                    <a:pt x="34" y="538"/>
                  </a:lnTo>
                  <a:lnTo>
                    <a:pt x="34" y="530"/>
                  </a:lnTo>
                  <a:lnTo>
                    <a:pt x="25" y="538"/>
                  </a:lnTo>
                  <a:lnTo>
                    <a:pt x="25" y="538"/>
                  </a:lnTo>
                  <a:lnTo>
                    <a:pt x="25" y="538"/>
                  </a:lnTo>
                  <a:lnTo>
                    <a:pt x="25" y="538"/>
                  </a:lnTo>
                  <a:close/>
                  <a:moveTo>
                    <a:pt x="0" y="471"/>
                  </a:moveTo>
                  <a:lnTo>
                    <a:pt x="9" y="462"/>
                  </a:lnTo>
                  <a:lnTo>
                    <a:pt x="9" y="462"/>
                  </a:lnTo>
                  <a:lnTo>
                    <a:pt x="9" y="462"/>
                  </a:lnTo>
                  <a:lnTo>
                    <a:pt x="9" y="471"/>
                  </a:lnTo>
                  <a:lnTo>
                    <a:pt x="9" y="471"/>
                  </a:lnTo>
                  <a:lnTo>
                    <a:pt x="9" y="471"/>
                  </a:lnTo>
                  <a:lnTo>
                    <a:pt x="0" y="471"/>
                  </a:lnTo>
                  <a:lnTo>
                    <a:pt x="0" y="471"/>
                  </a:lnTo>
                  <a:lnTo>
                    <a:pt x="0" y="471"/>
                  </a:lnTo>
                  <a:lnTo>
                    <a:pt x="0" y="471"/>
                  </a:lnTo>
                  <a:close/>
                  <a:moveTo>
                    <a:pt x="303" y="76"/>
                  </a:move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close/>
                  <a:moveTo>
                    <a:pt x="303" y="59"/>
                  </a:move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close/>
                  <a:moveTo>
                    <a:pt x="311" y="59"/>
                  </a:moveTo>
                  <a:lnTo>
                    <a:pt x="311" y="59"/>
                  </a:lnTo>
                  <a:lnTo>
                    <a:pt x="311" y="50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close/>
                  <a:moveTo>
                    <a:pt x="252" y="202"/>
                  </a:moveTo>
                  <a:lnTo>
                    <a:pt x="261" y="202"/>
                  </a:lnTo>
                  <a:lnTo>
                    <a:pt x="261" y="193"/>
                  </a:lnTo>
                  <a:lnTo>
                    <a:pt x="261" y="193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10"/>
                  </a:lnTo>
                  <a:lnTo>
                    <a:pt x="269" y="210"/>
                  </a:lnTo>
                  <a:lnTo>
                    <a:pt x="269" y="202"/>
                  </a:lnTo>
                  <a:lnTo>
                    <a:pt x="277" y="193"/>
                  </a:lnTo>
                  <a:lnTo>
                    <a:pt x="286" y="193"/>
                  </a:lnTo>
                  <a:lnTo>
                    <a:pt x="286" y="185"/>
                  </a:lnTo>
                  <a:lnTo>
                    <a:pt x="294" y="177"/>
                  </a:lnTo>
                  <a:lnTo>
                    <a:pt x="29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68"/>
                  </a:lnTo>
                  <a:lnTo>
                    <a:pt x="303" y="168"/>
                  </a:lnTo>
                  <a:lnTo>
                    <a:pt x="303" y="168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03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9" y="143"/>
                  </a:lnTo>
                  <a:lnTo>
                    <a:pt x="319" y="134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36" y="143"/>
                  </a:lnTo>
                  <a:lnTo>
                    <a:pt x="336" y="143"/>
                  </a:lnTo>
                  <a:lnTo>
                    <a:pt x="328" y="134"/>
                  </a:lnTo>
                  <a:lnTo>
                    <a:pt x="328" y="134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5" y="109"/>
                  </a:lnTo>
                  <a:lnTo>
                    <a:pt x="353" y="109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45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45" y="92"/>
                  </a:lnTo>
                  <a:lnTo>
                    <a:pt x="345" y="101"/>
                  </a:lnTo>
                  <a:lnTo>
                    <a:pt x="336" y="109"/>
                  </a:lnTo>
                  <a:lnTo>
                    <a:pt x="328" y="109"/>
                  </a:lnTo>
                  <a:lnTo>
                    <a:pt x="328" y="109"/>
                  </a:lnTo>
                  <a:lnTo>
                    <a:pt x="328" y="109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1" y="92"/>
                  </a:lnTo>
                  <a:lnTo>
                    <a:pt x="311" y="92"/>
                  </a:lnTo>
                  <a:lnTo>
                    <a:pt x="319" y="92"/>
                  </a:lnTo>
                  <a:lnTo>
                    <a:pt x="319" y="84"/>
                  </a:lnTo>
                  <a:lnTo>
                    <a:pt x="311" y="84"/>
                  </a:lnTo>
                  <a:lnTo>
                    <a:pt x="311" y="76"/>
                  </a:lnTo>
                  <a:lnTo>
                    <a:pt x="311" y="76"/>
                  </a:lnTo>
                  <a:lnTo>
                    <a:pt x="311" y="76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11" y="84"/>
                  </a:lnTo>
                  <a:lnTo>
                    <a:pt x="311" y="84"/>
                  </a:lnTo>
                  <a:lnTo>
                    <a:pt x="303" y="84"/>
                  </a:lnTo>
                  <a:lnTo>
                    <a:pt x="303" y="84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4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0"/>
                  </a:lnTo>
                  <a:lnTo>
                    <a:pt x="303" y="50"/>
                  </a:lnTo>
                  <a:lnTo>
                    <a:pt x="303" y="50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303" y="42"/>
                  </a:lnTo>
                  <a:lnTo>
                    <a:pt x="303" y="42"/>
                  </a:lnTo>
                  <a:lnTo>
                    <a:pt x="303" y="42"/>
                  </a:lnTo>
                  <a:lnTo>
                    <a:pt x="303" y="34"/>
                  </a:lnTo>
                  <a:lnTo>
                    <a:pt x="303" y="25"/>
                  </a:lnTo>
                  <a:lnTo>
                    <a:pt x="303" y="25"/>
                  </a:lnTo>
                  <a:lnTo>
                    <a:pt x="303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6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8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34"/>
                  </a:lnTo>
                  <a:lnTo>
                    <a:pt x="277" y="34"/>
                  </a:lnTo>
                  <a:lnTo>
                    <a:pt x="286" y="34"/>
                  </a:lnTo>
                  <a:lnTo>
                    <a:pt x="286" y="42"/>
                  </a:lnTo>
                  <a:lnTo>
                    <a:pt x="286" y="50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4" y="50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86" y="92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77" y="109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1" y="134"/>
                  </a:lnTo>
                  <a:lnTo>
                    <a:pt x="261" y="134"/>
                  </a:lnTo>
                  <a:lnTo>
                    <a:pt x="252" y="143"/>
                  </a:lnTo>
                  <a:lnTo>
                    <a:pt x="261" y="143"/>
                  </a:lnTo>
                  <a:lnTo>
                    <a:pt x="261" y="151"/>
                  </a:lnTo>
                  <a:lnTo>
                    <a:pt x="269" y="151"/>
                  </a:lnTo>
                  <a:lnTo>
                    <a:pt x="269" y="160"/>
                  </a:lnTo>
                  <a:lnTo>
                    <a:pt x="269" y="160"/>
                  </a:lnTo>
                  <a:lnTo>
                    <a:pt x="277" y="160"/>
                  </a:lnTo>
                  <a:lnTo>
                    <a:pt x="277" y="168"/>
                  </a:lnTo>
                  <a:lnTo>
                    <a:pt x="277" y="168"/>
                  </a:lnTo>
                  <a:lnTo>
                    <a:pt x="277" y="168"/>
                  </a:lnTo>
                  <a:lnTo>
                    <a:pt x="277" y="177"/>
                  </a:lnTo>
                  <a:lnTo>
                    <a:pt x="269" y="177"/>
                  </a:lnTo>
                  <a:lnTo>
                    <a:pt x="269" y="185"/>
                  </a:lnTo>
                  <a:lnTo>
                    <a:pt x="261" y="193"/>
                  </a:lnTo>
                  <a:lnTo>
                    <a:pt x="252" y="193"/>
                  </a:lnTo>
                  <a:lnTo>
                    <a:pt x="252" y="193"/>
                  </a:lnTo>
                  <a:lnTo>
                    <a:pt x="252" y="202"/>
                  </a:lnTo>
                  <a:lnTo>
                    <a:pt x="252" y="202"/>
                  </a:lnTo>
                  <a:close/>
                  <a:moveTo>
                    <a:pt x="244" y="185"/>
                  </a:moveTo>
                  <a:lnTo>
                    <a:pt x="244" y="185"/>
                  </a:lnTo>
                  <a:lnTo>
                    <a:pt x="244" y="177"/>
                  </a:lnTo>
                  <a:lnTo>
                    <a:pt x="244" y="177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close/>
                  <a:moveTo>
                    <a:pt x="244" y="193"/>
                  </a:moveTo>
                  <a:lnTo>
                    <a:pt x="244" y="185"/>
                  </a:lnTo>
                  <a:lnTo>
                    <a:pt x="244" y="185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close/>
                  <a:moveTo>
                    <a:pt x="235" y="185"/>
                  </a:move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35" y="185"/>
                  </a:lnTo>
                  <a:lnTo>
                    <a:pt x="235" y="185"/>
                  </a:lnTo>
                  <a:close/>
                  <a:moveTo>
                    <a:pt x="93" y="353"/>
                  </a:moveTo>
                  <a:lnTo>
                    <a:pt x="101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close/>
                  <a:moveTo>
                    <a:pt x="76" y="362"/>
                  </a:move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62"/>
                  </a:lnTo>
                  <a:lnTo>
                    <a:pt x="84" y="353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close/>
                  <a:moveTo>
                    <a:pt x="76" y="328"/>
                  </a:moveTo>
                  <a:lnTo>
                    <a:pt x="76" y="328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84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101" y="286"/>
                  </a:lnTo>
                  <a:lnTo>
                    <a:pt x="101" y="294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77"/>
                  </a:lnTo>
                  <a:lnTo>
                    <a:pt x="109" y="286"/>
                  </a:lnTo>
                  <a:lnTo>
                    <a:pt x="109" y="286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18" y="269"/>
                  </a:lnTo>
                  <a:lnTo>
                    <a:pt x="118" y="269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6" y="269"/>
                  </a:lnTo>
                  <a:lnTo>
                    <a:pt x="135" y="269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43" y="269"/>
                  </a:lnTo>
                  <a:lnTo>
                    <a:pt x="143" y="261"/>
                  </a:lnTo>
                  <a:lnTo>
                    <a:pt x="135" y="261"/>
                  </a:lnTo>
                  <a:lnTo>
                    <a:pt x="143" y="261"/>
                  </a:lnTo>
                  <a:lnTo>
                    <a:pt x="143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60" y="244"/>
                  </a:lnTo>
                  <a:lnTo>
                    <a:pt x="160" y="244"/>
                  </a:lnTo>
                  <a:lnTo>
                    <a:pt x="160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77" y="235"/>
                  </a:lnTo>
                  <a:lnTo>
                    <a:pt x="185" y="227"/>
                  </a:lnTo>
                  <a:lnTo>
                    <a:pt x="185" y="227"/>
                  </a:lnTo>
                  <a:lnTo>
                    <a:pt x="185" y="227"/>
                  </a:lnTo>
                  <a:lnTo>
                    <a:pt x="185" y="219"/>
                  </a:lnTo>
                  <a:lnTo>
                    <a:pt x="193" y="219"/>
                  </a:lnTo>
                  <a:lnTo>
                    <a:pt x="193" y="219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202" y="210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10" y="202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9" y="185"/>
                  </a:lnTo>
                  <a:lnTo>
                    <a:pt x="219" y="185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5"/>
                  </a:lnTo>
                  <a:lnTo>
                    <a:pt x="227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27" y="185"/>
                  </a:lnTo>
                  <a:lnTo>
                    <a:pt x="227" y="185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85"/>
                  </a:lnTo>
                  <a:lnTo>
                    <a:pt x="252" y="185"/>
                  </a:lnTo>
                  <a:lnTo>
                    <a:pt x="252" y="193"/>
                  </a:lnTo>
                  <a:lnTo>
                    <a:pt x="252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52" y="193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35" y="219"/>
                  </a:lnTo>
                  <a:lnTo>
                    <a:pt x="235" y="227"/>
                  </a:lnTo>
                  <a:lnTo>
                    <a:pt x="227" y="227"/>
                  </a:lnTo>
                  <a:lnTo>
                    <a:pt x="227" y="235"/>
                  </a:lnTo>
                  <a:lnTo>
                    <a:pt x="227" y="235"/>
                  </a:lnTo>
                  <a:lnTo>
                    <a:pt x="219" y="235"/>
                  </a:lnTo>
                  <a:lnTo>
                    <a:pt x="219" y="235"/>
                  </a:lnTo>
                  <a:lnTo>
                    <a:pt x="219" y="244"/>
                  </a:lnTo>
                  <a:lnTo>
                    <a:pt x="219" y="244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02" y="252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10" y="269"/>
                  </a:lnTo>
                  <a:lnTo>
                    <a:pt x="210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193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77"/>
                  </a:lnTo>
                  <a:lnTo>
                    <a:pt x="185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68" y="277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303"/>
                  </a:lnTo>
                  <a:lnTo>
                    <a:pt x="151" y="303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43" y="319"/>
                  </a:lnTo>
                  <a:lnTo>
                    <a:pt x="143" y="319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35" y="328"/>
                  </a:lnTo>
                  <a:lnTo>
                    <a:pt x="135" y="328"/>
                  </a:lnTo>
                  <a:lnTo>
                    <a:pt x="135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18" y="345"/>
                  </a:lnTo>
                  <a:lnTo>
                    <a:pt x="118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93" y="345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84" y="336"/>
                  </a:lnTo>
                  <a:lnTo>
                    <a:pt x="93" y="336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76" y="328"/>
                  </a:lnTo>
                  <a:lnTo>
                    <a:pt x="76" y="3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Freeform 162">
              <a:extLst>
                <a:ext uri="{FF2B5EF4-FFF2-40B4-BE49-F238E27FC236}">
                  <a16:creationId xmlns:a16="http://schemas.microsoft.com/office/drawing/2014/main" id="{66CE7D64-99E5-46A7-B3E6-6AFBE6F44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200" y="3382224"/>
              <a:ext cx="176801" cy="107720"/>
            </a:xfrm>
            <a:custGeom>
              <a:avLst/>
              <a:gdLst>
                <a:gd name="T0" fmla="*/ 59 w 151"/>
                <a:gd name="T1" fmla="*/ 92 h 92"/>
                <a:gd name="T2" fmla="*/ 50 w 151"/>
                <a:gd name="T3" fmla="*/ 84 h 92"/>
                <a:gd name="T4" fmla="*/ 67 w 151"/>
                <a:gd name="T5" fmla="*/ 92 h 92"/>
                <a:gd name="T6" fmla="*/ 84 w 151"/>
                <a:gd name="T7" fmla="*/ 84 h 92"/>
                <a:gd name="T8" fmla="*/ 92 w 151"/>
                <a:gd name="T9" fmla="*/ 75 h 92"/>
                <a:gd name="T10" fmla="*/ 101 w 151"/>
                <a:gd name="T11" fmla="*/ 75 h 92"/>
                <a:gd name="T12" fmla="*/ 109 w 151"/>
                <a:gd name="T13" fmla="*/ 75 h 92"/>
                <a:gd name="T14" fmla="*/ 126 w 151"/>
                <a:gd name="T15" fmla="*/ 59 h 92"/>
                <a:gd name="T16" fmla="*/ 143 w 151"/>
                <a:gd name="T17" fmla="*/ 59 h 92"/>
                <a:gd name="T18" fmla="*/ 143 w 151"/>
                <a:gd name="T19" fmla="*/ 50 h 92"/>
                <a:gd name="T20" fmla="*/ 151 w 151"/>
                <a:gd name="T21" fmla="*/ 50 h 92"/>
                <a:gd name="T22" fmla="*/ 143 w 151"/>
                <a:gd name="T23" fmla="*/ 33 h 92"/>
                <a:gd name="T24" fmla="*/ 143 w 151"/>
                <a:gd name="T25" fmla="*/ 25 h 92"/>
                <a:gd name="T26" fmla="*/ 134 w 151"/>
                <a:gd name="T27" fmla="*/ 25 h 92"/>
                <a:gd name="T28" fmla="*/ 143 w 151"/>
                <a:gd name="T29" fmla="*/ 8 h 92"/>
                <a:gd name="T30" fmla="*/ 134 w 151"/>
                <a:gd name="T31" fmla="*/ 8 h 92"/>
                <a:gd name="T32" fmla="*/ 126 w 151"/>
                <a:gd name="T33" fmla="*/ 8 h 92"/>
                <a:gd name="T34" fmla="*/ 126 w 151"/>
                <a:gd name="T35" fmla="*/ 0 h 92"/>
                <a:gd name="T36" fmla="*/ 117 w 151"/>
                <a:gd name="T37" fmla="*/ 0 h 92"/>
                <a:gd name="T38" fmla="*/ 109 w 151"/>
                <a:gd name="T39" fmla="*/ 8 h 92"/>
                <a:gd name="T40" fmla="*/ 92 w 151"/>
                <a:gd name="T41" fmla="*/ 8 h 92"/>
                <a:gd name="T42" fmla="*/ 92 w 151"/>
                <a:gd name="T43" fmla="*/ 16 h 92"/>
                <a:gd name="T44" fmla="*/ 84 w 151"/>
                <a:gd name="T45" fmla="*/ 8 h 92"/>
                <a:gd name="T46" fmla="*/ 75 w 151"/>
                <a:gd name="T47" fmla="*/ 16 h 92"/>
                <a:gd name="T48" fmla="*/ 67 w 151"/>
                <a:gd name="T49" fmla="*/ 8 h 92"/>
                <a:gd name="T50" fmla="*/ 59 w 151"/>
                <a:gd name="T51" fmla="*/ 25 h 92"/>
                <a:gd name="T52" fmla="*/ 50 w 151"/>
                <a:gd name="T53" fmla="*/ 33 h 92"/>
                <a:gd name="T54" fmla="*/ 42 w 151"/>
                <a:gd name="T55" fmla="*/ 25 h 92"/>
                <a:gd name="T56" fmla="*/ 42 w 151"/>
                <a:gd name="T57" fmla="*/ 16 h 92"/>
                <a:gd name="T58" fmla="*/ 42 w 151"/>
                <a:gd name="T59" fmla="*/ 8 h 92"/>
                <a:gd name="T60" fmla="*/ 33 w 151"/>
                <a:gd name="T61" fmla="*/ 0 h 92"/>
                <a:gd name="T62" fmla="*/ 17 w 151"/>
                <a:gd name="T63" fmla="*/ 0 h 92"/>
                <a:gd name="T64" fmla="*/ 25 w 151"/>
                <a:gd name="T65" fmla="*/ 0 h 92"/>
                <a:gd name="T66" fmla="*/ 25 w 151"/>
                <a:gd name="T67" fmla="*/ 0 h 92"/>
                <a:gd name="T68" fmla="*/ 33 w 151"/>
                <a:gd name="T69" fmla="*/ 8 h 92"/>
                <a:gd name="T70" fmla="*/ 17 w 151"/>
                <a:gd name="T71" fmla="*/ 8 h 92"/>
                <a:gd name="T72" fmla="*/ 17 w 151"/>
                <a:gd name="T73" fmla="*/ 8 h 92"/>
                <a:gd name="T74" fmla="*/ 17 w 151"/>
                <a:gd name="T75" fmla="*/ 16 h 92"/>
                <a:gd name="T76" fmla="*/ 17 w 151"/>
                <a:gd name="T77" fmla="*/ 16 h 92"/>
                <a:gd name="T78" fmla="*/ 8 w 151"/>
                <a:gd name="T79" fmla="*/ 16 h 92"/>
                <a:gd name="T80" fmla="*/ 0 w 151"/>
                <a:gd name="T81" fmla="*/ 16 h 92"/>
                <a:gd name="T82" fmla="*/ 8 w 151"/>
                <a:gd name="T83" fmla="*/ 25 h 92"/>
                <a:gd name="T84" fmla="*/ 17 w 151"/>
                <a:gd name="T85" fmla="*/ 25 h 92"/>
                <a:gd name="T86" fmla="*/ 25 w 151"/>
                <a:gd name="T87" fmla="*/ 25 h 92"/>
                <a:gd name="T88" fmla="*/ 33 w 151"/>
                <a:gd name="T89" fmla="*/ 25 h 92"/>
                <a:gd name="T90" fmla="*/ 33 w 151"/>
                <a:gd name="T91" fmla="*/ 33 h 92"/>
                <a:gd name="T92" fmla="*/ 25 w 151"/>
                <a:gd name="T93" fmla="*/ 33 h 92"/>
                <a:gd name="T94" fmla="*/ 33 w 151"/>
                <a:gd name="T95" fmla="*/ 33 h 92"/>
                <a:gd name="T96" fmla="*/ 25 w 151"/>
                <a:gd name="T97" fmla="*/ 42 h 92"/>
                <a:gd name="T98" fmla="*/ 17 w 151"/>
                <a:gd name="T99" fmla="*/ 42 h 92"/>
                <a:gd name="T100" fmla="*/ 8 w 151"/>
                <a:gd name="T101" fmla="*/ 42 h 92"/>
                <a:gd name="T102" fmla="*/ 8 w 151"/>
                <a:gd name="T103" fmla="*/ 50 h 92"/>
                <a:gd name="T104" fmla="*/ 25 w 151"/>
                <a:gd name="T105" fmla="*/ 50 h 92"/>
                <a:gd name="T106" fmla="*/ 25 w 151"/>
                <a:gd name="T107" fmla="*/ 59 h 92"/>
                <a:gd name="T108" fmla="*/ 33 w 151"/>
                <a:gd name="T109" fmla="*/ 67 h 92"/>
                <a:gd name="T110" fmla="*/ 33 w 151"/>
                <a:gd name="T111" fmla="*/ 59 h 92"/>
                <a:gd name="T112" fmla="*/ 25 w 151"/>
                <a:gd name="T113" fmla="*/ 67 h 92"/>
                <a:gd name="T114" fmla="*/ 17 w 151"/>
                <a:gd name="T115" fmla="*/ 67 h 92"/>
                <a:gd name="T116" fmla="*/ 25 w 151"/>
                <a:gd name="T117" fmla="*/ 75 h 92"/>
                <a:gd name="T118" fmla="*/ 42 w 151"/>
                <a:gd name="T119" fmla="*/ 7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1" h="92">
                  <a:moveTo>
                    <a:pt x="50" y="92"/>
                  </a:move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9" y="92"/>
                  </a:lnTo>
                  <a:lnTo>
                    <a:pt x="50" y="92"/>
                  </a:lnTo>
                  <a:lnTo>
                    <a:pt x="50" y="92"/>
                  </a:lnTo>
                  <a:close/>
                  <a:moveTo>
                    <a:pt x="42" y="75"/>
                  </a:moveTo>
                  <a:lnTo>
                    <a:pt x="50" y="75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7" y="92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84" y="9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101" y="8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9" y="75"/>
                  </a:lnTo>
                  <a:lnTo>
                    <a:pt x="109" y="75"/>
                  </a:lnTo>
                  <a:lnTo>
                    <a:pt x="109" y="75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43" y="59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3" y="33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51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34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34" y="16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8"/>
                  </a:lnTo>
                  <a:lnTo>
                    <a:pt x="84" y="16"/>
                  </a:lnTo>
                  <a:lnTo>
                    <a:pt x="92" y="16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33" y="8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8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42" y="2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33" y="50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59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33" y="84"/>
                  </a:lnTo>
                  <a:lnTo>
                    <a:pt x="33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3" name="Freeform 163">
              <a:extLst>
                <a:ext uri="{FF2B5EF4-FFF2-40B4-BE49-F238E27FC236}">
                  <a16:creationId xmlns:a16="http://schemas.microsoft.com/office/drawing/2014/main" id="{DD9C0845-FDEA-452D-A889-226D12A26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800" y="4534358"/>
              <a:ext cx="118257" cy="87815"/>
            </a:xfrm>
            <a:custGeom>
              <a:avLst/>
              <a:gdLst>
                <a:gd name="T0" fmla="*/ 9 w 101"/>
                <a:gd name="T1" fmla="*/ 8 h 75"/>
                <a:gd name="T2" fmla="*/ 9 w 101"/>
                <a:gd name="T3" fmla="*/ 8 h 75"/>
                <a:gd name="T4" fmla="*/ 9 w 101"/>
                <a:gd name="T5" fmla="*/ 8 h 75"/>
                <a:gd name="T6" fmla="*/ 0 w 101"/>
                <a:gd name="T7" fmla="*/ 8 h 75"/>
                <a:gd name="T8" fmla="*/ 9 w 101"/>
                <a:gd name="T9" fmla="*/ 8 h 75"/>
                <a:gd name="T10" fmla="*/ 9 w 101"/>
                <a:gd name="T11" fmla="*/ 8 h 75"/>
                <a:gd name="T12" fmla="*/ 25 w 101"/>
                <a:gd name="T13" fmla="*/ 8 h 75"/>
                <a:gd name="T14" fmla="*/ 25 w 101"/>
                <a:gd name="T15" fmla="*/ 0 h 75"/>
                <a:gd name="T16" fmla="*/ 25 w 101"/>
                <a:gd name="T17" fmla="*/ 0 h 75"/>
                <a:gd name="T18" fmla="*/ 17 w 101"/>
                <a:gd name="T19" fmla="*/ 0 h 75"/>
                <a:gd name="T20" fmla="*/ 17 w 101"/>
                <a:gd name="T21" fmla="*/ 8 h 75"/>
                <a:gd name="T22" fmla="*/ 17 w 101"/>
                <a:gd name="T23" fmla="*/ 8 h 75"/>
                <a:gd name="T24" fmla="*/ 25 w 101"/>
                <a:gd name="T25" fmla="*/ 8 h 75"/>
                <a:gd name="T26" fmla="*/ 25 w 101"/>
                <a:gd name="T27" fmla="*/ 8 h 75"/>
                <a:gd name="T28" fmla="*/ 51 w 101"/>
                <a:gd name="T29" fmla="*/ 17 h 75"/>
                <a:gd name="T30" fmla="*/ 51 w 101"/>
                <a:gd name="T31" fmla="*/ 17 h 75"/>
                <a:gd name="T32" fmla="*/ 42 w 101"/>
                <a:gd name="T33" fmla="*/ 17 h 75"/>
                <a:gd name="T34" fmla="*/ 42 w 101"/>
                <a:gd name="T35" fmla="*/ 17 h 75"/>
                <a:gd name="T36" fmla="*/ 42 w 101"/>
                <a:gd name="T37" fmla="*/ 17 h 75"/>
                <a:gd name="T38" fmla="*/ 42 w 101"/>
                <a:gd name="T39" fmla="*/ 25 h 75"/>
                <a:gd name="T40" fmla="*/ 51 w 101"/>
                <a:gd name="T41" fmla="*/ 25 h 75"/>
                <a:gd name="T42" fmla="*/ 51 w 101"/>
                <a:gd name="T43" fmla="*/ 17 h 75"/>
                <a:gd name="T44" fmla="*/ 51 w 101"/>
                <a:gd name="T45" fmla="*/ 17 h 75"/>
                <a:gd name="T46" fmla="*/ 67 w 101"/>
                <a:gd name="T47" fmla="*/ 25 h 75"/>
                <a:gd name="T48" fmla="*/ 59 w 101"/>
                <a:gd name="T49" fmla="*/ 25 h 75"/>
                <a:gd name="T50" fmla="*/ 59 w 101"/>
                <a:gd name="T51" fmla="*/ 25 h 75"/>
                <a:gd name="T52" fmla="*/ 59 w 101"/>
                <a:gd name="T53" fmla="*/ 25 h 75"/>
                <a:gd name="T54" fmla="*/ 59 w 101"/>
                <a:gd name="T55" fmla="*/ 25 h 75"/>
                <a:gd name="T56" fmla="*/ 67 w 101"/>
                <a:gd name="T57" fmla="*/ 25 h 75"/>
                <a:gd name="T58" fmla="*/ 67 w 101"/>
                <a:gd name="T59" fmla="*/ 25 h 75"/>
                <a:gd name="T60" fmla="*/ 67 w 101"/>
                <a:gd name="T61" fmla="*/ 25 h 75"/>
                <a:gd name="T62" fmla="*/ 76 w 101"/>
                <a:gd name="T63" fmla="*/ 33 h 75"/>
                <a:gd name="T64" fmla="*/ 67 w 101"/>
                <a:gd name="T65" fmla="*/ 33 h 75"/>
                <a:gd name="T66" fmla="*/ 67 w 101"/>
                <a:gd name="T67" fmla="*/ 33 h 75"/>
                <a:gd name="T68" fmla="*/ 67 w 101"/>
                <a:gd name="T69" fmla="*/ 25 h 75"/>
                <a:gd name="T70" fmla="*/ 67 w 101"/>
                <a:gd name="T71" fmla="*/ 25 h 75"/>
                <a:gd name="T72" fmla="*/ 67 w 101"/>
                <a:gd name="T73" fmla="*/ 25 h 75"/>
                <a:gd name="T74" fmla="*/ 76 w 101"/>
                <a:gd name="T75" fmla="*/ 33 h 75"/>
                <a:gd name="T76" fmla="*/ 76 w 101"/>
                <a:gd name="T77" fmla="*/ 33 h 75"/>
                <a:gd name="T78" fmla="*/ 76 w 101"/>
                <a:gd name="T79" fmla="*/ 33 h 75"/>
                <a:gd name="T80" fmla="*/ 76 w 101"/>
                <a:gd name="T81" fmla="*/ 33 h 75"/>
                <a:gd name="T82" fmla="*/ 76 w 101"/>
                <a:gd name="T83" fmla="*/ 33 h 75"/>
                <a:gd name="T84" fmla="*/ 76 w 101"/>
                <a:gd name="T85" fmla="*/ 59 h 75"/>
                <a:gd name="T86" fmla="*/ 76 w 101"/>
                <a:gd name="T87" fmla="*/ 59 h 75"/>
                <a:gd name="T88" fmla="*/ 76 w 101"/>
                <a:gd name="T89" fmla="*/ 67 h 75"/>
                <a:gd name="T90" fmla="*/ 84 w 101"/>
                <a:gd name="T91" fmla="*/ 75 h 75"/>
                <a:gd name="T92" fmla="*/ 93 w 101"/>
                <a:gd name="T93" fmla="*/ 67 h 75"/>
                <a:gd name="T94" fmla="*/ 93 w 101"/>
                <a:gd name="T95" fmla="*/ 59 h 75"/>
                <a:gd name="T96" fmla="*/ 101 w 101"/>
                <a:gd name="T97" fmla="*/ 59 h 75"/>
                <a:gd name="T98" fmla="*/ 93 w 101"/>
                <a:gd name="T99" fmla="*/ 59 h 75"/>
                <a:gd name="T100" fmla="*/ 93 w 101"/>
                <a:gd name="T101" fmla="*/ 59 h 75"/>
                <a:gd name="T102" fmla="*/ 93 w 101"/>
                <a:gd name="T103" fmla="*/ 50 h 75"/>
                <a:gd name="T104" fmla="*/ 93 w 101"/>
                <a:gd name="T105" fmla="*/ 50 h 75"/>
                <a:gd name="T106" fmla="*/ 84 w 101"/>
                <a:gd name="T107" fmla="*/ 50 h 75"/>
                <a:gd name="T108" fmla="*/ 84 w 101"/>
                <a:gd name="T109" fmla="*/ 42 h 75"/>
                <a:gd name="T110" fmla="*/ 84 w 101"/>
                <a:gd name="T111" fmla="*/ 42 h 75"/>
                <a:gd name="T112" fmla="*/ 76 w 101"/>
                <a:gd name="T113" fmla="*/ 42 h 75"/>
                <a:gd name="T114" fmla="*/ 84 w 101"/>
                <a:gd name="T115" fmla="*/ 50 h 75"/>
                <a:gd name="T116" fmla="*/ 76 w 101"/>
                <a:gd name="T117" fmla="*/ 50 h 75"/>
                <a:gd name="T118" fmla="*/ 76 w 101"/>
                <a:gd name="T119" fmla="*/ 50 h 75"/>
                <a:gd name="T120" fmla="*/ 76 w 101"/>
                <a:gd name="T121" fmla="*/ 5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" h="75">
                  <a:moveTo>
                    <a:pt x="9" y="8"/>
                  </a:moveTo>
                  <a:lnTo>
                    <a:pt x="9" y="8"/>
                  </a:lnTo>
                  <a:lnTo>
                    <a:pt x="9" y="8"/>
                  </a:lnTo>
                  <a:lnTo>
                    <a:pt x="0" y="8"/>
                  </a:lnTo>
                  <a:lnTo>
                    <a:pt x="9" y="8"/>
                  </a:lnTo>
                  <a:lnTo>
                    <a:pt x="9" y="8"/>
                  </a:lnTo>
                  <a:close/>
                  <a:moveTo>
                    <a:pt x="25" y="8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close/>
                  <a:moveTo>
                    <a:pt x="51" y="17"/>
                  </a:moveTo>
                  <a:lnTo>
                    <a:pt x="51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51" y="25"/>
                  </a:lnTo>
                  <a:lnTo>
                    <a:pt x="51" y="17"/>
                  </a:lnTo>
                  <a:lnTo>
                    <a:pt x="51" y="17"/>
                  </a:lnTo>
                  <a:close/>
                  <a:moveTo>
                    <a:pt x="67" y="25"/>
                  </a:move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close/>
                  <a:moveTo>
                    <a:pt x="76" y="33"/>
                  </a:moveTo>
                  <a:lnTo>
                    <a:pt x="67" y="33"/>
                  </a:lnTo>
                  <a:lnTo>
                    <a:pt x="67" y="33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close/>
                  <a:moveTo>
                    <a:pt x="76" y="59"/>
                  </a:moveTo>
                  <a:lnTo>
                    <a:pt x="76" y="59"/>
                  </a:lnTo>
                  <a:lnTo>
                    <a:pt x="76" y="67"/>
                  </a:lnTo>
                  <a:lnTo>
                    <a:pt x="84" y="75"/>
                  </a:lnTo>
                  <a:lnTo>
                    <a:pt x="93" y="67"/>
                  </a:lnTo>
                  <a:lnTo>
                    <a:pt x="93" y="59"/>
                  </a:lnTo>
                  <a:lnTo>
                    <a:pt x="101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6" y="42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4" name="Freeform 164">
              <a:extLst>
                <a:ext uri="{FF2B5EF4-FFF2-40B4-BE49-F238E27FC236}">
                  <a16:creationId xmlns:a16="http://schemas.microsoft.com/office/drawing/2014/main" id="{5F15DD18-B70D-4431-B5B9-2C689F5AC5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7643" y="5036660"/>
              <a:ext cx="39809" cy="29272"/>
            </a:xfrm>
            <a:custGeom>
              <a:avLst/>
              <a:gdLst>
                <a:gd name="T0" fmla="*/ 34 w 34"/>
                <a:gd name="T1" fmla="*/ 17 h 25"/>
                <a:gd name="T2" fmla="*/ 25 w 34"/>
                <a:gd name="T3" fmla="*/ 17 h 25"/>
                <a:gd name="T4" fmla="*/ 25 w 34"/>
                <a:gd name="T5" fmla="*/ 25 h 25"/>
                <a:gd name="T6" fmla="*/ 34 w 34"/>
                <a:gd name="T7" fmla="*/ 17 h 25"/>
                <a:gd name="T8" fmla="*/ 34 w 34"/>
                <a:gd name="T9" fmla="*/ 17 h 25"/>
                <a:gd name="T10" fmla="*/ 34 w 34"/>
                <a:gd name="T11" fmla="*/ 17 h 25"/>
                <a:gd name="T12" fmla="*/ 34 w 34"/>
                <a:gd name="T13" fmla="*/ 17 h 25"/>
                <a:gd name="T14" fmla="*/ 17 w 34"/>
                <a:gd name="T15" fmla="*/ 8 h 25"/>
                <a:gd name="T16" fmla="*/ 17 w 34"/>
                <a:gd name="T17" fmla="*/ 8 h 25"/>
                <a:gd name="T18" fmla="*/ 25 w 34"/>
                <a:gd name="T19" fmla="*/ 8 h 25"/>
                <a:gd name="T20" fmla="*/ 17 w 34"/>
                <a:gd name="T21" fmla="*/ 17 h 25"/>
                <a:gd name="T22" fmla="*/ 17 w 34"/>
                <a:gd name="T23" fmla="*/ 8 h 25"/>
                <a:gd name="T24" fmla="*/ 17 w 34"/>
                <a:gd name="T25" fmla="*/ 8 h 25"/>
                <a:gd name="T26" fmla="*/ 9 w 34"/>
                <a:gd name="T27" fmla="*/ 0 h 25"/>
                <a:gd name="T28" fmla="*/ 9 w 34"/>
                <a:gd name="T29" fmla="*/ 8 h 25"/>
                <a:gd name="T30" fmla="*/ 17 w 34"/>
                <a:gd name="T31" fmla="*/ 8 h 25"/>
                <a:gd name="T32" fmla="*/ 9 w 34"/>
                <a:gd name="T33" fmla="*/ 0 h 25"/>
                <a:gd name="T34" fmla="*/ 9 w 34"/>
                <a:gd name="T35" fmla="*/ 0 h 25"/>
                <a:gd name="T36" fmla="*/ 0 w 34"/>
                <a:gd name="T37" fmla="*/ 8 h 25"/>
                <a:gd name="T38" fmla="*/ 0 w 34"/>
                <a:gd name="T39" fmla="*/ 8 h 25"/>
                <a:gd name="T40" fmla="*/ 0 w 34"/>
                <a:gd name="T41" fmla="*/ 8 h 25"/>
                <a:gd name="T42" fmla="*/ 0 w 34"/>
                <a:gd name="T43" fmla="*/ 8 h 25"/>
                <a:gd name="T44" fmla="*/ 0 w 34"/>
                <a:gd name="T45" fmla="*/ 8 h 25"/>
                <a:gd name="T46" fmla="*/ 0 w 34"/>
                <a:gd name="T47" fmla="*/ 8 h 25"/>
                <a:gd name="T48" fmla="*/ 0 w 34"/>
                <a:gd name="T49" fmla="*/ 8 h 25"/>
                <a:gd name="T50" fmla="*/ 0 w 34"/>
                <a:gd name="T51" fmla="*/ 0 h 25"/>
                <a:gd name="T52" fmla="*/ 0 w 34"/>
                <a:gd name="T53" fmla="*/ 0 h 25"/>
                <a:gd name="T54" fmla="*/ 0 w 34"/>
                <a:gd name="T55" fmla="*/ 8 h 25"/>
                <a:gd name="T56" fmla="*/ 9 w 34"/>
                <a:gd name="T57" fmla="*/ 17 h 25"/>
                <a:gd name="T58" fmla="*/ 0 w 34"/>
                <a:gd name="T59" fmla="*/ 17 h 25"/>
                <a:gd name="T60" fmla="*/ 0 w 34"/>
                <a:gd name="T61" fmla="*/ 17 h 25"/>
                <a:gd name="T62" fmla="*/ 0 w 34"/>
                <a:gd name="T63" fmla="*/ 17 h 25"/>
                <a:gd name="T64" fmla="*/ 9 w 34"/>
                <a:gd name="T65" fmla="*/ 17 h 25"/>
                <a:gd name="T66" fmla="*/ 9 w 34"/>
                <a:gd name="T67" fmla="*/ 17 h 25"/>
                <a:gd name="T68" fmla="*/ 9 w 34"/>
                <a:gd name="T69" fmla="*/ 8 h 25"/>
                <a:gd name="T70" fmla="*/ 9 w 34"/>
                <a:gd name="T71" fmla="*/ 8 h 25"/>
                <a:gd name="T72" fmla="*/ 9 w 34"/>
                <a:gd name="T73" fmla="*/ 8 h 25"/>
                <a:gd name="T74" fmla="*/ 9 w 34"/>
                <a:gd name="T75" fmla="*/ 0 h 25"/>
                <a:gd name="T76" fmla="*/ 0 w 34"/>
                <a:gd name="T77" fmla="*/ 0 h 25"/>
                <a:gd name="T78" fmla="*/ 0 w 34"/>
                <a:gd name="T79" fmla="*/ 0 h 25"/>
                <a:gd name="T80" fmla="*/ 0 w 34"/>
                <a:gd name="T8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" h="25">
                  <a:moveTo>
                    <a:pt x="34" y="17"/>
                  </a:moveTo>
                  <a:lnTo>
                    <a:pt x="25" y="17"/>
                  </a:lnTo>
                  <a:lnTo>
                    <a:pt x="25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close/>
                  <a:moveTo>
                    <a:pt x="17" y="8"/>
                  </a:moveTo>
                  <a:lnTo>
                    <a:pt x="17" y="8"/>
                  </a:lnTo>
                  <a:lnTo>
                    <a:pt x="25" y="8"/>
                  </a:lnTo>
                  <a:lnTo>
                    <a:pt x="17" y="17"/>
                  </a:lnTo>
                  <a:lnTo>
                    <a:pt x="17" y="8"/>
                  </a:lnTo>
                  <a:lnTo>
                    <a:pt x="17" y="8"/>
                  </a:lnTo>
                  <a:close/>
                  <a:moveTo>
                    <a:pt x="9" y="0"/>
                  </a:moveTo>
                  <a:lnTo>
                    <a:pt x="9" y="8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Freeform 165">
              <a:extLst>
                <a:ext uri="{FF2B5EF4-FFF2-40B4-BE49-F238E27FC236}">
                  <a16:creationId xmlns:a16="http://schemas.microsoft.com/office/drawing/2014/main" id="{DC2621F4-DBCE-4A4E-B6F8-216F29C015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9121" y="4642078"/>
              <a:ext cx="69081" cy="29272"/>
            </a:xfrm>
            <a:custGeom>
              <a:avLst/>
              <a:gdLst>
                <a:gd name="T0" fmla="*/ 50 w 59"/>
                <a:gd name="T1" fmla="*/ 17 h 25"/>
                <a:gd name="T2" fmla="*/ 59 w 59"/>
                <a:gd name="T3" fmla="*/ 25 h 25"/>
                <a:gd name="T4" fmla="*/ 59 w 59"/>
                <a:gd name="T5" fmla="*/ 25 h 25"/>
                <a:gd name="T6" fmla="*/ 50 w 59"/>
                <a:gd name="T7" fmla="*/ 25 h 25"/>
                <a:gd name="T8" fmla="*/ 50 w 59"/>
                <a:gd name="T9" fmla="*/ 17 h 25"/>
                <a:gd name="T10" fmla="*/ 50 w 59"/>
                <a:gd name="T11" fmla="*/ 17 h 25"/>
                <a:gd name="T12" fmla="*/ 59 w 59"/>
                <a:gd name="T13" fmla="*/ 9 h 25"/>
                <a:gd name="T14" fmla="*/ 50 w 59"/>
                <a:gd name="T15" fmla="*/ 9 h 25"/>
                <a:gd name="T16" fmla="*/ 59 w 59"/>
                <a:gd name="T17" fmla="*/ 17 h 25"/>
                <a:gd name="T18" fmla="*/ 59 w 59"/>
                <a:gd name="T19" fmla="*/ 9 h 25"/>
                <a:gd name="T20" fmla="*/ 59 w 59"/>
                <a:gd name="T21" fmla="*/ 9 h 25"/>
                <a:gd name="T22" fmla="*/ 59 w 59"/>
                <a:gd name="T23" fmla="*/ 9 h 25"/>
                <a:gd name="T24" fmla="*/ 42 w 59"/>
                <a:gd name="T25" fmla="*/ 17 h 25"/>
                <a:gd name="T26" fmla="*/ 33 w 59"/>
                <a:gd name="T27" fmla="*/ 17 h 25"/>
                <a:gd name="T28" fmla="*/ 42 w 59"/>
                <a:gd name="T29" fmla="*/ 17 h 25"/>
                <a:gd name="T30" fmla="*/ 42 w 59"/>
                <a:gd name="T31" fmla="*/ 17 h 25"/>
                <a:gd name="T32" fmla="*/ 42 w 59"/>
                <a:gd name="T33" fmla="*/ 17 h 25"/>
                <a:gd name="T34" fmla="*/ 42 w 59"/>
                <a:gd name="T35" fmla="*/ 17 h 25"/>
                <a:gd name="T36" fmla="*/ 33 w 59"/>
                <a:gd name="T37" fmla="*/ 0 h 25"/>
                <a:gd name="T38" fmla="*/ 33 w 59"/>
                <a:gd name="T39" fmla="*/ 0 h 25"/>
                <a:gd name="T40" fmla="*/ 42 w 59"/>
                <a:gd name="T41" fmla="*/ 0 h 25"/>
                <a:gd name="T42" fmla="*/ 33 w 59"/>
                <a:gd name="T43" fmla="*/ 9 h 25"/>
                <a:gd name="T44" fmla="*/ 33 w 59"/>
                <a:gd name="T45" fmla="*/ 9 h 25"/>
                <a:gd name="T46" fmla="*/ 33 w 59"/>
                <a:gd name="T47" fmla="*/ 9 h 25"/>
                <a:gd name="T48" fmla="*/ 33 w 59"/>
                <a:gd name="T49" fmla="*/ 0 h 25"/>
                <a:gd name="T50" fmla="*/ 33 w 59"/>
                <a:gd name="T51" fmla="*/ 0 h 25"/>
                <a:gd name="T52" fmla="*/ 8 w 59"/>
                <a:gd name="T53" fmla="*/ 9 h 25"/>
                <a:gd name="T54" fmla="*/ 8 w 59"/>
                <a:gd name="T55" fmla="*/ 9 h 25"/>
                <a:gd name="T56" fmla="*/ 0 w 59"/>
                <a:gd name="T57" fmla="*/ 9 h 25"/>
                <a:gd name="T58" fmla="*/ 8 w 59"/>
                <a:gd name="T5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" h="25">
                  <a:moveTo>
                    <a:pt x="50" y="17"/>
                  </a:move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50" y="17"/>
                  </a:lnTo>
                  <a:close/>
                  <a:moveTo>
                    <a:pt x="59" y="9"/>
                  </a:moveTo>
                  <a:lnTo>
                    <a:pt x="50" y="9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42" y="17"/>
                  </a:move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33" y="0"/>
                  </a:moveTo>
                  <a:lnTo>
                    <a:pt x="33" y="0"/>
                  </a:lnTo>
                  <a:lnTo>
                    <a:pt x="42" y="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33" y="0"/>
                  </a:lnTo>
                  <a:close/>
                  <a:moveTo>
                    <a:pt x="8" y="9"/>
                  </a:moveTo>
                  <a:lnTo>
                    <a:pt x="8" y="9"/>
                  </a:lnTo>
                  <a:lnTo>
                    <a:pt x="0" y="9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Freeform 166">
              <a:extLst>
                <a:ext uri="{FF2B5EF4-FFF2-40B4-BE49-F238E27FC236}">
                  <a16:creationId xmlns:a16="http://schemas.microsoft.com/office/drawing/2014/main" id="{8E9ADB21-C1C6-405F-AC6B-7E415AB7E1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9944" y="4642078"/>
              <a:ext cx="49176" cy="10538"/>
            </a:xfrm>
            <a:custGeom>
              <a:avLst/>
              <a:gdLst>
                <a:gd name="T0" fmla="*/ 33 w 42"/>
                <a:gd name="T1" fmla="*/ 9 h 9"/>
                <a:gd name="T2" fmla="*/ 33 w 42"/>
                <a:gd name="T3" fmla="*/ 9 h 9"/>
                <a:gd name="T4" fmla="*/ 42 w 42"/>
                <a:gd name="T5" fmla="*/ 9 h 9"/>
                <a:gd name="T6" fmla="*/ 42 w 42"/>
                <a:gd name="T7" fmla="*/ 9 h 9"/>
                <a:gd name="T8" fmla="*/ 33 w 42"/>
                <a:gd name="T9" fmla="*/ 9 h 9"/>
                <a:gd name="T10" fmla="*/ 33 w 42"/>
                <a:gd name="T11" fmla="*/ 9 h 9"/>
                <a:gd name="T12" fmla="*/ 33 w 42"/>
                <a:gd name="T13" fmla="*/ 0 h 9"/>
                <a:gd name="T14" fmla="*/ 25 w 42"/>
                <a:gd name="T15" fmla="*/ 0 h 9"/>
                <a:gd name="T16" fmla="*/ 25 w 42"/>
                <a:gd name="T17" fmla="*/ 0 h 9"/>
                <a:gd name="T18" fmla="*/ 8 w 42"/>
                <a:gd name="T19" fmla="*/ 0 h 9"/>
                <a:gd name="T20" fmla="*/ 8 w 42"/>
                <a:gd name="T21" fmla="*/ 0 h 9"/>
                <a:gd name="T22" fmla="*/ 0 w 42"/>
                <a:gd name="T23" fmla="*/ 0 h 9"/>
                <a:gd name="T24" fmla="*/ 8 w 42"/>
                <a:gd name="T25" fmla="*/ 0 h 9"/>
                <a:gd name="T26" fmla="*/ 0 w 42"/>
                <a:gd name="T27" fmla="*/ 9 h 9"/>
                <a:gd name="T28" fmla="*/ 8 w 42"/>
                <a:gd name="T29" fmla="*/ 9 h 9"/>
                <a:gd name="T30" fmla="*/ 17 w 42"/>
                <a:gd name="T31" fmla="*/ 9 h 9"/>
                <a:gd name="T32" fmla="*/ 17 w 42"/>
                <a:gd name="T33" fmla="*/ 9 h 9"/>
                <a:gd name="T34" fmla="*/ 25 w 42"/>
                <a:gd name="T35" fmla="*/ 9 h 9"/>
                <a:gd name="T36" fmla="*/ 25 w 42"/>
                <a:gd name="T37" fmla="*/ 9 h 9"/>
                <a:gd name="T38" fmla="*/ 33 w 42"/>
                <a:gd name="T39" fmla="*/ 9 h 9"/>
                <a:gd name="T40" fmla="*/ 33 w 42"/>
                <a:gd name="T41" fmla="*/ 0 h 9"/>
                <a:gd name="T42" fmla="*/ 33 w 42"/>
                <a:gd name="T43" fmla="*/ 0 h 9"/>
                <a:gd name="T44" fmla="*/ 33 w 42"/>
                <a:gd name="T4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9">
                  <a:moveTo>
                    <a:pt x="33" y="9"/>
                  </a:move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3" y="9"/>
                  </a:lnTo>
                  <a:lnTo>
                    <a:pt x="33" y="9"/>
                  </a:lnTo>
                  <a:close/>
                  <a:moveTo>
                    <a:pt x="33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7" name="Freeform 167">
              <a:extLst>
                <a:ext uri="{FF2B5EF4-FFF2-40B4-BE49-F238E27FC236}">
                  <a16:creationId xmlns:a16="http://schemas.microsoft.com/office/drawing/2014/main" id="{8F561294-68BE-4479-9F64-B1B911A70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959" y="4603439"/>
              <a:ext cx="78448" cy="58543"/>
            </a:xfrm>
            <a:custGeom>
              <a:avLst/>
              <a:gdLst>
                <a:gd name="T0" fmla="*/ 59 w 67"/>
                <a:gd name="T1" fmla="*/ 33 h 50"/>
                <a:gd name="T2" fmla="*/ 59 w 67"/>
                <a:gd name="T3" fmla="*/ 42 h 50"/>
                <a:gd name="T4" fmla="*/ 59 w 67"/>
                <a:gd name="T5" fmla="*/ 33 h 50"/>
                <a:gd name="T6" fmla="*/ 59 w 67"/>
                <a:gd name="T7" fmla="*/ 33 h 50"/>
                <a:gd name="T8" fmla="*/ 0 w 67"/>
                <a:gd name="T9" fmla="*/ 8 h 50"/>
                <a:gd name="T10" fmla="*/ 0 w 67"/>
                <a:gd name="T11" fmla="*/ 16 h 50"/>
                <a:gd name="T12" fmla="*/ 0 w 67"/>
                <a:gd name="T13" fmla="*/ 25 h 50"/>
                <a:gd name="T14" fmla="*/ 0 w 67"/>
                <a:gd name="T15" fmla="*/ 25 h 50"/>
                <a:gd name="T16" fmla="*/ 0 w 67"/>
                <a:gd name="T17" fmla="*/ 33 h 50"/>
                <a:gd name="T18" fmla="*/ 0 w 67"/>
                <a:gd name="T19" fmla="*/ 42 h 50"/>
                <a:gd name="T20" fmla="*/ 0 w 67"/>
                <a:gd name="T21" fmla="*/ 42 h 50"/>
                <a:gd name="T22" fmla="*/ 0 w 67"/>
                <a:gd name="T23" fmla="*/ 42 h 50"/>
                <a:gd name="T24" fmla="*/ 9 w 67"/>
                <a:gd name="T25" fmla="*/ 50 h 50"/>
                <a:gd name="T26" fmla="*/ 9 w 67"/>
                <a:gd name="T27" fmla="*/ 42 h 50"/>
                <a:gd name="T28" fmla="*/ 17 w 67"/>
                <a:gd name="T29" fmla="*/ 33 h 50"/>
                <a:gd name="T30" fmla="*/ 17 w 67"/>
                <a:gd name="T31" fmla="*/ 33 h 50"/>
                <a:gd name="T32" fmla="*/ 25 w 67"/>
                <a:gd name="T33" fmla="*/ 33 h 50"/>
                <a:gd name="T34" fmla="*/ 25 w 67"/>
                <a:gd name="T35" fmla="*/ 42 h 50"/>
                <a:gd name="T36" fmla="*/ 34 w 67"/>
                <a:gd name="T37" fmla="*/ 33 h 50"/>
                <a:gd name="T38" fmla="*/ 42 w 67"/>
                <a:gd name="T39" fmla="*/ 33 h 50"/>
                <a:gd name="T40" fmla="*/ 51 w 67"/>
                <a:gd name="T41" fmla="*/ 33 h 50"/>
                <a:gd name="T42" fmla="*/ 59 w 67"/>
                <a:gd name="T43" fmla="*/ 33 h 50"/>
                <a:gd name="T44" fmla="*/ 59 w 67"/>
                <a:gd name="T45" fmla="*/ 33 h 50"/>
                <a:gd name="T46" fmla="*/ 59 w 67"/>
                <a:gd name="T47" fmla="*/ 25 h 50"/>
                <a:gd name="T48" fmla="*/ 51 w 67"/>
                <a:gd name="T49" fmla="*/ 25 h 50"/>
                <a:gd name="T50" fmla="*/ 42 w 67"/>
                <a:gd name="T51" fmla="*/ 25 h 50"/>
                <a:gd name="T52" fmla="*/ 34 w 67"/>
                <a:gd name="T53" fmla="*/ 16 h 50"/>
                <a:gd name="T54" fmla="*/ 34 w 67"/>
                <a:gd name="T55" fmla="*/ 16 h 50"/>
                <a:gd name="T56" fmla="*/ 51 w 67"/>
                <a:gd name="T57" fmla="*/ 16 h 50"/>
                <a:gd name="T58" fmla="*/ 51 w 67"/>
                <a:gd name="T59" fmla="*/ 16 h 50"/>
                <a:gd name="T60" fmla="*/ 42 w 67"/>
                <a:gd name="T61" fmla="*/ 16 h 50"/>
                <a:gd name="T62" fmla="*/ 34 w 67"/>
                <a:gd name="T63" fmla="*/ 8 h 50"/>
                <a:gd name="T64" fmla="*/ 34 w 67"/>
                <a:gd name="T65" fmla="*/ 8 h 50"/>
                <a:gd name="T66" fmla="*/ 17 w 67"/>
                <a:gd name="T67" fmla="*/ 8 h 50"/>
                <a:gd name="T68" fmla="*/ 9 w 67"/>
                <a:gd name="T6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7" h="50">
                  <a:moveTo>
                    <a:pt x="59" y="33"/>
                  </a:moveTo>
                  <a:lnTo>
                    <a:pt x="59" y="3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9" y="50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34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7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1" y="25"/>
                  </a:lnTo>
                  <a:lnTo>
                    <a:pt x="51" y="16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4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8" name="Freeform 168">
              <a:extLst>
                <a:ext uri="{FF2B5EF4-FFF2-40B4-BE49-F238E27FC236}">
                  <a16:creationId xmlns:a16="http://schemas.microsoft.com/office/drawing/2014/main" id="{7AC8224B-E9AE-470F-B897-9664E81AE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4179" y="2465434"/>
              <a:ext cx="865270" cy="1122862"/>
            </a:xfrm>
            <a:custGeom>
              <a:avLst/>
              <a:gdLst>
                <a:gd name="T0" fmla="*/ 22 w 88"/>
                <a:gd name="T1" fmla="*/ 109 h 114"/>
                <a:gd name="T2" fmla="*/ 17 w 88"/>
                <a:gd name="T3" fmla="*/ 105 h 114"/>
                <a:gd name="T4" fmla="*/ 15 w 88"/>
                <a:gd name="T5" fmla="*/ 99 h 114"/>
                <a:gd name="T6" fmla="*/ 14 w 88"/>
                <a:gd name="T7" fmla="*/ 97 h 114"/>
                <a:gd name="T8" fmla="*/ 15 w 88"/>
                <a:gd name="T9" fmla="*/ 90 h 114"/>
                <a:gd name="T10" fmla="*/ 14 w 88"/>
                <a:gd name="T11" fmla="*/ 87 h 114"/>
                <a:gd name="T12" fmla="*/ 18 w 88"/>
                <a:gd name="T13" fmla="*/ 84 h 114"/>
                <a:gd name="T14" fmla="*/ 19 w 88"/>
                <a:gd name="T15" fmla="*/ 83 h 114"/>
                <a:gd name="T16" fmla="*/ 20 w 88"/>
                <a:gd name="T17" fmla="*/ 78 h 114"/>
                <a:gd name="T18" fmla="*/ 21 w 88"/>
                <a:gd name="T19" fmla="*/ 74 h 114"/>
                <a:gd name="T20" fmla="*/ 21 w 88"/>
                <a:gd name="T21" fmla="*/ 68 h 114"/>
                <a:gd name="T22" fmla="*/ 16 w 88"/>
                <a:gd name="T23" fmla="*/ 66 h 114"/>
                <a:gd name="T24" fmla="*/ 18 w 88"/>
                <a:gd name="T25" fmla="*/ 57 h 114"/>
                <a:gd name="T26" fmla="*/ 14 w 88"/>
                <a:gd name="T27" fmla="*/ 44 h 114"/>
                <a:gd name="T28" fmla="*/ 3 w 88"/>
                <a:gd name="T29" fmla="*/ 39 h 114"/>
                <a:gd name="T30" fmla="*/ 9 w 88"/>
                <a:gd name="T31" fmla="*/ 34 h 114"/>
                <a:gd name="T32" fmla="*/ 3 w 88"/>
                <a:gd name="T33" fmla="*/ 26 h 114"/>
                <a:gd name="T34" fmla="*/ 17 w 88"/>
                <a:gd name="T35" fmla="*/ 20 h 114"/>
                <a:gd name="T36" fmla="*/ 23 w 88"/>
                <a:gd name="T37" fmla="*/ 13 h 114"/>
                <a:gd name="T38" fmla="*/ 34 w 88"/>
                <a:gd name="T39" fmla="*/ 7 h 114"/>
                <a:gd name="T40" fmla="*/ 40 w 88"/>
                <a:gd name="T41" fmla="*/ 12 h 114"/>
                <a:gd name="T42" fmla="*/ 47 w 88"/>
                <a:gd name="T43" fmla="*/ 12 h 114"/>
                <a:gd name="T44" fmla="*/ 50 w 88"/>
                <a:gd name="T45" fmla="*/ 5 h 114"/>
                <a:gd name="T46" fmla="*/ 59 w 88"/>
                <a:gd name="T47" fmla="*/ 1 h 114"/>
                <a:gd name="T48" fmla="*/ 65 w 88"/>
                <a:gd name="T49" fmla="*/ 5 h 114"/>
                <a:gd name="T50" fmla="*/ 70 w 88"/>
                <a:gd name="T51" fmla="*/ 6 h 114"/>
                <a:gd name="T52" fmla="*/ 78 w 88"/>
                <a:gd name="T53" fmla="*/ 12 h 114"/>
                <a:gd name="T54" fmla="*/ 61 w 88"/>
                <a:gd name="T55" fmla="*/ 15 h 114"/>
                <a:gd name="T56" fmla="*/ 74 w 88"/>
                <a:gd name="T57" fmla="*/ 16 h 114"/>
                <a:gd name="T58" fmla="*/ 77 w 88"/>
                <a:gd name="T59" fmla="*/ 20 h 114"/>
                <a:gd name="T60" fmla="*/ 85 w 88"/>
                <a:gd name="T61" fmla="*/ 22 h 114"/>
                <a:gd name="T62" fmla="*/ 77 w 88"/>
                <a:gd name="T63" fmla="*/ 27 h 114"/>
                <a:gd name="T64" fmla="*/ 74 w 88"/>
                <a:gd name="T65" fmla="*/ 41 h 114"/>
                <a:gd name="T66" fmla="*/ 73 w 88"/>
                <a:gd name="T67" fmla="*/ 46 h 114"/>
                <a:gd name="T68" fmla="*/ 74 w 88"/>
                <a:gd name="T69" fmla="*/ 52 h 114"/>
                <a:gd name="T70" fmla="*/ 72 w 88"/>
                <a:gd name="T71" fmla="*/ 56 h 114"/>
                <a:gd name="T72" fmla="*/ 71 w 88"/>
                <a:gd name="T73" fmla="*/ 61 h 114"/>
                <a:gd name="T74" fmla="*/ 65 w 88"/>
                <a:gd name="T75" fmla="*/ 62 h 114"/>
                <a:gd name="T76" fmla="*/ 62 w 88"/>
                <a:gd name="T77" fmla="*/ 66 h 114"/>
                <a:gd name="T78" fmla="*/ 69 w 88"/>
                <a:gd name="T79" fmla="*/ 71 h 114"/>
                <a:gd name="T80" fmla="*/ 65 w 88"/>
                <a:gd name="T81" fmla="*/ 75 h 114"/>
                <a:gd name="T82" fmla="*/ 59 w 88"/>
                <a:gd name="T83" fmla="*/ 74 h 114"/>
                <a:gd name="T84" fmla="*/ 63 w 88"/>
                <a:gd name="T85" fmla="*/ 77 h 114"/>
                <a:gd name="T86" fmla="*/ 60 w 88"/>
                <a:gd name="T87" fmla="*/ 83 h 114"/>
                <a:gd name="T88" fmla="*/ 50 w 88"/>
                <a:gd name="T89" fmla="*/ 85 h 114"/>
                <a:gd name="T90" fmla="*/ 42 w 88"/>
                <a:gd name="T91" fmla="*/ 93 h 114"/>
                <a:gd name="T92" fmla="*/ 35 w 88"/>
                <a:gd name="T93" fmla="*/ 95 h 114"/>
                <a:gd name="T94" fmla="*/ 31 w 88"/>
                <a:gd name="T95" fmla="*/ 101 h 114"/>
                <a:gd name="T96" fmla="*/ 29 w 88"/>
                <a:gd name="T97" fmla="*/ 106 h 114"/>
                <a:gd name="T98" fmla="*/ 25 w 88"/>
                <a:gd name="T99" fmla="*/ 111 h 114"/>
                <a:gd name="T100" fmla="*/ 29 w 88"/>
                <a:gd name="T101" fmla="*/ 104 h 114"/>
                <a:gd name="T102" fmla="*/ 66 w 88"/>
                <a:gd name="T103" fmla="*/ 80 h 114"/>
                <a:gd name="T104" fmla="*/ 67 w 88"/>
                <a:gd name="T105" fmla="*/ 66 h 114"/>
                <a:gd name="T106" fmla="*/ 71 w 88"/>
                <a:gd name="T107" fmla="*/ 59 h 114"/>
                <a:gd name="T108" fmla="*/ 73 w 88"/>
                <a:gd name="T109" fmla="*/ 49 h 114"/>
                <a:gd name="T110" fmla="*/ 82 w 88"/>
                <a:gd name="T111" fmla="*/ 15 h 114"/>
                <a:gd name="T112" fmla="*/ 50 w 88"/>
                <a:gd name="T113" fmla="*/ 5 h 114"/>
                <a:gd name="T114" fmla="*/ 40 w 88"/>
                <a:gd name="T115" fmla="*/ 9 h 114"/>
                <a:gd name="T116" fmla="*/ 16 w 88"/>
                <a:gd name="T117" fmla="*/ 53 h 114"/>
                <a:gd name="T118" fmla="*/ 16 w 88"/>
                <a:gd name="T119" fmla="*/ 62 h 114"/>
                <a:gd name="T120" fmla="*/ 18 w 88"/>
                <a:gd name="T121" fmla="*/ 110 h 114"/>
                <a:gd name="T122" fmla="*/ 16 w 88"/>
                <a:gd name="T123" fmla="*/ 81 h 114"/>
                <a:gd name="T124" fmla="*/ 20 w 88"/>
                <a:gd name="T12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" h="114">
                  <a:moveTo>
                    <a:pt x="26" y="113"/>
                  </a:move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5"/>
                    <a:pt x="62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lose/>
                  <a:moveTo>
                    <a:pt x="26" y="113"/>
                  </a:move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6" y="113"/>
                    <a:pt x="26" y="113"/>
                    <a:pt x="26" y="113"/>
                  </a:cubicBezTo>
                  <a:close/>
                  <a:moveTo>
                    <a:pt x="58" y="76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27" y="110"/>
                  </a:moveTo>
                  <a:cubicBezTo>
                    <a:pt x="27" y="110"/>
                    <a:pt x="27" y="110"/>
                    <a:pt x="27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lose/>
                  <a:moveTo>
                    <a:pt x="29" y="106"/>
                  </a:move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lose/>
                  <a:moveTo>
                    <a:pt x="29" y="106"/>
                  </a:move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6"/>
                    <a:pt x="29" y="106"/>
                    <a:pt x="29" y="106"/>
                  </a:cubicBezTo>
                  <a:close/>
                  <a:moveTo>
                    <a:pt x="30" y="105"/>
                  </a:move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lose/>
                  <a:moveTo>
                    <a:pt x="29" y="104"/>
                  </a:moveTo>
                  <a:cubicBezTo>
                    <a:pt x="29" y="104"/>
                    <a:pt x="29" y="104"/>
                    <a:pt x="29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lose/>
                  <a:moveTo>
                    <a:pt x="31" y="104"/>
                  </a:moveTo>
                  <a:cubicBezTo>
                    <a:pt x="31" y="104"/>
                    <a:pt x="31" y="104"/>
                    <a:pt x="31" y="104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4"/>
                    <a:pt x="31" y="104"/>
                    <a:pt x="31" y="104"/>
                  </a:cubicBezTo>
                  <a:close/>
                  <a:moveTo>
                    <a:pt x="31" y="101"/>
                  </a:moveTo>
                  <a:cubicBezTo>
                    <a:pt x="31" y="101"/>
                    <a:pt x="31" y="101"/>
                    <a:pt x="31" y="101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lose/>
                  <a:moveTo>
                    <a:pt x="33" y="96"/>
                  </a:move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3" y="96"/>
                    <a:pt x="33" y="96"/>
                    <a:pt x="33" y="96"/>
                  </a:cubicBezTo>
                  <a:close/>
                  <a:moveTo>
                    <a:pt x="35" y="95"/>
                  </a:moveTo>
                  <a:cubicBezTo>
                    <a:pt x="35" y="95"/>
                    <a:pt x="35" y="95"/>
                    <a:pt x="35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36" y="95"/>
                  </a:move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5"/>
                    <a:pt x="36" y="95"/>
                    <a:pt x="36" y="95"/>
                  </a:cubicBezTo>
                  <a:close/>
                  <a:moveTo>
                    <a:pt x="39" y="94"/>
                  </a:move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lose/>
                  <a:moveTo>
                    <a:pt x="41" y="94"/>
                  </a:moveTo>
                  <a:cubicBezTo>
                    <a:pt x="41" y="94"/>
                    <a:pt x="41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lose/>
                  <a:moveTo>
                    <a:pt x="65" y="80"/>
                  </a:move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4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lose/>
                  <a:moveTo>
                    <a:pt x="65" y="65"/>
                  </a:move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5" y="65"/>
                    <a:pt x="65" y="65"/>
                  </a:cubicBezTo>
                  <a:close/>
                  <a:moveTo>
                    <a:pt x="64" y="64"/>
                  </a:moveTo>
                  <a:cubicBezTo>
                    <a:pt x="64" y="64"/>
                    <a:pt x="64" y="64"/>
                    <a:pt x="64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71" y="59"/>
                  </a:moveTo>
                  <a:cubicBezTo>
                    <a:pt x="70" y="59"/>
                    <a:pt x="70" y="59"/>
                    <a:pt x="70" y="59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lose/>
                  <a:moveTo>
                    <a:pt x="74" y="58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3" y="56"/>
                  </a:moveTo>
                  <a:cubicBezTo>
                    <a:pt x="73" y="56"/>
                    <a:pt x="73" y="56"/>
                    <a:pt x="73" y="56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lose/>
                  <a:moveTo>
                    <a:pt x="75" y="54"/>
                  </a:move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5" y="54"/>
                    <a:pt x="75" y="54"/>
                    <a:pt x="75" y="54"/>
                  </a:cubicBezTo>
                  <a:close/>
                  <a:moveTo>
                    <a:pt x="76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lose/>
                  <a:moveTo>
                    <a:pt x="75" y="41"/>
                  </a:move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76" y="40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7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4"/>
                  </a:move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8" y="34"/>
                    <a:pt x="78" y="34"/>
                    <a:pt x="78" y="34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81" y="17"/>
                  </a:move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7"/>
                    <a:pt x="81" y="17"/>
                    <a:pt x="81" y="17"/>
                  </a:cubicBezTo>
                  <a:close/>
                  <a:moveTo>
                    <a:pt x="80" y="18"/>
                  </a:move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lose/>
                  <a:moveTo>
                    <a:pt x="79" y="17"/>
                  </a:moveTo>
                  <a:cubicBezTo>
                    <a:pt x="80" y="17"/>
                    <a:pt x="80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9" y="17"/>
                    <a:pt x="79" y="17"/>
                    <a:pt x="79" y="17"/>
                  </a:cubicBezTo>
                  <a:close/>
                  <a:moveTo>
                    <a:pt x="58" y="2"/>
                  </a:moveTo>
                  <a:cubicBezTo>
                    <a:pt x="58" y="2"/>
                    <a:pt x="58" y="2"/>
                    <a:pt x="58" y="2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8" y="2"/>
                    <a:pt x="58" y="2"/>
                    <a:pt x="58" y="2"/>
                  </a:cubicBezTo>
                  <a:close/>
                  <a:moveTo>
                    <a:pt x="58" y="2"/>
                  </a:move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lose/>
                  <a:moveTo>
                    <a:pt x="56" y="2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lose/>
                  <a:moveTo>
                    <a:pt x="55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lose/>
                  <a:moveTo>
                    <a:pt x="48" y="4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8" y="4"/>
                    <a:pt x="48" y="4"/>
                  </a:cubicBezTo>
                  <a:close/>
                  <a:moveTo>
                    <a:pt x="48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lose/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5" y="9"/>
                  </a:moveTo>
                  <a:cubicBezTo>
                    <a:pt x="45" y="9"/>
                    <a:pt x="45" y="9"/>
                    <a:pt x="45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9"/>
                    <a:pt x="45" y="9"/>
                  </a:cubicBezTo>
                  <a:close/>
                  <a:moveTo>
                    <a:pt x="45" y="13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45" y="13"/>
                  </a:moveTo>
                  <a:cubicBezTo>
                    <a:pt x="45" y="13"/>
                    <a:pt x="45" y="13"/>
                    <a:pt x="45" y="13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40" y="9"/>
                  </a:move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lose/>
                  <a:moveTo>
                    <a:pt x="39" y="12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2"/>
                    <a:pt x="39" y="12"/>
                    <a:pt x="39" y="12"/>
                  </a:cubicBezTo>
                  <a:close/>
                  <a:moveTo>
                    <a:pt x="16" y="15"/>
                  </a:move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0" y="33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lose/>
                  <a:moveTo>
                    <a:pt x="16" y="51"/>
                  </a:move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6" y="56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6" y="56"/>
                    <a:pt x="16" y="56"/>
                    <a:pt x="16" y="56"/>
                  </a:cubicBezTo>
                  <a:close/>
                  <a:moveTo>
                    <a:pt x="16" y="57"/>
                  </a:move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lose/>
                  <a:moveTo>
                    <a:pt x="17" y="58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16" y="59"/>
                  </a:move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16" y="60"/>
                  </a:moveTo>
                  <a:cubicBezTo>
                    <a:pt x="17" y="60"/>
                    <a:pt x="17" y="60"/>
                    <a:pt x="17" y="6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60"/>
                    <a:pt x="16" y="60"/>
                    <a:pt x="16" y="60"/>
                  </a:cubicBezTo>
                  <a:close/>
                  <a:moveTo>
                    <a:pt x="17" y="60"/>
                  </a:move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0"/>
                    <a:pt x="17" y="60"/>
                    <a:pt x="17" y="60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1"/>
                    <a:pt x="17" y="6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6" y="62"/>
                  </a:move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lose/>
                  <a:moveTo>
                    <a:pt x="16" y="62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lose/>
                  <a:moveTo>
                    <a:pt x="17" y="62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7" y="63"/>
                  </a:moveTo>
                  <a:cubicBezTo>
                    <a:pt x="17" y="63"/>
                    <a:pt x="17" y="63"/>
                    <a:pt x="17" y="63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5" y="64"/>
                    <a:pt x="15" y="64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lose/>
                  <a:moveTo>
                    <a:pt x="24" y="114"/>
                  </a:move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4"/>
                    <a:pt x="24" y="114"/>
                    <a:pt x="24" y="114"/>
                  </a:cubicBezTo>
                  <a:close/>
                  <a:moveTo>
                    <a:pt x="22" y="113"/>
                  </a:moveTo>
                  <a:cubicBezTo>
                    <a:pt x="22" y="113"/>
                    <a:pt x="22" y="113"/>
                    <a:pt x="22" y="113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3"/>
                    <a:pt x="22" y="113"/>
                    <a:pt x="22" y="113"/>
                  </a:cubicBezTo>
                  <a:close/>
                  <a:moveTo>
                    <a:pt x="21" y="110"/>
                  </a:move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lose/>
                  <a:moveTo>
                    <a:pt x="20" y="110"/>
                  </a:move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13" y="92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lose/>
                  <a:moveTo>
                    <a:pt x="13" y="92"/>
                  </a:move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lose/>
                  <a:moveTo>
                    <a:pt x="13" y="87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lose/>
                  <a:moveTo>
                    <a:pt x="12" y="87"/>
                  </a:moveTo>
                  <a:cubicBezTo>
                    <a:pt x="12" y="88"/>
                    <a:pt x="12" y="88"/>
                    <a:pt x="12" y="88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7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7" y="82"/>
                  </a:moveTo>
                  <a:cubicBezTo>
                    <a:pt x="17" y="82"/>
                    <a:pt x="17" y="82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15" y="80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0"/>
                    <a:pt x="15" y="80"/>
                    <a:pt x="15" y="80"/>
                  </a:cubicBezTo>
                  <a:close/>
                  <a:moveTo>
                    <a:pt x="17" y="80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lose/>
                  <a:moveTo>
                    <a:pt x="16" y="80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lose/>
                  <a:moveTo>
                    <a:pt x="20" y="72"/>
                  </a:move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lose/>
                  <a:moveTo>
                    <a:pt x="20" y="71"/>
                  </a:moveTo>
                  <a:cubicBezTo>
                    <a:pt x="19" y="71"/>
                    <a:pt x="19" y="71"/>
                    <a:pt x="19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lose/>
                  <a:moveTo>
                    <a:pt x="18" y="68"/>
                  </a:move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lose/>
                  <a:moveTo>
                    <a:pt x="18" y="70"/>
                  </a:move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8" y="70"/>
                    <a:pt x="18" y="70"/>
                    <a:pt x="18" y="70"/>
                  </a:cubicBezTo>
                  <a:close/>
                  <a:moveTo>
                    <a:pt x="17" y="70"/>
                  </a:moveTo>
                  <a:cubicBezTo>
                    <a:pt x="17" y="70"/>
                    <a:pt x="17" y="70"/>
                    <a:pt x="17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70"/>
                    <a:pt x="17" y="70"/>
                    <a:pt x="17" y="70"/>
                  </a:cubicBezTo>
                  <a:close/>
                  <a:moveTo>
                    <a:pt x="15" y="72"/>
                  </a:moveTo>
                  <a:cubicBezTo>
                    <a:pt x="14" y="72"/>
                    <a:pt x="14" y="72"/>
                    <a:pt x="1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lose/>
                  <a:moveTo>
                    <a:pt x="20" y="76"/>
                  </a:move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6"/>
                    <a:pt x="20" y="76"/>
                    <a:pt x="20" y="76"/>
                  </a:cubicBezTo>
                  <a:close/>
                  <a:moveTo>
                    <a:pt x="15" y="77"/>
                  </a:move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9" y="77"/>
                    <a:pt x="19" y="77"/>
                    <a:pt x="19" y="77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9" name="Freeform 169">
              <a:extLst>
                <a:ext uri="{FF2B5EF4-FFF2-40B4-BE49-F238E27FC236}">
                  <a16:creationId xmlns:a16="http://schemas.microsoft.com/office/drawing/2014/main" id="{2F3B4382-3601-4E10-8091-2FB0E47DE2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8446" y="2406891"/>
              <a:ext cx="1790254" cy="1663803"/>
            </a:xfrm>
            <a:custGeom>
              <a:avLst/>
              <a:gdLst>
                <a:gd name="T0" fmla="*/ 133 w 182"/>
                <a:gd name="T1" fmla="*/ 12 h 169"/>
                <a:gd name="T2" fmla="*/ 134 w 182"/>
                <a:gd name="T3" fmla="*/ 29 h 169"/>
                <a:gd name="T4" fmla="*/ 133 w 182"/>
                <a:gd name="T5" fmla="*/ 32 h 169"/>
                <a:gd name="T6" fmla="*/ 142 w 182"/>
                <a:gd name="T7" fmla="*/ 20 h 169"/>
                <a:gd name="T8" fmla="*/ 143 w 182"/>
                <a:gd name="T9" fmla="*/ 11 h 169"/>
                <a:gd name="T10" fmla="*/ 154 w 182"/>
                <a:gd name="T11" fmla="*/ 5 h 169"/>
                <a:gd name="T12" fmla="*/ 179 w 182"/>
                <a:gd name="T13" fmla="*/ 7 h 169"/>
                <a:gd name="T14" fmla="*/ 156 w 182"/>
                <a:gd name="T15" fmla="*/ 24 h 169"/>
                <a:gd name="T16" fmla="*/ 140 w 182"/>
                <a:gd name="T17" fmla="*/ 35 h 169"/>
                <a:gd name="T18" fmla="*/ 146 w 182"/>
                <a:gd name="T19" fmla="*/ 79 h 169"/>
                <a:gd name="T20" fmla="*/ 128 w 182"/>
                <a:gd name="T21" fmla="*/ 33 h 169"/>
                <a:gd name="T22" fmla="*/ 114 w 182"/>
                <a:gd name="T23" fmla="*/ 23 h 169"/>
                <a:gd name="T24" fmla="*/ 95 w 182"/>
                <a:gd name="T25" fmla="*/ 21 h 169"/>
                <a:gd name="T26" fmla="*/ 124 w 182"/>
                <a:gd name="T27" fmla="*/ 37 h 169"/>
                <a:gd name="T28" fmla="*/ 129 w 182"/>
                <a:gd name="T29" fmla="*/ 51 h 169"/>
                <a:gd name="T30" fmla="*/ 79 w 182"/>
                <a:gd name="T31" fmla="*/ 27 h 169"/>
                <a:gd name="T32" fmla="*/ 113 w 182"/>
                <a:gd name="T33" fmla="*/ 42 h 169"/>
                <a:gd name="T34" fmla="*/ 105 w 182"/>
                <a:gd name="T35" fmla="*/ 37 h 169"/>
                <a:gd name="T36" fmla="*/ 101 w 182"/>
                <a:gd name="T37" fmla="*/ 39 h 169"/>
                <a:gd name="T38" fmla="*/ 95 w 182"/>
                <a:gd name="T39" fmla="*/ 33 h 169"/>
                <a:gd name="T40" fmla="*/ 69 w 182"/>
                <a:gd name="T41" fmla="*/ 37 h 169"/>
                <a:gd name="T42" fmla="*/ 98 w 182"/>
                <a:gd name="T43" fmla="*/ 53 h 169"/>
                <a:gd name="T44" fmla="*/ 105 w 182"/>
                <a:gd name="T45" fmla="*/ 55 h 169"/>
                <a:gd name="T46" fmla="*/ 131 w 182"/>
                <a:gd name="T47" fmla="*/ 59 h 169"/>
                <a:gd name="T48" fmla="*/ 126 w 182"/>
                <a:gd name="T49" fmla="*/ 76 h 169"/>
                <a:gd name="T50" fmla="*/ 91 w 182"/>
                <a:gd name="T51" fmla="*/ 77 h 169"/>
                <a:gd name="T52" fmla="*/ 89 w 182"/>
                <a:gd name="T53" fmla="*/ 57 h 169"/>
                <a:gd name="T54" fmla="*/ 77 w 182"/>
                <a:gd name="T55" fmla="*/ 46 h 169"/>
                <a:gd name="T56" fmla="*/ 67 w 182"/>
                <a:gd name="T57" fmla="*/ 68 h 169"/>
                <a:gd name="T58" fmla="*/ 86 w 182"/>
                <a:gd name="T59" fmla="*/ 73 h 169"/>
                <a:gd name="T60" fmla="*/ 131 w 182"/>
                <a:gd name="T61" fmla="*/ 102 h 169"/>
                <a:gd name="T62" fmla="*/ 133 w 182"/>
                <a:gd name="T63" fmla="*/ 80 h 169"/>
                <a:gd name="T64" fmla="*/ 115 w 182"/>
                <a:gd name="T65" fmla="*/ 71 h 169"/>
                <a:gd name="T66" fmla="*/ 122 w 182"/>
                <a:gd name="T67" fmla="*/ 63 h 169"/>
                <a:gd name="T68" fmla="*/ 136 w 182"/>
                <a:gd name="T69" fmla="*/ 63 h 169"/>
                <a:gd name="T70" fmla="*/ 140 w 182"/>
                <a:gd name="T71" fmla="*/ 75 h 169"/>
                <a:gd name="T72" fmla="*/ 144 w 182"/>
                <a:gd name="T73" fmla="*/ 82 h 169"/>
                <a:gd name="T74" fmla="*/ 151 w 182"/>
                <a:gd name="T75" fmla="*/ 92 h 169"/>
                <a:gd name="T76" fmla="*/ 145 w 182"/>
                <a:gd name="T77" fmla="*/ 93 h 169"/>
                <a:gd name="T78" fmla="*/ 141 w 182"/>
                <a:gd name="T79" fmla="*/ 106 h 169"/>
                <a:gd name="T80" fmla="*/ 114 w 182"/>
                <a:gd name="T81" fmla="*/ 97 h 169"/>
                <a:gd name="T82" fmla="*/ 134 w 182"/>
                <a:gd name="T83" fmla="*/ 115 h 169"/>
                <a:gd name="T84" fmla="*/ 109 w 182"/>
                <a:gd name="T85" fmla="*/ 128 h 169"/>
                <a:gd name="T86" fmla="*/ 144 w 182"/>
                <a:gd name="T87" fmla="*/ 155 h 169"/>
                <a:gd name="T88" fmla="*/ 154 w 182"/>
                <a:gd name="T89" fmla="*/ 155 h 169"/>
                <a:gd name="T90" fmla="*/ 150 w 182"/>
                <a:gd name="T91" fmla="*/ 145 h 169"/>
                <a:gd name="T92" fmla="*/ 17 w 182"/>
                <a:gd name="T93" fmla="*/ 140 h 169"/>
                <a:gd name="T94" fmla="*/ 10 w 182"/>
                <a:gd name="T95" fmla="*/ 125 h 169"/>
                <a:gd name="T96" fmla="*/ 31 w 182"/>
                <a:gd name="T97" fmla="*/ 58 h 169"/>
                <a:gd name="T98" fmla="*/ 13 w 182"/>
                <a:gd name="T99" fmla="*/ 128 h 169"/>
                <a:gd name="T100" fmla="*/ 32 w 182"/>
                <a:gd name="T101" fmla="*/ 60 h 169"/>
                <a:gd name="T102" fmla="*/ 53 w 182"/>
                <a:gd name="T103" fmla="*/ 61 h 169"/>
                <a:gd name="T104" fmla="*/ 80 w 182"/>
                <a:gd name="T105" fmla="*/ 72 h 169"/>
                <a:gd name="T106" fmla="*/ 95 w 182"/>
                <a:gd name="T107" fmla="*/ 82 h 169"/>
                <a:gd name="T108" fmla="*/ 107 w 182"/>
                <a:gd name="T109" fmla="*/ 69 h 169"/>
                <a:gd name="T110" fmla="*/ 122 w 182"/>
                <a:gd name="T111" fmla="*/ 77 h 169"/>
                <a:gd name="T112" fmla="*/ 102 w 182"/>
                <a:gd name="T113" fmla="*/ 96 h 169"/>
                <a:gd name="T114" fmla="*/ 85 w 182"/>
                <a:gd name="T115" fmla="*/ 122 h 169"/>
                <a:gd name="T116" fmla="*/ 117 w 182"/>
                <a:gd name="T117" fmla="*/ 116 h 169"/>
                <a:gd name="T118" fmla="*/ 139 w 182"/>
                <a:gd name="T119" fmla="*/ 117 h 169"/>
                <a:gd name="T120" fmla="*/ 148 w 182"/>
                <a:gd name="T121" fmla="*/ 135 h 169"/>
                <a:gd name="T122" fmla="*/ 130 w 182"/>
                <a:gd name="T123" fmla="*/ 147 h 169"/>
                <a:gd name="T124" fmla="*/ 133 w 182"/>
                <a:gd name="T125" fmla="*/ 16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69">
                  <a:moveTo>
                    <a:pt x="132" y="30"/>
                  </a:moveTo>
                  <a:cubicBezTo>
                    <a:pt x="132" y="30"/>
                    <a:pt x="132" y="30"/>
                    <a:pt x="132" y="30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4" y="26"/>
                    <a:pt x="134" y="26"/>
                    <a:pt x="134" y="26"/>
                  </a:cubicBezTo>
                  <a:cubicBezTo>
                    <a:pt x="134" y="26"/>
                    <a:pt x="134" y="26"/>
                    <a:pt x="134" y="26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5" y="9"/>
                    <a:pt x="135" y="9"/>
                    <a:pt x="135" y="9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3"/>
                    <a:pt x="131" y="13"/>
                    <a:pt x="131" y="13"/>
                  </a:cubicBezTo>
                  <a:cubicBezTo>
                    <a:pt x="131" y="13"/>
                    <a:pt x="131" y="13"/>
                    <a:pt x="131" y="13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4" y="23"/>
                    <a:pt x="134" y="23"/>
                    <a:pt x="134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1" y="23"/>
                    <a:pt x="131" y="23"/>
                    <a:pt x="131" y="23"/>
                  </a:cubicBezTo>
                  <a:cubicBezTo>
                    <a:pt x="131" y="23"/>
                    <a:pt x="131" y="23"/>
                    <a:pt x="131" y="23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3" y="11"/>
                  </a:move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lose/>
                  <a:moveTo>
                    <a:pt x="133" y="30"/>
                  </a:moveTo>
                  <a:cubicBezTo>
                    <a:pt x="133" y="29"/>
                    <a:pt x="133" y="29"/>
                    <a:pt x="133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0"/>
                    <a:pt x="133" y="30"/>
                    <a:pt x="133" y="30"/>
                  </a:cubicBezTo>
                  <a:close/>
                  <a:moveTo>
                    <a:pt x="138" y="26"/>
                  </a:move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69" y="1"/>
                  </a:move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lose/>
                  <a:moveTo>
                    <a:pt x="154" y="30"/>
                  </a:move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lose/>
                  <a:moveTo>
                    <a:pt x="146" y="35"/>
                  </a:moveTo>
                  <a:cubicBezTo>
                    <a:pt x="147" y="35"/>
                    <a:pt x="147" y="35"/>
                    <a:pt x="147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6" y="35"/>
                    <a:pt x="146" y="35"/>
                    <a:pt x="146" y="35"/>
                  </a:cubicBezTo>
                  <a:close/>
                  <a:moveTo>
                    <a:pt x="136" y="35"/>
                  </a:move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33" y="41"/>
                  </a:move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8" y="32"/>
                    <a:pt x="138" y="32"/>
                    <a:pt x="138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6" y="19"/>
                    <a:pt x="146" y="19"/>
                    <a:pt x="146" y="19"/>
                  </a:cubicBezTo>
                  <a:cubicBezTo>
                    <a:pt x="147" y="19"/>
                    <a:pt x="147" y="19"/>
                    <a:pt x="147" y="19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48" y="19"/>
                    <a:pt x="148" y="19"/>
                    <a:pt x="148" y="19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1" y="18"/>
                    <a:pt x="151" y="18"/>
                    <a:pt x="151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9" y="14"/>
                    <a:pt x="159" y="14"/>
                    <a:pt x="159" y="14"/>
                  </a:cubicBezTo>
                  <a:cubicBezTo>
                    <a:pt x="159" y="13"/>
                    <a:pt x="159" y="13"/>
                    <a:pt x="159" y="13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4" y="17"/>
                    <a:pt x="154" y="17"/>
                    <a:pt x="154" y="17"/>
                  </a:cubicBezTo>
                  <a:cubicBezTo>
                    <a:pt x="154" y="17"/>
                    <a:pt x="154" y="17"/>
                    <a:pt x="154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0" y="15"/>
                    <a:pt x="150" y="15"/>
                    <a:pt x="150" y="15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9" y="13"/>
                    <a:pt x="149" y="13"/>
                    <a:pt x="149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49" y="13"/>
                    <a:pt x="149" y="13"/>
                    <a:pt x="149" y="13"/>
                  </a:cubicBezTo>
                  <a:cubicBezTo>
                    <a:pt x="149" y="12"/>
                    <a:pt x="149" y="12"/>
                    <a:pt x="149" y="12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5" y="13"/>
                    <a:pt x="145" y="13"/>
                    <a:pt x="145" y="13"/>
                  </a:cubicBezTo>
                  <a:cubicBezTo>
                    <a:pt x="145" y="13"/>
                    <a:pt x="145" y="13"/>
                    <a:pt x="145" y="13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6" y="11"/>
                    <a:pt x="146" y="11"/>
                    <a:pt x="146" y="11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4" y="10"/>
                    <a:pt x="144" y="10"/>
                    <a:pt x="144" y="10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2" y="7"/>
                    <a:pt x="152" y="7"/>
                    <a:pt x="152" y="7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2" y="4"/>
                    <a:pt x="152" y="4"/>
                    <a:pt x="152" y="4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3" y="2"/>
                    <a:pt x="153" y="2"/>
                    <a:pt x="153" y="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5" y="1"/>
                    <a:pt x="165" y="1"/>
                    <a:pt x="165" y="1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4"/>
                    <a:pt x="174" y="4"/>
                    <a:pt x="174" y="4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6" y="3"/>
                    <a:pt x="176" y="3"/>
                    <a:pt x="176" y="3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1" y="6"/>
                    <a:pt x="181" y="6"/>
                    <a:pt x="181" y="6"/>
                  </a:cubicBezTo>
                  <a:cubicBezTo>
                    <a:pt x="181" y="6"/>
                    <a:pt x="181" y="6"/>
                    <a:pt x="181" y="6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1" y="8"/>
                    <a:pt x="181" y="8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1"/>
                    <a:pt x="182" y="11"/>
                    <a:pt x="182" y="1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3"/>
                    <a:pt x="182" y="13"/>
                    <a:pt x="182" y="13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1" y="17"/>
                    <a:pt x="171" y="17"/>
                    <a:pt x="171" y="17"/>
                  </a:cubicBezTo>
                  <a:cubicBezTo>
                    <a:pt x="170" y="17"/>
                    <a:pt x="170" y="17"/>
                    <a:pt x="170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71" y="17"/>
                    <a:pt x="171" y="17"/>
                    <a:pt x="171" y="1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5" y="16"/>
                    <a:pt x="175" y="16"/>
                    <a:pt x="175" y="16"/>
                  </a:cubicBezTo>
                  <a:cubicBezTo>
                    <a:pt x="174" y="17"/>
                    <a:pt x="174" y="17"/>
                    <a:pt x="174" y="17"/>
                  </a:cubicBezTo>
                  <a:cubicBezTo>
                    <a:pt x="174" y="17"/>
                    <a:pt x="174" y="17"/>
                    <a:pt x="174" y="17"/>
                  </a:cubicBezTo>
                  <a:cubicBezTo>
                    <a:pt x="173" y="18"/>
                    <a:pt x="173" y="18"/>
                    <a:pt x="173" y="18"/>
                  </a:cubicBezTo>
                  <a:cubicBezTo>
                    <a:pt x="173" y="18"/>
                    <a:pt x="173" y="18"/>
                    <a:pt x="173" y="18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2"/>
                    <a:pt x="166" y="22"/>
                    <a:pt x="166" y="22"/>
                  </a:cubicBezTo>
                  <a:cubicBezTo>
                    <a:pt x="165" y="22"/>
                    <a:pt x="165" y="22"/>
                    <a:pt x="165" y="22"/>
                  </a:cubicBezTo>
                  <a:cubicBezTo>
                    <a:pt x="165" y="22"/>
                    <a:pt x="165" y="22"/>
                    <a:pt x="165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1"/>
                    <a:pt x="163" y="21"/>
                    <a:pt x="163" y="21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ubicBezTo>
                    <a:pt x="154" y="29"/>
                    <a:pt x="154" y="29"/>
                    <a:pt x="154" y="29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4"/>
                    <a:pt x="149" y="34"/>
                    <a:pt x="149" y="34"/>
                  </a:cubicBezTo>
                  <a:cubicBezTo>
                    <a:pt x="150" y="34"/>
                    <a:pt x="150" y="34"/>
                    <a:pt x="150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3" y="42"/>
                    <a:pt x="143" y="42"/>
                    <a:pt x="143" y="42"/>
                  </a:cubicBezTo>
                  <a:cubicBezTo>
                    <a:pt x="143" y="42"/>
                    <a:pt x="143" y="42"/>
                    <a:pt x="143" y="42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1" y="42"/>
                    <a:pt x="141" y="42"/>
                    <a:pt x="141" y="42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43"/>
                    <a:pt x="140" y="43"/>
                    <a:pt x="140" y="43"/>
                  </a:cubicBezTo>
                  <a:cubicBezTo>
                    <a:pt x="140" y="43"/>
                    <a:pt x="140" y="43"/>
                    <a:pt x="140" y="43"/>
                  </a:cubicBezTo>
                  <a:cubicBezTo>
                    <a:pt x="139" y="44"/>
                    <a:pt x="139" y="44"/>
                    <a:pt x="139" y="44"/>
                  </a:cubicBezTo>
                  <a:cubicBezTo>
                    <a:pt x="139" y="44"/>
                    <a:pt x="139" y="44"/>
                    <a:pt x="139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6" y="40"/>
                    <a:pt x="136" y="40"/>
                    <a:pt x="136" y="40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6" y="40"/>
                    <a:pt x="136" y="40"/>
                    <a:pt x="136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lose/>
                  <a:moveTo>
                    <a:pt x="144" y="103"/>
                  </a:move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lose/>
                  <a:moveTo>
                    <a:pt x="144" y="101"/>
                  </a:move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lose/>
                  <a:moveTo>
                    <a:pt x="143" y="100"/>
                  </a:moveTo>
                  <a:cubicBezTo>
                    <a:pt x="143" y="99"/>
                    <a:pt x="143" y="99"/>
                    <a:pt x="143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lose/>
                  <a:moveTo>
                    <a:pt x="140" y="69"/>
                  </a:move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9"/>
                    <a:pt x="140" y="69"/>
                    <a:pt x="140" y="69"/>
                  </a:cubicBezTo>
                  <a:close/>
                  <a:moveTo>
                    <a:pt x="140" y="69"/>
                  </a:moveTo>
                  <a:cubicBezTo>
                    <a:pt x="140" y="69"/>
                    <a:pt x="140" y="69"/>
                    <a:pt x="140" y="69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0" y="69"/>
                    <a:pt x="140" y="69"/>
                    <a:pt x="140" y="69"/>
                  </a:cubicBezTo>
                  <a:close/>
                  <a:moveTo>
                    <a:pt x="140" y="70"/>
                  </a:moveTo>
                  <a:cubicBezTo>
                    <a:pt x="139" y="70"/>
                    <a:pt x="139" y="70"/>
                    <a:pt x="139" y="70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lose/>
                  <a:moveTo>
                    <a:pt x="146" y="79"/>
                  </a:move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lose/>
                  <a:moveTo>
                    <a:pt x="145" y="79"/>
                  </a:moveTo>
                  <a:cubicBezTo>
                    <a:pt x="145" y="79"/>
                    <a:pt x="145" y="79"/>
                    <a:pt x="145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lose/>
                  <a:moveTo>
                    <a:pt x="144" y="83"/>
                  </a:move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lose/>
                  <a:moveTo>
                    <a:pt x="146" y="85"/>
                  </a:moveTo>
                  <a:cubicBezTo>
                    <a:pt x="146" y="86"/>
                    <a:pt x="146" y="86"/>
                    <a:pt x="146" y="86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lose/>
                  <a:moveTo>
                    <a:pt x="149" y="89"/>
                  </a:move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9" y="89"/>
                    <a:pt x="149" y="89"/>
                    <a:pt x="149" y="89"/>
                  </a:cubicBezTo>
                  <a:close/>
                  <a:moveTo>
                    <a:pt x="151" y="91"/>
                  </a:move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1"/>
                    <a:pt x="151" y="91"/>
                  </a:cubicBezTo>
                  <a:close/>
                  <a:moveTo>
                    <a:pt x="139" y="46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39" y="45"/>
                    <a:pt x="139" y="45"/>
                    <a:pt x="139" y="45"/>
                  </a:cubicBezTo>
                  <a:cubicBezTo>
                    <a:pt x="139" y="45"/>
                    <a:pt x="139" y="45"/>
                    <a:pt x="139" y="45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lose/>
                  <a:moveTo>
                    <a:pt x="137" y="44"/>
                  </a:move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lose/>
                  <a:moveTo>
                    <a:pt x="126" y="39"/>
                  </a:moveTo>
                  <a:cubicBezTo>
                    <a:pt x="125" y="39"/>
                    <a:pt x="125" y="39"/>
                    <a:pt x="125" y="39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5" y="16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6"/>
                    <a:pt x="125" y="16"/>
                    <a:pt x="125" y="16"/>
                  </a:cubicBezTo>
                  <a:close/>
                  <a:moveTo>
                    <a:pt x="120" y="28"/>
                  </a:moveTo>
                  <a:cubicBezTo>
                    <a:pt x="120" y="28"/>
                    <a:pt x="120" y="28"/>
                    <a:pt x="120" y="28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123" y="21"/>
                    <a:pt x="123" y="21"/>
                    <a:pt x="123" y="21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8"/>
                    <a:pt x="124" y="28"/>
                    <a:pt x="124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0" y="28"/>
                    <a:pt x="120" y="28"/>
                    <a:pt x="120" y="28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5" y="28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8"/>
                    <a:pt x="125" y="28"/>
                    <a:pt x="125" y="28"/>
                  </a:cubicBezTo>
                  <a:close/>
                  <a:moveTo>
                    <a:pt x="126" y="34"/>
                  </a:moveTo>
                  <a:cubicBezTo>
                    <a:pt x="126" y="34"/>
                    <a:pt x="126" y="34"/>
                    <a:pt x="126" y="34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7" y="33"/>
                    <a:pt x="127" y="33"/>
                    <a:pt x="127" y="33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7" y="33"/>
                    <a:pt x="127" y="33"/>
                    <a:pt x="127" y="33"/>
                  </a:cubicBezTo>
                  <a:cubicBezTo>
                    <a:pt x="126" y="33"/>
                    <a:pt x="126" y="33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lose/>
                  <a:moveTo>
                    <a:pt x="126" y="34"/>
                  </a:moveTo>
                  <a:cubicBezTo>
                    <a:pt x="126" y="34"/>
                    <a:pt x="126" y="34"/>
                    <a:pt x="126" y="34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lose/>
                  <a:moveTo>
                    <a:pt x="120" y="31"/>
                  </a:move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4" y="30"/>
                    <a:pt x="124" y="30"/>
                    <a:pt x="124" y="30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2" y="31"/>
                    <a:pt x="122" y="31"/>
                    <a:pt x="122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lose/>
                  <a:moveTo>
                    <a:pt x="115" y="24"/>
                  </a:move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lose/>
                  <a:moveTo>
                    <a:pt x="115" y="26"/>
                  </a:moveTo>
                  <a:cubicBezTo>
                    <a:pt x="115" y="27"/>
                    <a:pt x="115" y="27"/>
                    <a:pt x="115" y="27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18" y="25"/>
                    <a:pt x="118" y="25"/>
                    <a:pt x="118" y="25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0" y="22"/>
                    <a:pt x="120" y="22"/>
                    <a:pt x="120" y="22"/>
                  </a:cubicBezTo>
                  <a:cubicBezTo>
                    <a:pt x="120" y="22"/>
                    <a:pt x="120" y="22"/>
                    <a:pt x="120" y="22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3" y="22"/>
                    <a:pt x="113" y="22"/>
                    <a:pt x="113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5" y="26"/>
                    <a:pt x="115" y="26"/>
                    <a:pt x="115" y="26"/>
                  </a:cubicBezTo>
                  <a:close/>
                  <a:moveTo>
                    <a:pt x="113" y="23"/>
                  </a:move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lose/>
                  <a:moveTo>
                    <a:pt x="112" y="26"/>
                  </a:moveTo>
                  <a:cubicBezTo>
                    <a:pt x="112" y="25"/>
                    <a:pt x="112" y="25"/>
                    <a:pt x="112" y="25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4" y="26"/>
                    <a:pt x="114" y="26"/>
                    <a:pt x="114" y="26"/>
                  </a:cubicBezTo>
                  <a:cubicBezTo>
                    <a:pt x="114" y="26"/>
                    <a:pt x="114" y="26"/>
                    <a:pt x="114" y="26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2" y="27"/>
                    <a:pt x="112" y="27"/>
                    <a:pt x="112" y="27"/>
                  </a:cubicBezTo>
                  <a:cubicBezTo>
                    <a:pt x="112" y="26"/>
                    <a:pt x="112" y="26"/>
                    <a:pt x="112" y="26"/>
                  </a:cubicBezTo>
                  <a:cubicBezTo>
                    <a:pt x="112" y="26"/>
                    <a:pt x="112" y="26"/>
                    <a:pt x="112" y="26"/>
                  </a:cubicBezTo>
                  <a:close/>
                  <a:moveTo>
                    <a:pt x="107" y="29"/>
                  </a:moveTo>
                  <a:cubicBezTo>
                    <a:pt x="107" y="29"/>
                    <a:pt x="107" y="29"/>
                    <a:pt x="107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lose/>
                  <a:moveTo>
                    <a:pt x="106" y="29"/>
                  </a:moveTo>
                  <a:cubicBezTo>
                    <a:pt x="106" y="28"/>
                    <a:pt x="106" y="28"/>
                    <a:pt x="106" y="28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7"/>
                    <a:pt x="107" y="27"/>
                    <a:pt x="107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6" y="29"/>
                    <a:pt x="106" y="29"/>
                    <a:pt x="106" y="29"/>
                  </a:cubicBezTo>
                  <a:close/>
                  <a:moveTo>
                    <a:pt x="102" y="19"/>
                  </a:moveTo>
                  <a:cubicBezTo>
                    <a:pt x="101" y="19"/>
                    <a:pt x="101" y="19"/>
                    <a:pt x="101" y="19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96" y="22"/>
                  </a:moveTo>
                  <a:cubicBezTo>
                    <a:pt x="96" y="22"/>
                    <a:pt x="96" y="22"/>
                    <a:pt x="96" y="22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2"/>
                    <a:pt x="96" y="22"/>
                    <a:pt x="96" y="22"/>
                  </a:cubicBezTo>
                  <a:close/>
                  <a:moveTo>
                    <a:pt x="95" y="21"/>
                  </a:moveTo>
                  <a:cubicBezTo>
                    <a:pt x="96" y="21"/>
                    <a:pt x="96" y="21"/>
                    <a:pt x="96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1"/>
                    <a:pt x="95" y="21"/>
                    <a:pt x="95" y="21"/>
                  </a:cubicBezTo>
                  <a:close/>
                  <a:moveTo>
                    <a:pt x="131" y="52"/>
                  </a:moveTo>
                  <a:cubicBezTo>
                    <a:pt x="131" y="52"/>
                    <a:pt x="131" y="52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7" y="51"/>
                    <a:pt x="137" y="51"/>
                    <a:pt x="137" y="51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6"/>
                    <a:pt x="137" y="46"/>
                    <a:pt x="137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49"/>
                    <a:pt x="125" y="49"/>
                    <a:pt x="125" y="49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1" y="52"/>
                    <a:pt x="131" y="52"/>
                    <a:pt x="131" y="52"/>
                  </a:cubicBezTo>
                  <a:close/>
                  <a:moveTo>
                    <a:pt x="116" y="33"/>
                  </a:moveTo>
                  <a:cubicBezTo>
                    <a:pt x="117" y="33"/>
                    <a:pt x="117" y="33"/>
                    <a:pt x="117" y="33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3"/>
                    <a:pt x="116" y="33"/>
                    <a:pt x="116" y="33"/>
                  </a:cubicBezTo>
                  <a:close/>
                  <a:moveTo>
                    <a:pt x="115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5"/>
                    <a:pt x="115" y="35"/>
                    <a:pt x="115" y="35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12" y="32"/>
                  </a:move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3"/>
                    <a:pt x="109" y="33"/>
                  </a:cubicBezTo>
                  <a:close/>
                  <a:moveTo>
                    <a:pt x="106" y="34"/>
                  </a:move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3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lose/>
                  <a:moveTo>
                    <a:pt x="94" y="24"/>
                  </a:move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91" y="26"/>
                  </a:move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lose/>
                  <a:moveTo>
                    <a:pt x="76" y="26"/>
                  </a:move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8"/>
                    <a:pt x="78" y="28"/>
                  </a:cubicBezTo>
                  <a:close/>
                  <a:moveTo>
                    <a:pt x="78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118" y="51"/>
                  </a:moveTo>
                  <a:cubicBezTo>
                    <a:pt x="118" y="51"/>
                    <a:pt x="118" y="51"/>
                    <a:pt x="118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1"/>
                    <a:pt x="118" y="51"/>
                    <a:pt x="118" y="51"/>
                  </a:cubicBezTo>
                  <a:close/>
                  <a:moveTo>
                    <a:pt x="114" y="42"/>
                  </a:move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4" y="46"/>
                    <a:pt x="114" y="46"/>
                    <a:pt x="114" y="46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5"/>
                    <a:pt x="115" y="45"/>
                    <a:pt x="115" y="45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9"/>
                    <a:pt x="116" y="39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2" y="41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1" y="42"/>
                  </a:move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lose/>
                  <a:moveTo>
                    <a:pt x="107" y="43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lose/>
                  <a:moveTo>
                    <a:pt x="79" y="31"/>
                  </a:move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99" y="40"/>
                  </a:moveTo>
                  <a:cubicBezTo>
                    <a:pt x="99" y="40"/>
                    <a:pt x="99" y="40"/>
                    <a:pt x="99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9" y="40"/>
                    <a:pt x="99" y="40"/>
                    <a:pt x="99" y="40"/>
                  </a:cubicBezTo>
                  <a:close/>
                  <a:moveTo>
                    <a:pt x="83" y="39"/>
                  </a:moveTo>
                  <a:cubicBezTo>
                    <a:pt x="83" y="39"/>
                    <a:pt x="83" y="39"/>
                    <a:pt x="83" y="39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39"/>
                    <a:pt x="83" y="39"/>
                    <a:pt x="83" y="39"/>
                  </a:cubicBezTo>
                  <a:close/>
                  <a:moveTo>
                    <a:pt x="58" y="52"/>
                  </a:moveTo>
                  <a:cubicBezTo>
                    <a:pt x="58" y="51"/>
                    <a:pt x="58" y="51"/>
                    <a:pt x="58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2"/>
                    <a:pt x="58" y="52"/>
                    <a:pt x="58" y="52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08" y="46"/>
                  </a:moveTo>
                  <a:cubicBezTo>
                    <a:pt x="108" y="46"/>
                    <a:pt x="108" y="46"/>
                    <a:pt x="108" y="46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lose/>
                  <a:moveTo>
                    <a:pt x="104" y="48"/>
                  </a:move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1" y="63"/>
                  </a:moveTo>
                  <a:cubicBezTo>
                    <a:pt x="101" y="63"/>
                    <a:pt x="101" y="63"/>
                    <a:pt x="101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63"/>
                    <a:pt x="101" y="63"/>
                    <a:pt x="101" y="63"/>
                  </a:cubicBezTo>
                  <a:close/>
                  <a:moveTo>
                    <a:pt x="99" y="62"/>
                  </a:move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2"/>
                    <a:pt x="99" y="62"/>
                    <a:pt x="99" y="62"/>
                  </a:cubicBezTo>
                  <a:close/>
                  <a:moveTo>
                    <a:pt x="106" y="53"/>
                  </a:move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lose/>
                  <a:moveTo>
                    <a:pt x="105" y="54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lose/>
                  <a:moveTo>
                    <a:pt x="105" y="55"/>
                  </a:moveTo>
                  <a:cubicBezTo>
                    <a:pt x="105" y="55"/>
                    <a:pt x="105" y="55"/>
                    <a:pt x="105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lose/>
                  <a:moveTo>
                    <a:pt x="89" y="46"/>
                  </a:moveTo>
                  <a:cubicBezTo>
                    <a:pt x="89" y="47"/>
                    <a:pt x="89" y="47"/>
                    <a:pt x="89" y="4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lose/>
                  <a:moveTo>
                    <a:pt x="92" y="52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107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2"/>
                    <a:pt x="110" y="52"/>
                    <a:pt x="110" y="52"/>
                  </a:cubicBezTo>
                  <a:cubicBezTo>
                    <a:pt x="110" y="52"/>
                    <a:pt x="110" y="52"/>
                    <a:pt x="110" y="52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3" y="56"/>
                    <a:pt x="113" y="56"/>
                    <a:pt x="113" y="56"/>
                  </a:cubicBezTo>
                  <a:cubicBezTo>
                    <a:pt x="113" y="57"/>
                    <a:pt x="113" y="57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lose/>
                  <a:moveTo>
                    <a:pt x="133" y="62"/>
                  </a:moveTo>
                  <a:cubicBezTo>
                    <a:pt x="132" y="62"/>
                    <a:pt x="132" y="62"/>
                    <a:pt x="132" y="62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2" y="61"/>
                    <a:pt x="132" y="61"/>
                    <a:pt x="132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32" y="60"/>
                    <a:pt x="132" y="60"/>
                    <a:pt x="132" y="60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33" y="57"/>
                    <a:pt x="133" y="57"/>
                    <a:pt x="133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36" y="57"/>
                    <a:pt x="136" y="57"/>
                    <a:pt x="136" y="57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7" y="58"/>
                    <a:pt x="137" y="58"/>
                    <a:pt x="137" y="58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4" y="61"/>
                    <a:pt x="134" y="61"/>
                    <a:pt x="134" y="61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lose/>
                  <a:moveTo>
                    <a:pt x="130" y="63"/>
                  </a:move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0" y="63"/>
                    <a:pt x="130" y="63"/>
                    <a:pt x="130" y="63"/>
                  </a:cubicBezTo>
                  <a:close/>
                  <a:moveTo>
                    <a:pt x="131" y="63"/>
                  </a:move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lose/>
                  <a:moveTo>
                    <a:pt x="132" y="63"/>
                  </a:move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lose/>
                  <a:moveTo>
                    <a:pt x="106" y="72"/>
                  </a:moveTo>
                  <a:cubicBezTo>
                    <a:pt x="106" y="72"/>
                    <a:pt x="106" y="72"/>
                    <a:pt x="106" y="72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6" y="72"/>
                    <a:pt x="106" y="72"/>
                    <a:pt x="106" y="72"/>
                  </a:cubicBezTo>
                  <a:close/>
                  <a:moveTo>
                    <a:pt x="107" y="74"/>
                  </a:moveTo>
                  <a:cubicBezTo>
                    <a:pt x="107" y="74"/>
                    <a:pt x="107" y="74"/>
                    <a:pt x="107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7" y="74"/>
                    <a:pt x="107" y="74"/>
                    <a:pt x="107" y="74"/>
                  </a:cubicBezTo>
                  <a:close/>
                  <a:moveTo>
                    <a:pt x="107" y="74"/>
                  </a:move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lose/>
                  <a:moveTo>
                    <a:pt x="115" y="73"/>
                  </a:move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3"/>
                    <a:pt x="115" y="73"/>
                  </a:cubicBezTo>
                  <a:close/>
                  <a:moveTo>
                    <a:pt x="120" y="74"/>
                  </a:move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lose/>
                  <a:moveTo>
                    <a:pt x="120" y="74"/>
                  </a:move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lose/>
                  <a:moveTo>
                    <a:pt x="121" y="75"/>
                  </a:move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lose/>
                  <a:moveTo>
                    <a:pt x="126" y="81"/>
                  </a:move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lose/>
                  <a:moveTo>
                    <a:pt x="125" y="82"/>
                  </a:move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lose/>
                  <a:moveTo>
                    <a:pt x="122" y="76"/>
                  </a:move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2" y="76"/>
                  </a:moveTo>
                  <a:cubicBezTo>
                    <a:pt x="121" y="76"/>
                    <a:pt x="121" y="76"/>
                    <a:pt x="121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2" y="76"/>
                  </a:move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4" y="75"/>
                  </a:moveTo>
                  <a:cubicBezTo>
                    <a:pt x="125" y="75"/>
                    <a:pt x="125" y="75"/>
                    <a:pt x="125" y="75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4" y="75"/>
                    <a:pt x="124" y="75"/>
                  </a:cubicBezTo>
                  <a:close/>
                  <a:moveTo>
                    <a:pt x="129" y="75"/>
                  </a:move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lose/>
                  <a:moveTo>
                    <a:pt x="128" y="77"/>
                  </a:moveTo>
                  <a:cubicBezTo>
                    <a:pt x="128" y="77"/>
                    <a:pt x="128" y="77"/>
                    <a:pt x="128" y="77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lose/>
                  <a:moveTo>
                    <a:pt x="126" y="80"/>
                  </a:moveTo>
                  <a:cubicBezTo>
                    <a:pt x="127" y="79"/>
                    <a:pt x="127" y="79"/>
                    <a:pt x="127" y="79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6" y="79"/>
                    <a:pt x="126" y="7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0"/>
                    <a:pt x="126" y="80"/>
                    <a:pt x="126" y="80"/>
                  </a:cubicBezTo>
                  <a:close/>
                  <a:moveTo>
                    <a:pt x="129" y="79"/>
                  </a:moveTo>
                  <a:cubicBezTo>
                    <a:pt x="129" y="79"/>
                    <a:pt x="129" y="79"/>
                    <a:pt x="129" y="79"/>
                  </a:cubicBezTo>
                  <a:cubicBezTo>
                    <a:pt x="129" y="78"/>
                    <a:pt x="129" y="78"/>
                    <a:pt x="129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29" y="79"/>
                    <a:pt x="129" y="79"/>
                    <a:pt x="129" y="79"/>
                  </a:cubicBezTo>
                  <a:close/>
                  <a:moveTo>
                    <a:pt x="132" y="83"/>
                  </a:moveTo>
                  <a:cubicBezTo>
                    <a:pt x="132" y="82"/>
                    <a:pt x="132" y="82"/>
                    <a:pt x="132" y="82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1" y="82"/>
                    <a:pt x="131" y="82"/>
                    <a:pt x="131" y="82"/>
                  </a:cubicBezTo>
                  <a:cubicBezTo>
                    <a:pt x="132" y="82"/>
                    <a:pt x="132" y="82"/>
                    <a:pt x="132" y="82"/>
                  </a:cubicBezTo>
                  <a:cubicBezTo>
                    <a:pt x="132" y="82"/>
                    <a:pt x="132" y="82"/>
                    <a:pt x="132" y="82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32" y="83"/>
                    <a:pt x="132" y="83"/>
                    <a:pt x="132" y="83"/>
                  </a:cubicBezTo>
                  <a:close/>
                  <a:moveTo>
                    <a:pt x="132" y="82"/>
                  </a:moveTo>
                  <a:cubicBezTo>
                    <a:pt x="132" y="82"/>
                    <a:pt x="132" y="82"/>
                    <a:pt x="132" y="82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2" y="82"/>
                    <a:pt x="132" y="82"/>
                    <a:pt x="132" y="82"/>
                  </a:cubicBezTo>
                  <a:close/>
                  <a:moveTo>
                    <a:pt x="133" y="83"/>
                  </a:move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lose/>
                  <a:moveTo>
                    <a:pt x="132" y="84"/>
                  </a:moveTo>
                  <a:cubicBezTo>
                    <a:pt x="132" y="84"/>
                    <a:pt x="132" y="84"/>
                    <a:pt x="132" y="84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lose/>
                  <a:moveTo>
                    <a:pt x="121" y="99"/>
                  </a:move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lose/>
                  <a:moveTo>
                    <a:pt x="115" y="89"/>
                  </a:move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lose/>
                  <a:moveTo>
                    <a:pt x="113" y="91"/>
                  </a:move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lose/>
                  <a:moveTo>
                    <a:pt x="111" y="91"/>
                  </a:move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lose/>
                  <a:moveTo>
                    <a:pt x="111" y="81"/>
                  </a:move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lose/>
                  <a:moveTo>
                    <a:pt x="111" y="81"/>
                  </a:moveTo>
                  <a:cubicBezTo>
                    <a:pt x="111" y="81"/>
                    <a:pt x="111" y="81"/>
                    <a:pt x="111" y="81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lose/>
                  <a:moveTo>
                    <a:pt x="91" y="77"/>
                  </a:move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1" y="77"/>
                    <a:pt x="91" y="77"/>
                    <a:pt x="91" y="77"/>
                  </a:cubicBezTo>
                  <a:close/>
                  <a:moveTo>
                    <a:pt x="73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3" y="72"/>
                    <a:pt x="73" y="72"/>
                  </a:cubicBezTo>
                  <a:close/>
                  <a:moveTo>
                    <a:pt x="72" y="73"/>
                  </a:move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lose/>
                  <a:moveTo>
                    <a:pt x="73" y="74"/>
                  </a:move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lose/>
                  <a:moveTo>
                    <a:pt x="73" y="75"/>
                  </a:move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3" y="75"/>
                    <a:pt x="73" y="75"/>
                    <a:pt x="73" y="75"/>
                  </a:cubicBezTo>
                  <a:close/>
                  <a:moveTo>
                    <a:pt x="73" y="76"/>
                  </a:move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3" y="76"/>
                    <a:pt x="73" y="76"/>
                    <a:pt x="73" y="76"/>
                  </a:cubicBezTo>
                  <a:close/>
                  <a:moveTo>
                    <a:pt x="73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lose/>
                  <a:moveTo>
                    <a:pt x="88" y="69"/>
                  </a:move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lose/>
                  <a:moveTo>
                    <a:pt x="93" y="65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3" y="65"/>
                    <a:pt x="93" y="65"/>
                    <a:pt x="93" y="65"/>
                  </a:cubicBezTo>
                  <a:close/>
                  <a:moveTo>
                    <a:pt x="88" y="72"/>
                  </a:moveTo>
                  <a:cubicBezTo>
                    <a:pt x="88" y="72"/>
                    <a:pt x="88" y="72"/>
                    <a:pt x="88" y="72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8" y="69"/>
                    <a:pt x="78" y="69"/>
                    <a:pt x="78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8" y="72"/>
                    <a:pt x="88" y="72"/>
                    <a:pt x="88" y="72"/>
                  </a:cubicBezTo>
                  <a:close/>
                  <a:moveTo>
                    <a:pt x="127" y="86"/>
                  </a:moveTo>
                  <a:cubicBezTo>
                    <a:pt x="127" y="86"/>
                    <a:pt x="127" y="86"/>
                    <a:pt x="127" y="86"/>
                  </a:cubicBezTo>
                  <a:cubicBezTo>
                    <a:pt x="127" y="86"/>
                    <a:pt x="127" y="86"/>
                    <a:pt x="127" y="86"/>
                  </a:cubicBezTo>
                  <a:cubicBezTo>
                    <a:pt x="127" y="85"/>
                    <a:pt x="127" y="85"/>
                    <a:pt x="127" y="85"/>
                  </a:cubicBezTo>
                  <a:cubicBezTo>
                    <a:pt x="127" y="85"/>
                    <a:pt x="127" y="85"/>
                    <a:pt x="127" y="85"/>
                  </a:cubicBezTo>
                  <a:cubicBezTo>
                    <a:pt x="127" y="84"/>
                    <a:pt x="127" y="84"/>
                    <a:pt x="127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5"/>
                    <a:pt x="131" y="85"/>
                    <a:pt x="131" y="85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9" y="87"/>
                    <a:pt x="129" y="87"/>
                    <a:pt x="129" y="87"/>
                  </a:cubicBezTo>
                  <a:cubicBezTo>
                    <a:pt x="128" y="87"/>
                    <a:pt x="128" y="87"/>
                    <a:pt x="128" y="87"/>
                  </a:cubicBezTo>
                  <a:cubicBezTo>
                    <a:pt x="128" y="87"/>
                    <a:pt x="128" y="87"/>
                    <a:pt x="128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6"/>
                    <a:pt x="127" y="86"/>
                    <a:pt x="127" y="86"/>
                  </a:cubicBezTo>
                  <a:close/>
                  <a:moveTo>
                    <a:pt x="90" y="70"/>
                  </a:move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lose/>
                  <a:moveTo>
                    <a:pt x="86" y="74"/>
                  </a:move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4"/>
                    <a:pt x="86" y="74"/>
                    <a:pt x="86" y="74"/>
                  </a:cubicBezTo>
                  <a:cubicBezTo>
                    <a:pt x="86" y="74"/>
                    <a:pt x="86" y="74"/>
                    <a:pt x="86" y="74"/>
                  </a:cubicBezTo>
                  <a:close/>
                  <a:moveTo>
                    <a:pt x="90" y="73"/>
                  </a:moveTo>
                  <a:cubicBezTo>
                    <a:pt x="90" y="73"/>
                    <a:pt x="90" y="73"/>
                    <a:pt x="90" y="73"/>
                  </a:cubicBezTo>
                  <a:cubicBezTo>
                    <a:pt x="90" y="73"/>
                    <a:pt x="90" y="73"/>
                    <a:pt x="90" y="73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3"/>
                    <a:pt x="90" y="73"/>
                    <a:pt x="90" y="73"/>
                  </a:cubicBezTo>
                  <a:close/>
                  <a:moveTo>
                    <a:pt x="91" y="72"/>
                  </a:move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lose/>
                  <a:moveTo>
                    <a:pt x="98" y="72"/>
                  </a:moveTo>
                  <a:cubicBezTo>
                    <a:pt x="99" y="72"/>
                    <a:pt x="99" y="72"/>
                    <a:pt x="99" y="72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8" y="72"/>
                    <a:pt x="98" y="72"/>
                  </a:cubicBezTo>
                  <a:close/>
                  <a:moveTo>
                    <a:pt x="98" y="72"/>
                  </a:moveTo>
                  <a:cubicBezTo>
                    <a:pt x="98" y="72"/>
                    <a:pt x="98" y="72"/>
                    <a:pt x="98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8" y="72"/>
                    <a:pt x="98" y="72"/>
                    <a:pt x="98" y="72"/>
                  </a:cubicBezTo>
                  <a:close/>
                  <a:moveTo>
                    <a:pt x="98" y="76"/>
                  </a:moveTo>
                  <a:cubicBezTo>
                    <a:pt x="98" y="75"/>
                    <a:pt x="98" y="75"/>
                    <a:pt x="98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6"/>
                    <a:pt x="98" y="76"/>
                    <a:pt x="98" y="76"/>
                  </a:cubicBezTo>
                  <a:close/>
                  <a:moveTo>
                    <a:pt x="141" y="73"/>
                  </a:moveTo>
                  <a:cubicBezTo>
                    <a:pt x="141" y="72"/>
                    <a:pt x="141" y="72"/>
                    <a:pt x="141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lose/>
                  <a:moveTo>
                    <a:pt x="140" y="109"/>
                  </a:moveTo>
                  <a:cubicBezTo>
                    <a:pt x="139" y="109"/>
                    <a:pt x="139" y="109"/>
                    <a:pt x="139" y="109"/>
                  </a:cubicBezTo>
                  <a:cubicBezTo>
                    <a:pt x="139" y="109"/>
                    <a:pt x="139" y="109"/>
                    <a:pt x="139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4" y="107"/>
                    <a:pt x="134" y="107"/>
                    <a:pt x="134" y="107"/>
                  </a:cubicBezTo>
                  <a:cubicBezTo>
                    <a:pt x="135" y="106"/>
                    <a:pt x="135" y="106"/>
                    <a:pt x="135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4"/>
                    <a:pt x="132" y="104"/>
                    <a:pt x="132" y="104"/>
                  </a:cubicBezTo>
                  <a:cubicBezTo>
                    <a:pt x="132" y="104"/>
                    <a:pt x="132" y="104"/>
                    <a:pt x="13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2" y="102"/>
                    <a:pt x="132" y="102"/>
                    <a:pt x="132" y="102"/>
                  </a:cubicBezTo>
                  <a:cubicBezTo>
                    <a:pt x="132" y="102"/>
                    <a:pt x="132" y="102"/>
                    <a:pt x="132" y="102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99"/>
                    <a:pt x="130" y="99"/>
                    <a:pt x="130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30" y="98"/>
                    <a:pt x="130" y="98"/>
                    <a:pt x="130" y="98"/>
                  </a:cubicBezTo>
                  <a:cubicBezTo>
                    <a:pt x="130" y="98"/>
                    <a:pt x="130" y="98"/>
                    <a:pt x="130" y="98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8"/>
                    <a:pt x="129" y="98"/>
                    <a:pt x="129" y="98"/>
                  </a:cubicBezTo>
                  <a:cubicBezTo>
                    <a:pt x="129" y="98"/>
                    <a:pt x="129" y="98"/>
                    <a:pt x="129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2" y="99"/>
                    <a:pt x="122" y="99"/>
                    <a:pt x="122" y="99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1" y="98"/>
                    <a:pt x="121" y="98"/>
                    <a:pt x="121" y="98"/>
                  </a:cubicBezTo>
                  <a:cubicBezTo>
                    <a:pt x="121" y="97"/>
                    <a:pt x="121" y="97"/>
                    <a:pt x="121" y="97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4"/>
                    <a:pt x="130" y="94"/>
                    <a:pt x="130" y="94"/>
                  </a:cubicBezTo>
                  <a:cubicBezTo>
                    <a:pt x="130" y="93"/>
                    <a:pt x="130" y="93"/>
                    <a:pt x="130" y="93"/>
                  </a:cubicBezTo>
                  <a:cubicBezTo>
                    <a:pt x="130" y="93"/>
                    <a:pt x="130" y="93"/>
                    <a:pt x="130" y="93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1" y="91"/>
                    <a:pt x="131" y="91"/>
                    <a:pt x="131" y="91"/>
                  </a:cubicBezTo>
                  <a:cubicBezTo>
                    <a:pt x="131" y="91"/>
                    <a:pt x="131" y="91"/>
                    <a:pt x="131" y="91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4" y="88"/>
                    <a:pt x="134" y="88"/>
                    <a:pt x="134" y="88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3"/>
                    <a:pt x="135" y="83"/>
                  </a:cubicBezTo>
                  <a:cubicBezTo>
                    <a:pt x="135" y="83"/>
                    <a:pt x="135" y="83"/>
                    <a:pt x="135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3"/>
                    <a:pt x="128" y="73"/>
                    <a:pt x="128" y="73"/>
                  </a:cubicBezTo>
                  <a:cubicBezTo>
                    <a:pt x="128" y="73"/>
                    <a:pt x="128" y="73"/>
                    <a:pt x="128" y="73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3"/>
                    <a:pt x="121" y="73"/>
                    <a:pt x="121" y="73"/>
                  </a:cubicBezTo>
                  <a:cubicBezTo>
                    <a:pt x="120" y="73"/>
                    <a:pt x="120" y="73"/>
                    <a:pt x="120" y="73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6"/>
                    <a:pt x="112" y="66"/>
                    <a:pt x="112" y="66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3" y="66"/>
                    <a:pt x="113" y="66"/>
                    <a:pt x="113" y="66"/>
                  </a:cubicBezTo>
                  <a:cubicBezTo>
                    <a:pt x="113" y="66"/>
                    <a:pt x="113" y="66"/>
                    <a:pt x="113" y="66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0"/>
                    <a:pt x="114" y="60"/>
                    <a:pt x="114" y="60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2" y="57"/>
                    <a:pt x="122" y="57"/>
                    <a:pt x="122" y="57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0" y="61"/>
                    <a:pt x="120" y="61"/>
                    <a:pt x="120" y="61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19" y="68"/>
                    <a:pt x="119" y="68"/>
                    <a:pt x="119" y="68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4"/>
                    <a:pt x="121" y="64"/>
                    <a:pt x="121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0" y="58"/>
                    <a:pt x="130" y="58"/>
                    <a:pt x="130" y="58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4"/>
                    <a:pt x="134" y="64"/>
                    <a:pt x="134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4" y="63"/>
                    <a:pt x="134" y="63"/>
                    <a:pt x="134" y="63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3"/>
                    <a:pt x="135" y="63"/>
                    <a:pt x="135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8" y="67"/>
                    <a:pt x="138" y="67"/>
                    <a:pt x="138" y="67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2" y="69"/>
                    <a:pt x="142" y="69"/>
                    <a:pt x="142" y="69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39" y="73"/>
                    <a:pt x="139" y="73"/>
                    <a:pt x="139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5"/>
                    <a:pt x="142" y="75"/>
                    <a:pt x="142" y="75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6" y="77"/>
                    <a:pt x="146" y="77"/>
                    <a:pt x="146" y="77"/>
                  </a:cubicBezTo>
                  <a:cubicBezTo>
                    <a:pt x="146" y="77"/>
                    <a:pt x="146" y="77"/>
                    <a:pt x="146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7" y="77"/>
                    <a:pt x="147" y="77"/>
                    <a:pt x="147" y="77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3" y="79"/>
                    <a:pt x="143" y="79"/>
                    <a:pt x="143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2"/>
                    <a:pt x="143" y="82"/>
                    <a:pt x="143" y="82"/>
                  </a:cubicBez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5" y="83"/>
                    <a:pt x="145" y="83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2" y="83"/>
                    <a:pt x="142" y="83"/>
                    <a:pt x="142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6" y="84"/>
                    <a:pt x="146" y="84"/>
                    <a:pt x="146" y="84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5"/>
                    <a:pt x="151" y="95"/>
                    <a:pt x="151" y="95"/>
                  </a:cubicBezTo>
                  <a:cubicBezTo>
                    <a:pt x="151" y="95"/>
                    <a:pt x="151" y="95"/>
                    <a:pt x="151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3" y="94"/>
                    <a:pt x="143" y="94"/>
                    <a:pt x="143" y="94"/>
                  </a:cubicBezTo>
                  <a:cubicBezTo>
                    <a:pt x="143" y="94"/>
                    <a:pt x="143" y="94"/>
                    <a:pt x="143" y="94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1"/>
                    <a:pt x="143" y="91"/>
                    <a:pt x="143" y="91"/>
                  </a:cubicBezTo>
                  <a:cubicBezTo>
                    <a:pt x="143" y="91"/>
                    <a:pt x="143" y="91"/>
                    <a:pt x="143" y="91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2"/>
                    <a:pt x="143" y="102"/>
                    <a:pt x="143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8"/>
                    <a:pt x="139" y="108"/>
                    <a:pt x="139" y="108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39" y="108"/>
                    <a:pt x="139" y="108"/>
                    <a:pt x="139" y="108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lose/>
                  <a:moveTo>
                    <a:pt x="105" y="99"/>
                  </a:move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8"/>
                    <a:pt x="110" y="98"/>
                    <a:pt x="11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2" y="99"/>
                    <a:pt x="112" y="99"/>
                    <a:pt x="112" y="99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6" y="100"/>
                    <a:pt x="116" y="100"/>
                    <a:pt x="116" y="100"/>
                  </a:cubicBezTo>
                  <a:cubicBezTo>
                    <a:pt x="116" y="100"/>
                    <a:pt x="116" y="100"/>
                    <a:pt x="116" y="100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5" y="99"/>
                    <a:pt x="115" y="99"/>
                    <a:pt x="115" y="99"/>
                  </a:cubicBezTo>
                  <a:cubicBezTo>
                    <a:pt x="115" y="99"/>
                    <a:pt x="115" y="99"/>
                    <a:pt x="115" y="99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4" y="95"/>
                    <a:pt x="114" y="95"/>
                    <a:pt x="114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lose/>
                  <a:moveTo>
                    <a:pt x="108" y="105"/>
                  </a:moveTo>
                  <a:cubicBezTo>
                    <a:pt x="108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11" y="102"/>
                    <a:pt x="111" y="102"/>
                    <a:pt x="111" y="102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1" y="102"/>
                    <a:pt x="111" y="102"/>
                    <a:pt x="111" y="102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09" y="102"/>
                    <a:pt x="109" y="102"/>
                    <a:pt x="109" y="102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lose/>
                  <a:moveTo>
                    <a:pt x="142" y="108"/>
                  </a:moveTo>
                  <a:cubicBezTo>
                    <a:pt x="142" y="108"/>
                    <a:pt x="142" y="108"/>
                    <a:pt x="142" y="108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7"/>
                    <a:pt x="143" y="107"/>
                    <a:pt x="143" y="107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42" y="108"/>
                    <a:pt x="142" y="108"/>
                    <a:pt x="142" y="108"/>
                  </a:cubicBezTo>
                  <a:close/>
                  <a:moveTo>
                    <a:pt x="131" y="105"/>
                  </a:moveTo>
                  <a:cubicBezTo>
                    <a:pt x="131" y="105"/>
                    <a:pt x="131" y="105"/>
                    <a:pt x="131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31" y="105"/>
                    <a:pt x="131" y="105"/>
                  </a:cubicBezTo>
                  <a:close/>
                  <a:moveTo>
                    <a:pt x="141" y="111"/>
                  </a:move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09"/>
                    <a:pt x="141" y="109"/>
                    <a:pt x="141" y="109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1" y="111"/>
                    <a:pt x="141" y="111"/>
                    <a:pt x="141" y="111"/>
                  </a:cubicBezTo>
                  <a:close/>
                  <a:moveTo>
                    <a:pt x="141" y="112"/>
                  </a:moveTo>
                  <a:cubicBezTo>
                    <a:pt x="141" y="112"/>
                    <a:pt x="141" y="112"/>
                    <a:pt x="141" y="112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2"/>
                    <a:pt x="141" y="112"/>
                    <a:pt x="141" y="112"/>
                  </a:cubicBezTo>
                  <a:cubicBezTo>
                    <a:pt x="141" y="112"/>
                    <a:pt x="141" y="112"/>
                    <a:pt x="141" y="112"/>
                  </a:cubicBezTo>
                  <a:cubicBezTo>
                    <a:pt x="141" y="112"/>
                    <a:pt x="141" y="112"/>
                    <a:pt x="141" y="112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4" y="115"/>
                  </a:moveTo>
                  <a:cubicBezTo>
                    <a:pt x="134" y="115"/>
                    <a:pt x="134" y="115"/>
                    <a:pt x="134" y="115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5"/>
                    <a:pt x="135" y="115"/>
                    <a:pt x="135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lose/>
                  <a:moveTo>
                    <a:pt x="125" y="105"/>
                  </a:move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lose/>
                  <a:moveTo>
                    <a:pt x="122" y="102"/>
                  </a:move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lose/>
                  <a:moveTo>
                    <a:pt x="119" y="103"/>
                  </a:moveTo>
                  <a:cubicBezTo>
                    <a:pt x="120" y="103"/>
                    <a:pt x="120" y="103"/>
                    <a:pt x="120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lose/>
                  <a:moveTo>
                    <a:pt x="119" y="105"/>
                  </a:moveTo>
                  <a:cubicBezTo>
                    <a:pt x="119" y="105"/>
                    <a:pt x="119" y="105"/>
                    <a:pt x="119" y="105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lose/>
                  <a:moveTo>
                    <a:pt x="114" y="108"/>
                  </a:moveTo>
                  <a:cubicBezTo>
                    <a:pt x="115" y="108"/>
                    <a:pt x="115" y="108"/>
                    <a:pt x="115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8"/>
                    <a:pt x="114" y="108"/>
                    <a:pt x="114" y="108"/>
                  </a:cubicBezTo>
                  <a:close/>
                  <a:moveTo>
                    <a:pt x="110" y="125"/>
                  </a:moveTo>
                  <a:cubicBezTo>
                    <a:pt x="110" y="126"/>
                    <a:pt x="110" y="126"/>
                    <a:pt x="110" y="126"/>
                  </a:cubicBezTo>
                  <a:cubicBezTo>
                    <a:pt x="110" y="125"/>
                    <a:pt x="110" y="125"/>
                    <a:pt x="110" y="125"/>
                  </a:cubicBezTo>
                  <a:cubicBezTo>
                    <a:pt x="110" y="125"/>
                    <a:pt x="110" y="125"/>
                    <a:pt x="110" y="125"/>
                  </a:cubicBezTo>
                  <a:cubicBezTo>
                    <a:pt x="110" y="125"/>
                    <a:pt x="110" y="125"/>
                    <a:pt x="110" y="125"/>
                  </a:cubicBezTo>
                  <a:close/>
                  <a:moveTo>
                    <a:pt x="111" y="127"/>
                  </a:moveTo>
                  <a:cubicBezTo>
                    <a:pt x="111" y="127"/>
                    <a:pt x="111" y="127"/>
                    <a:pt x="111" y="127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lose/>
                  <a:moveTo>
                    <a:pt x="108" y="127"/>
                  </a:moveTo>
                  <a:cubicBezTo>
                    <a:pt x="108" y="126"/>
                    <a:pt x="108" y="126"/>
                    <a:pt x="108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8" y="127"/>
                    <a:pt x="108" y="127"/>
                    <a:pt x="108" y="127"/>
                  </a:cubicBezTo>
                  <a:cubicBezTo>
                    <a:pt x="108" y="127"/>
                    <a:pt x="108" y="127"/>
                    <a:pt x="108" y="127"/>
                  </a:cubicBezTo>
                  <a:close/>
                  <a:moveTo>
                    <a:pt x="110" y="127"/>
                  </a:moveTo>
                  <a:cubicBezTo>
                    <a:pt x="110" y="127"/>
                    <a:pt x="110" y="127"/>
                    <a:pt x="110" y="127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10" y="127"/>
                    <a:pt x="110" y="127"/>
                  </a:cubicBezTo>
                  <a:close/>
                  <a:moveTo>
                    <a:pt x="109" y="127"/>
                  </a:moveTo>
                  <a:cubicBezTo>
                    <a:pt x="109" y="127"/>
                    <a:pt x="109" y="127"/>
                    <a:pt x="109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09" y="127"/>
                    <a:pt x="109" y="127"/>
                    <a:pt x="109" y="127"/>
                  </a:cubicBezTo>
                  <a:close/>
                  <a:moveTo>
                    <a:pt x="138" y="156"/>
                  </a:move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6"/>
                    <a:pt x="138" y="156"/>
                    <a:pt x="138" y="156"/>
                  </a:cubicBezTo>
                  <a:close/>
                  <a:moveTo>
                    <a:pt x="148" y="158"/>
                  </a:moveTo>
                  <a:cubicBezTo>
                    <a:pt x="148" y="158"/>
                    <a:pt x="148" y="158"/>
                    <a:pt x="148" y="158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lose/>
                  <a:moveTo>
                    <a:pt x="148" y="158"/>
                  </a:move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lose/>
                  <a:moveTo>
                    <a:pt x="152" y="143"/>
                  </a:move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2" y="144"/>
                    <a:pt x="152" y="144"/>
                    <a:pt x="152" y="144"/>
                  </a:cubicBezTo>
                  <a:cubicBezTo>
                    <a:pt x="152" y="144"/>
                    <a:pt x="152" y="143"/>
                    <a:pt x="152" y="143"/>
                  </a:cubicBezTo>
                  <a:close/>
                  <a:moveTo>
                    <a:pt x="151" y="146"/>
                  </a:move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lose/>
                  <a:moveTo>
                    <a:pt x="153" y="150"/>
                  </a:moveTo>
                  <a:cubicBezTo>
                    <a:pt x="153" y="150"/>
                    <a:pt x="153" y="150"/>
                    <a:pt x="153" y="150"/>
                  </a:cubicBezTo>
                  <a:cubicBezTo>
                    <a:pt x="153" y="149"/>
                    <a:pt x="153" y="149"/>
                    <a:pt x="153" y="149"/>
                  </a:cubicBezTo>
                  <a:cubicBezTo>
                    <a:pt x="153" y="149"/>
                    <a:pt x="153" y="149"/>
                    <a:pt x="153" y="149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lose/>
                  <a:moveTo>
                    <a:pt x="152" y="150"/>
                  </a:moveTo>
                  <a:cubicBezTo>
                    <a:pt x="152" y="150"/>
                    <a:pt x="152" y="150"/>
                    <a:pt x="152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lose/>
                  <a:moveTo>
                    <a:pt x="149" y="155"/>
                  </a:move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lose/>
                  <a:moveTo>
                    <a:pt x="153" y="154"/>
                  </a:move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lose/>
                  <a:moveTo>
                    <a:pt x="149" y="146"/>
                  </a:moveTo>
                  <a:cubicBezTo>
                    <a:pt x="148" y="146"/>
                    <a:pt x="148" y="146"/>
                    <a:pt x="148" y="146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7" y="147"/>
                    <a:pt x="147" y="147"/>
                    <a:pt x="147" y="147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9"/>
                    <a:pt x="147" y="149"/>
                    <a:pt x="147" y="149"/>
                  </a:cubicBezTo>
                  <a:cubicBezTo>
                    <a:pt x="147" y="149"/>
                    <a:pt x="147" y="149"/>
                    <a:pt x="147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2"/>
                    <a:pt x="145" y="152"/>
                    <a:pt x="145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43" y="153"/>
                    <a:pt x="143" y="153"/>
                    <a:pt x="143" y="153"/>
                  </a:cubicBezTo>
                  <a:cubicBezTo>
                    <a:pt x="143" y="153"/>
                    <a:pt x="143" y="153"/>
                    <a:pt x="143" y="153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5" y="152"/>
                    <a:pt x="145" y="152"/>
                    <a:pt x="145" y="152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4"/>
                    <a:pt x="144" y="154"/>
                    <a:pt x="144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4"/>
                    <a:pt x="149" y="154"/>
                    <a:pt x="149" y="154"/>
                  </a:cubicBezTo>
                  <a:cubicBezTo>
                    <a:pt x="149" y="154"/>
                    <a:pt x="149" y="154"/>
                    <a:pt x="149" y="154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8"/>
                    <a:pt x="150" y="158"/>
                    <a:pt x="150" y="158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2"/>
                    <a:pt x="155" y="152"/>
                    <a:pt x="155" y="152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2"/>
                    <a:pt x="151" y="152"/>
                    <a:pt x="151" y="152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8" y="150"/>
                    <a:pt x="148" y="150"/>
                    <a:pt x="148" y="150"/>
                  </a:cubicBezTo>
                  <a:cubicBezTo>
                    <a:pt x="148" y="150"/>
                    <a:pt x="148" y="150"/>
                    <a:pt x="148" y="150"/>
                  </a:cubicBezTo>
                  <a:cubicBezTo>
                    <a:pt x="148" y="149"/>
                    <a:pt x="148" y="149"/>
                    <a:pt x="148" y="149"/>
                  </a:cubicBezTo>
                  <a:cubicBezTo>
                    <a:pt x="148" y="149"/>
                    <a:pt x="148" y="149"/>
                    <a:pt x="148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7"/>
                    <a:pt x="149" y="147"/>
                    <a:pt x="149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2" y="145"/>
                    <a:pt x="152" y="145"/>
                    <a:pt x="152" y="145"/>
                  </a:cubicBezTo>
                  <a:cubicBezTo>
                    <a:pt x="152" y="145"/>
                    <a:pt x="152" y="145"/>
                    <a:pt x="152" y="145"/>
                  </a:cubicBezTo>
                  <a:cubicBezTo>
                    <a:pt x="152" y="144"/>
                    <a:pt x="152" y="144"/>
                    <a:pt x="152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lose/>
                  <a:moveTo>
                    <a:pt x="135" y="150"/>
                  </a:moveTo>
                  <a:cubicBezTo>
                    <a:pt x="135" y="150"/>
                    <a:pt x="135" y="150"/>
                    <a:pt x="135" y="150"/>
                  </a:cubicBezTo>
                  <a:cubicBezTo>
                    <a:pt x="136" y="151"/>
                    <a:pt x="136" y="151"/>
                    <a:pt x="136" y="151"/>
                  </a:cubicBezTo>
                  <a:cubicBezTo>
                    <a:pt x="137" y="151"/>
                    <a:pt x="137" y="151"/>
                    <a:pt x="137" y="151"/>
                  </a:cubicBezTo>
                  <a:cubicBezTo>
                    <a:pt x="137" y="151"/>
                    <a:pt x="137" y="151"/>
                    <a:pt x="137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9" y="151"/>
                    <a:pt x="139" y="151"/>
                    <a:pt x="139" y="151"/>
                  </a:cubicBezTo>
                  <a:cubicBezTo>
                    <a:pt x="139" y="151"/>
                    <a:pt x="139" y="151"/>
                    <a:pt x="139" y="151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5" y="149"/>
                    <a:pt x="135" y="149"/>
                    <a:pt x="135" y="149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9"/>
                    <a:pt x="134" y="149"/>
                    <a:pt x="134" y="149"/>
                  </a:cubicBezTo>
                  <a:cubicBezTo>
                    <a:pt x="134" y="149"/>
                    <a:pt x="134" y="149"/>
                    <a:pt x="134" y="149"/>
                  </a:cubicBezTo>
                  <a:cubicBezTo>
                    <a:pt x="135" y="149"/>
                    <a:pt x="135" y="149"/>
                    <a:pt x="135" y="149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5" y="150"/>
                    <a:pt x="135" y="150"/>
                  </a:cubicBezTo>
                  <a:close/>
                  <a:moveTo>
                    <a:pt x="135" y="160"/>
                  </a:moveTo>
                  <a:cubicBezTo>
                    <a:pt x="135" y="159"/>
                    <a:pt x="135" y="159"/>
                    <a:pt x="135" y="159"/>
                  </a:cubicBezTo>
                  <a:cubicBezTo>
                    <a:pt x="135" y="159"/>
                    <a:pt x="135" y="159"/>
                    <a:pt x="135" y="159"/>
                  </a:cubicBezTo>
                  <a:cubicBezTo>
                    <a:pt x="134" y="159"/>
                    <a:pt x="134" y="159"/>
                    <a:pt x="134" y="159"/>
                  </a:cubicBezTo>
                  <a:cubicBezTo>
                    <a:pt x="134" y="159"/>
                    <a:pt x="134" y="159"/>
                    <a:pt x="134" y="159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5" y="160"/>
                    <a:pt x="135" y="160"/>
                    <a:pt x="135" y="160"/>
                  </a:cubicBezTo>
                  <a:close/>
                  <a:moveTo>
                    <a:pt x="138" y="161"/>
                  </a:moveTo>
                  <a:cubicBezTo>
                    <a:pt x="138" y="161"/>
                    <a:pt x="138" y="161"/>
                    <a:pt x="138" y="161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37" y="159"/>
                    <a:pt x="137" y="159"/>
                    <a:pt x="137" y="159"/>
                  </a:cubicBezTo>
                  <a:cubicBezTo>
                    <a:pt x="138" y="159"/>
                    <a:pt x="138" y="159"/>
                    <a:pt x="138" y="159"/>
                  </a:cubicBezTo>
                  <a:cubicBezTo>
                    <a:pt x="138" y="159"/>
                    <a:pt x="138" y="159"/>
                    <a:pt x="138" y="159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8"/>
                    <a:pt x="140" y="158"/>
                    <a:pt x="140" y="158"/>
                  </a:cubicBezTo>
                  <a:cubicBezTo>
                    <a:pt x="140" y="158"/>
                    <a:pt x="140" y="158"/>
                    <a:pt x="140" y="158"/>
                  </a:cubicBezTo>
                  <a:cubicBezTo>
                    <a:pt x="139" y="159"/>
                    <a:pt x="139" y="159"/>
                    <a:pt x="139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lose/>
                  <a:moveTo>
                    <a:pt x="106" y="136"/>
                  </a:move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lose/>
                  <a:moveTo>
                    <a:pt x="106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lose/>
                  <a:moveTo>
                    <a:pt x="102" y="137"/>
                  </a:moveTo>
                  <a:cubicBezTo>
                    <a:pt x="102" y="137"/>
                    <a:pt x="102" y="137"/>
                    <a:pt x="102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4" y="137"/>
                    <a:pt x="104" y="137"/>
                    <a:pt x="104" y="137"/>
                  </a:cubicBezTo>
                  <a:cubicBezTo>
                    <a:pt x="104" y="137"/>
                    <a:pt x="104" y="137"/>
                    <a:pt x="104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137"/>
                    <a:pt x="102" y="137"/>
                    <a:pt x="102" y="137"/>
                  </a:cubicBezTo>
                  <a:close/>
                  <a:moveTo>
                    <a:pt x="16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16" y="138"/>
                  </a:moveTo>
                  <a:cubicBezTo>
                    <a:pt x="15" y="137"/>
                    <a:pt x="15" y="137"/>
                    <a:pt x="15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3" y="136"/>
                  </a:move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3" y="136"/>
                    <a:pt x="13" y="136"/>
                    <a:pt x="13" y="136"/>
                  </a:cubicBezTo>
                  <a:close/>
                  <a:moveTo>
                    <a:pt x="10" y="134"/>
                  </a:move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8"/>
                    <a:pt x="11" y="138"/>
                    <a:pt x="11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3" y="138"/>
                    <a:pt x="13" y="138"/>
                    <a:pt x="13" y="138"/>
                  </a:cubicBezTo>
                  <a:cubicBezTo>
                    <a:pt x="13" y="139"/>
                    <a:pt x="13" y="139"/>
                    <a:pt x="13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6" y="143"/>
                    <a:pt x="16" y="143"/>
                    <a:pt x="16" y="143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5" y="138"/>
                    <a:pt x="15" y="138"/>
                    <a:pt x="15" y="138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lose/>
                  <a:moveTo>
                    <a:pt x="14" y="135"/>
                  </a:move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lose/>
                  <a:moveTo>
                    <a:pt x="12" y="130"/>
                  </a:moveTo>
                  <a:cubicBezTo>
                    <a:pt x="12" y="130"/>
                    <a:pt x="12" y="130"/>
                    <a:pt x="12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lose/>
                  <a:moveTo>
                    <a:pt x="12" y="131"/>
                  </a:move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1"/>
                    <a:pt x="12" y="131"/>
                    <a:pt x="12" y="131"/>
                  </a:cubicBezTo>
                  <a:close/>
                  <a:moveTo>
                    <a:pt x="12" y="131"/>
                  </a:move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lose/>
                  <a:moveTo>
                    <a:pt x="13" y="130"/>
                  </a:move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lose/>
                  <a:moveTo>
                    <a:pt x="12" y="128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lose/>
                  <a:moveTo>
                    <a:pt x="11" y="128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1" y="128"/>
                    <a:pt x="11" y="128"/>
                    <a:pt x="11" y="128"/>
                  </a:cubicBezTo>
                  <a:close/>
                  <a:moveTo>
                    <a:pt x="11" y="127"/>
                  </a:moveTo>
                  <a:cubicBezTo>
                    <a:pt x="11" y="127"/>
                    <a:pt x="11" y="127"/>
                    <a:pt x="11" y="127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lose/>
                  <a:moveTo>
                    <a:pt x="11" y="125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lose/>
                  <a:moveTo>
                    <a:pt x="12" y="125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lose/>
                  <a:moveTo>
                    <a:pt x="9" y="124"/>
                  </a:move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3"/>
                    <a:pt x="9" y="124"/>
                  </a:cubicBezTo>
                  <a:close/>
                  <a:moveTo>
                    <a:pt x="10" y="123"/>
                  </a:moveTo>
                  <a:cubicBezTo>
                    <a:pt x="10" y="124"/>
                    <a:pt x="10" y="124"/>
                    <a:pt x="10" y="124"/>
                  </a:cubicBezTo>
                  <a:cubicBezTo>
                    <a:pt x="10" y="124"/>
                    <a:pt x="10" y="124"/>
                    <a:pt x="10" y="124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lose/>
                  <a:moveTo>
                    <a:pt x="9" y="123"/>
                  </a:move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5" y="123"/>
                  </a:moveTo>
                  <a:cubicBezTo>
                    <a:pt x="5" y="122"/>
                    <a:pt x="5" y="122"/>
                    <a:pt x="5" y="122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7" y="123"/>
                    <a:pt x="7" y="123"/>
                    <a:pt x="7" y="123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3"/>
                    <a:pt x="7" y="123"/>
                    <a:pt x="7" y="123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6" y="129"/>
                    <a:pt x="6" y="129"/>
                    <a:pt x="6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10" y="121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lose/>
                  <a:moveTo>
                    <a:pt x="53" y="57"/>
                  </a:move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49" y="53"/>
                  </a:move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3"/>
                    <a:pt x="49" y="53"/>
                    <a:pt x="49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3" y="56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2" y="57"/>
                    <a:pt x="32" y="57"/>
                  </a:cubicBezTo>
                  <a:close/>
                  <a:moveTo>
                    <a:pt x="32" y="58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32" y="60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60"/>
                    <a:pt x="32" y="60"/>
                    <a:pt x="32" y="60"/>
                  </a:cubicBezTo>
                  <a:close/>
                  <a:moveTo>
                    <a:pt x="28" y="52"/>
                  </a:move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3" y="84"/>
                    <a:pt x="93" y="84"/>
                    <a:pt x="93" y="84"/>
                  </a:cubicBezTo>
                  <a:cubicBezTo>
                    <a:pt x="94" y="84"/>
                    <a:pt x="94" y="84"/>
                    <a:pt x="94" y="84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1" y="77"/>
                    <a:pt x="101" y="77"/>
                    <a:pt x="101" y="77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3"/>
                    <a:pt x="101" y="73"/>
                    <a:pt x="101" y="73"/>
                  </a:cubicBezTo>
                  <a:cubicBezTo>
                    <a:pt x="101" y="73"/>
                    <a:pt x="101" y="73"/>
                    <a:pt x="101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3" y="72"/>
                    <a:pt x="103" y="72"/>
                    <a:pt x="103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7"/>
                    <a:pt x="99" y="67"/>
                    <a:pt x="99" y="67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01" y="67"/>
                    <a:pt x="101" y="67"/>
                    <a:pt x="101" y="67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5" y="70"/>
                    <a:pt x="105" y="70"/>
                    <a:pt x="105" y="70"/>
                  </a:cubicBezTo>
                  <a:cubicBezTo>
                    <a:pt x="105" y="70"/>
                    <a:pt x="105" y="70"/>
                    <a:pt x="105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10" y="76"/>
                    <a:pt x="110" y="76"/>
                    <a:pt x="110" y="76"/>
                  </a:cubicBezTo>
                  <a:cubicBezTo>
                    <a:pt x="110" y="76"/>
                    <a:pt x="110" y="76"/>
                    <a:pt x="110" y="76"/>
                  </a:cubicBezTo>
                  <a:cubicBezTo>
                    <a:pt x="110" y="77"/>
                    <a:pt x="110" y="77"/>
                    <a:pt x="110" y="77"/>
                  </a:cubicBezTo>
                  <a:cubicBezTo>
                    <a:pt x="110" y="77"/>
                    <a:pt x="110" y="77"/>
                    <a:pt x="110" y="77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9"/>
                    <a:pt x="110" y="79"/>
                    <a:pt x="110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3" y="81"/>
                    <a:pt x="113" y="81"/>
                    <a:pt x="113" y="81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4" y="79"/>
                    <a:pt x="114" y="79"/>
                    <a:pt x="114" y="79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9" y="87"/>
                    <a:pt x="119" y="87"/>
                    <a:pt x="119" y="87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7"/>
                    <a:pt x="118" y="87"/>
                    <a:pt x="118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9"/>
                    <a:pt x="111" y="89"/>
                    <a:pt x="111" y="89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1"/>
                    <a:pt x="105" y="91"/>
                    <a:pt x="105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7"/>
                    <a:pt x="98" y="97"/>
                    <a:pt x="98" y="97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8" y="106"/>
                    <a:pt x="88" y="106"/>
                    <a:pt x="88" y="106"/>
                  </a:cubicBezTo>
                  <a:cubicBezTo>
                    <a:pt x="88" y="106"/>
                    <a:pt x="88" y="106"/>
                    <a:pt x="88" y="106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86" y="110"/>
                    <a:pt x="86" y="110"/>
                    <a:pt x="86" y="110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4" y="113"/>
                    <a:pt x="84" y="113"/>
                    <a:pt x="84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5"/>
                    <a:pt x="84" y="115"/>
                    <a:pt x="84" y="115"/>
                  </a:cubicBezTo>
                  <a:cubicBezTo>
                    <a:pt x="84" y="115"/>
                    <a:pt x="84" y="115"/>
                    <a:pt x="84" y="115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2" y="117"/>
                    <a:pt x="82" y="117"/>
                    <a:pt x="82" y="117"/>
                  </a:cubicBezTo>
                  <a:cubicBezTo>
                    <a:pt x="82" y="118"/>
                    <a:pt x="82" y="118"/>
                    <a:pt x="82" y="118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6" y="119"/>
                    <a:pt x="86" y="119"/>
                    <a:pt x="86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87" y="121"/>
                    <a:pt x="87" y="121"/>
                    <a:pt x="87" y="121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4" y="122"/>
                    <a:pt x="84" y="122"/>
                    <a:pt x="84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8" y="121"/>
                    <a:pt x="88" y="121"/>
                    <a:pt x="88" y="121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91" y="123"/>
                    <a:pt x="91" y="123"/>
                    <a:pt x="91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5" y="126"/>
                    <a:pt x="95" y="126"/>
                    <a:pt x="95" y="126"/>
                  </a:cubicBezTo>
                  <a:cubicBezTo>
                    <a:pt x="95" y="126"/>
                    <a:pt x="95" y="126"/>
                    <a:pt x="95" y="126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2" y="130"/>
                    <a:pt x="102" y="130"/>
                    <a:pt x="102" y="130"/>
                  </a:cubicBezTo>
                  <a:cubicBezTo>
                    <a:pt x="102" y="130"/>
                    <a:pt x="102" y="130"/>
                    <a:pt x="102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1"/>
                    <a:pt x="103" y="131"/>
                    <a:pt x="103" y="131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2" y="133"/>
                    <a:pt x="102" y="133"/>
                    <a:pt x="102" y="133"/>
                  </a:cubicBezTo>
                  <a:cubicBezTo>
                    <a:pt x="102" y="133"/>
                    <a:pt x="102" y="133"/>
                    <a:pt x="102" y="133"/>
                  </a:cubicBezTo>
                  <a:cubicBezTo>
                    <a:pt x="103" y="133"/>
                    <a:pt x="103" y="133"/>
                    <a:pt x="103" y="133"/>
                  </a:cubicBezTo>
                  <a:cubicBezTo>
                    <a:pt x="103" y="134"/>
                    <a:pt x="103" y="134"/>
                    <a:pt x="103" y="134"/>
                  </a:cubicBezTo>
                  <a:cubicBezTo>
                    <a:pt x="102" y="135"/>
                    <a:pt x="102" y="135"/>
                    <a:pt x="102" y="135"/>
                  </a:cubicBezTo>
                  <a:cubicBezTo>
                    <a:pt x="102" y="135"/>
                    <a:pt x="102" y="135"/>
                    <a:pt x="102" y="135"/>
                  </a:cubicBezTo>
                  <a:cubicBezTo>
                    <a:pt x="102" y="136"/>
                    <a:pt x="102" y="136"/>
                    <a:pt x="102" y="136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8" y="140"/>
                    <a:pt x="108" y="140"/>
                    <a:pt x="108" y="140"/>
                  </a:cubicBezTo>
                  <a:cubicBezTo>
                    <a:pt x="108" y="140"/>
                    <a:pt x="108" y="140"/>
                    <a:pt x="108" y="140"/>
                  </a:cubicBezTo>
                  <a:cubicBezTo>
                    <a:pt x="108" y="139"/>
                    <a:pt x="108" y="139"/>
                    <a:pt x="108" y="139"/>
                  </a:cubicBezTo>
                  <a:cubicBezTo>
                    <a:pt x="108" y="139"/>
                    <a:pt x="108" y="139"/>
                    <a:pt x="108" y="139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09" y="131"/>
                    <a:pt x="109" y="131"/>
                    <a:pt x="109" y="131"/>
                  </a:cubicBezTo>
                  <a:cubicBezTo>
                    <a:pt x="109" y="131"/>
                    <a:pt x="109" y="131"/>
                    <a:pt x="109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4" y="129"/>
                    <a:pt x="114" y="129"/>
                    <a:pt x="114" y="129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5" y="123"/>
                    <a:pt x="115" y="123"/>
                    <a:pt x="115" y="123"/>
                  </a:cubicBezTo>
                  <a:cubicBezTo>
                    <a:pt x="115" y="122"/>
                    <a:pt x="115" y="122"/>
                    <a:pt x="115" y="122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20"/>
                    <a:pt x="115" y="120"/>
                    <a:pt x="115" y="120"/>
                  </a:cubicBezTo>
                  <a:cubicBezTo>
                    <a:pt x="114" y="120"/>
                    <a:pt x="114" y="120"/>
                    <a:pt x="114" y="120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6" y="117"/>
                    <a:pt x="116" y="117"/>
                    <a:pt x="116" y="117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8" y="112"/>
                    <a:pt x="118" y="112"/>
                    <a:pt x="118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6"/>
                    <a:pt x="118" y="106"/>
                    <a:pt x="118" y="106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2" y="106"/>
                    <a:pt x="122" y="106"/>
                    <a:pt x="122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2" y="106"/>
                    <a:pt x="122" y="106"/>
                    <a:pt x="122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8" y="108"/>
                    <a:pt x="128" y="108"/>
                    <a:pt x="128" y="108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7" y="109"/>
                    <a:pt x="127" y="109"/>
                    <a:pt x="127" y="109"/>
                  </a:cubicBezTo>
                  <a:cubicBezTo>
                    <a:pt x="128" y="108"/>
                    <a:pt x="128" y="108"/>
                    <a:pt x="128" y="108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9" y="109"/>
                    <a:pt x="129" y="109"/>
                    <a:pt x="129" y="109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30" y="111"/>
                    <a:pt x="130" y="111"/>
                    <a:pt x="130" y="111"/>
                  </a:cubicBezTo>
                  <a:cubicBezTo>
                    <a:pt x="130" y="111"/>
                    <a:pt x="130" y="111"/>
                    <a:pt x="130" y="111"/>
                  </a:cubicBezTo>
                  <a:cubicBezTo>
                    <a:pt x="130" y="112"/>
                    <a:pt x="130" y="112"/>
                    <a:pt x="130" y="112"/>
                  </a:cubicBezTo>
                  <a:cubicBezTo>
                    <a:pt x="131" y="111"/>
                    <a:pt x="131" y="111"/>
                    <a:pt x="131" y="111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13"/>
                    <a:pt x="131" y="113"/>
                    <a:pt x="131" y="113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7"/>
                    <a:pt x="131" y="117"/>
                    <a:pt x="131" y="117"/>
                  </a:cubicBezTo>
                  <a:cubicBezTo>
                    <a:pt x="131" y="117"/>
                    <a:pt x="131" y="117"/>
                    <a:pt x="131" y="117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0" y="119"/>
                    <a:pt x="130" y="119"/>
                    <a:pt x="130" y="119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2" y="122"/>
                    <a:pt x="132" y="122"/>
                    <a:pt x="132" y="122"/>
                  </a:cubicBezTo>
                  <a:cubicBezTo>
                    <a:pt x="132" y="122"/>
                    <a:pt x="132" y="122"/>
                    <a:pt x="132" y="122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4" y="122"/>
                    <a:pt x="134" y="122"/>
                    <a:pt x="134" y="122"/>
                  </a:cubicBezTo>
                  <a:cubicBezTo>
                    <a:pt x="134" y="122"/>
                    <a:pt x="134" y="122"/>
                    <a:pt x="134" y="122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2"/>
                    <a:pt x="135" y="122"/>
                    <a:pt x="135" y="122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6" y="121"/>
                    <a:pt x="136" y="121"/>
                    <a:pt x="136" y="121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6"/>
                    <a:pt x="139" y="116"/>
                    <a:pt x="139" y="116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3" y="122"/>
                    <a:pt x="143" y="122"/>
                    <a:pt x="143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1" y="124"/>
                    <a:pt x="141" y="124"/>
                    <a:pt x="141" y="124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2" y="125"/>
                    <a:pt x="142" y="125"/>
                    <a:pt x="142" y="125"/>
                  </a:cubicBezTo>
                  <a:cubicBezTo>
                    <a:pt x="142" y="125"/>
                    <a:pt x="142" y="125"/>
                    <a:pt x="142" y="125"/>
                  </a:cubicBezTo>
                  <a:cubicBezTo>
                    <a:pt x="142" y="126"/>
                    <a:pt x="142" y="126"/>
                    <a:pt x="142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4" y="130"/>
                    <a:pt x="144" y="130"/>
                    <a:pt x="144" y="130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4" y="134"/>
                    <a:pt x="144" y="134"/>
                    <a:pt x="144" y="134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8" y="135"/>
                    <a:pt x="148" y="135"/>
                    <a:pt x="148" y="135"/>
                  </a:cubicBezTo>
                  <a:cubicBezTo>
                    <a:pt x="148" y="134"/>
                    <a:pt x="148" y="134"/>
                    <a:pt x="148" y="134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50" y="135"/>
                    <a:pt x="150" y="135"/>
                    <a:pt x="150" y="135"/>
                  </a:cubicBezTo>
                  <a:cubicBezTo>
                    <a:pt x="150" y="135"/>
                    <a:pt x="150" y="135"/>
                    <a:pt x="150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6" y="136"/>
                    <a:pt x="146" y="136"/>
                    <a:pt x="146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3" y="139"/>
                    <a:pt x="143" y="139"/>
                    <a:pt x="143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5" y="138"/>
                    <a:pt x="145" y="138"/>
                    <a:pt x="145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50" y="136"/>
                    <a:pt x="150" y="136"/>
                    <a:pt x="150" y="136"/>
                  </a:cubicBezTo>
                  <a:cubicBezTo>
                    <a:pt x="150" y="137"/>
                    <a:pt x="150" y="137"/>
                    <a:pt x="150" y="137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1" y="139"/>
                    <a:pt x="151" y="139"/>
                    <a:pt x="151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0" y="141"/>
                    <a:pt x="150" y="141"/>
                    <a:pt x="150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7" y="145"/>
                    <a:pt x="147" y="145"/>
                    <a:pt x="147" y="145"/>
                  </a:cubicBezTo>
                  <a:cubicBezTo>
                    <a:pt x="147" y="145"/>
                    <a:pt x="147" y="145"/>
                    <a:pt x="147" y="145"/>
                  </a:cubicBezTo>
                  <a:cubicBezTo>
                    <a:pt x="146" y="144"/>
                    <a:pt x="146" y="144"/>
                    <a:pt x="146" y="144"/>
                  </a:cubicBezTo>
                  <a:cubicBezTo>
                    <a:pt x="146" y="144"/>
                    <a:pt x="146" y="144"/>
                    <a:pt x="146" y="144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4" y="146"/>
                    <a:pt x="144" y="146"/>
                    <a:pt x="144" y="146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2" y="148"/>
                    <a:pt x="142" y="148"/>
                    <a:pt x="142" y="148"/>
                  </a:cubicBezTo>
                  <a:cubicBezTo>
                    <a:pt x="142" y="148"/>
                    <a:pt x="142" y="148"/>
                    <a:pt x="142" y="148"/>
                  </a:cubicBezTo>
                  <a:cubicBezTo>
                    <a:pt x="141" y="148"/>
                    <a:pt x="141" y="148"/>
                    <a:pt x="141" y="148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48"/>
                    <a:pt x="141" y="148"/>
                    <a:pt x="141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7"/>
                    <a:pt x="139" y="147"/>
                    <a:pt x="139" y="147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8" y="148"/>
                    <a:pt x="138" y="148"/>
                    <a:pt x="138" y="148"/>
                  </a:cubicBezTo>
                  <a:cubicBezTo>
                    <a:pt x="138" y="147"/>
                    <a:pt x="138" y="147"/>
                    <a:pt x="138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1" y="146"/>
                    <a:pt x="131" y="146"/>
                    <a:pt x="131" y="146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8"/>
                    <a:pt x="129" y="148"/>
                    <a:pt x="129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5" y="150"/>
                    <a:pt x="125" y="150"/>
                    <a:pt x="125" y="150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4" y="152"/>
                    <a:pt x="124" y="152"/>
                    <a:pt x="124" y="152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1" y="154"/>
                    <a:pt x="121" y="154"/>
                    <a:pt x="121" y="154"/>
                  </a:cubicBezTo>
                  <a:cubicBezTo>
                    <a:pt x="121" y="154"/>
                    <a:pt x="121" y="154"/>
                    <a:pt x="121" y="154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0" y="155"/>
                    <a:pt x="120" y="155"/>
                    <a:pt x="120" y="155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3" y="153"/>
                    <a:pt x="123" y="153"/>
                    <a:pt x="123" y="153"/>
                  </a:cubicBezTo>
                  <a:cubicBezTo>
                    <a:pt x="125" y="152"/>
                    <a:pt x="125" y="152"/>
                    <a:pt x="125" y="152"/>
                  </a:cubicBezTo>
                  <a:cubicBezTo>
                    <a:pt x="126" y="152"/>
                    <a:pt x="126" y="152"/>
                    <a:pt x="126" y="152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8" y="151"/>
                    <a:pt x="128" y="151"/>
                    <a:pt x="128" y="151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30" y="151"/>
                    <a:pt x="130" y="151"/>
                    <a:pt x="130" y="151"/>
                  </a:cubicBezTo>
                  <a:cubicBezTo>
                    <a:pt x="130" y="150"/>
                    <a:pt x="130" y="150"/>
                    <a:pt x="130" y="150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29" y="153"/>
                    <a:pt x="129" y="153"/>
                    <a:pt x="129" y="153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30" y="154"/>
                    <a:pt x="130" y="154"/>
                    <a:pt x="130" y="154"/>
                  </a:cubicBezTo>
                  <a:cubicBezTo>
                    <a:pt x="130" y="154"/>
                    <a:pt x="130" y="154"/>
                    <a:pt x="130" y="154"/>
                  </a:cubicBezTo>
                  <a:cubicBezTo>
                    <a:pt x="130" y="155"/>
                    <a:pt x="130" y="155"/>
                    <a:pt x="130" y="155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5"/>
                    <a:pt x="132" y="155"/>
                    <a:pt x="132" y="155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2" y="159"/>
                    <a:pt x="132" y="159"/>
                    <a:pt x="132" y="159"/>
                  </a:cubicBezTo>
                  <a:cubicBezTo>
                    <a:pt x="132" y="159"/>
                    <a:pt x="132" y="159"/>
                    <a:pt x="132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7" y="162"/>
                    <a:pt x="137" y="162"/>
                    <a:pt x="137" y="162"/>
                  </a:cubicBezTo>
                  <a:cubicBezTo>
                    <a:pt x="137" y="162"/>
                    <a:pt x="137" y="162"/>
                    <a:pt x="137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5" y="162"/>
                    <a:pt x="135" y="162"/>
                    <a:pt x="135" y="162"/>
                  </a:cubicBezTo>
                  <a:cubicBezTo>
                    <a:pt x="135" y="162"/>
                    <a:pt x="135" y="162"/>
                    <a:pt x="135" y="162"/>
                  </a:cubicBezTo>
                  <a:cubicBezTo>
                    <a:pt x="134" y="163"/>
                    <a:pt x="134" y="163"/>
                    <a:pt x="134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1" y="163"/>
                    <a:pt x="131" y="163"/>
                    <a:pt x="131" y="163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1" y="164"/>
                    <a:pt x="131" y="164"/>
                    <a:pt x="131" y="164"/>
                  </a:cubicBezTo>
                  <a:cubicBezTo>
                    <a:pt x="130" y="165"/>
                    <a:pt x="130" y="165"/>
                    <a:pt x="130" y="165"/>
                  </a:cubicBezTo>
                  <a:cubicBezTo>
                    <a:pt x="130" y="165"/>
                    <a:pt x="130" y="165"/>
                    <a:pt x="130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7" y="164"/>
                    <a:pt x="127" y="164"/>
                    <a:pt x="127" y="164"/>
                  </a:cubicBezTo>
                  <a:cubicBezTo>
                    <a:pt x="127" y="164"/>
                    <a:pt x="127" y="164"/>
                    <a:pt x="127" y="164"/>
                  </a:cubicBezTo>
                  <a:cubicBezTo>
                    <a:pt x="128" y="163"/>
                    <a:pt x="128" y="163"/>
                    <a:pt x="128" y="163"/>
                  </a:cubicBezTo>
                  <a:cubicBezTo>
                    <a:pt x="128" y="163"/>
                    <a:pt x="128" y="163"/>
                    <a:pt x="128" y="163"/>
                  </a:cubicBezTo>
                  <a:cubicBezTo>
                    <a:pt x="128" y="162"/>
                    <a:pt x="128" y="162"/>
                    <a:pt x="128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30" y="162"/>
                    <a:pt x="130" y="162"/>
                    <a:pt x="130" y="162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9" y="160"/>
                    <a:pt x="129" y="160"/>
                    <a:pt x="129" y="160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0"/>
                    <a:pt x="126" y="160"/>
                    <a:pt x="126" y="160"/>
                  </a:cubicBezTo>
                  <a:cubicBezTo>
                    <a:pt x="126" y="160"/>
                    <a:pt x="126" y="160"/>
                    <a:pt x="126" y="160"/>
                  </a:cubicBezTo>
                  <a:cubicBezTo>
                    <a:pt x="125" y="160"/>
                    <a:pt x="125" y="160"/>
                    <a:pt x="125" y="160"/>
                  </a:cubicBezTo>
                  <a:cubicBezTo>
                    <a:pt x="125" y="160"/>
                    <a:pt x="125" y="160"/>
                    <a:pt x="125" y="160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24" y="155"/>
                    <a:pt x="124" y="155"/>
                    <a:pt x="124" y="155"/>
                  </a:cubicBezTo>
                  <a:cubicBezTo>
                    <a:pt x="124" y="155"/>
                    <a:pt x="124" y="155"/>
                    <a:pt x="124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2" y="155"/>
                    <a:pt x="122" y="155"/>
                    <a:pt x="122" y="155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8"/>
                    <a:pt x="121" y="158"/>
                    <a:pt x="121" y="158"/>
                  </a:cubicBezTo>
                  <a:cubicBezTo>
                    <a:pt x="121" y="158"/>
                    <a:pt x="121" y="158"/>
                    <a:pt x="121" y="158"/>
                  </a:cubicBezTo>
                  <a:cubicBezTo>
                    <a:pt x="120" y="159"/>
                    <a:pt x="120" y="159"/>
                    <a:pt x="120" y="159"/>
                  </a:cubicBezTo>
                  <a:cubicBezTo>
                    <a:pt x="120" y="159"/>
                    <a:pt x="120" y="159"/>
                    <a:pt x="120" y="159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11" y="161"/>
                    <a:pt x="111" y="161"/>
                    <a:pt x="111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08" y="163"/>
                    <a:pt x="108" y="163"/>
                    <a:pt x="108" y="163"/>
                  </a:cubicBezTo>
                  <a:cubicBezTo>
                    <a:pt x="108" y="163"/>
                    <a:pt x="108" y="163"/>
                    <a:pt x="108" y="163"/>
                  </a:cubicBezTo>
                  <a:cubicBezTo>
                    <a:pt x="107" y="163"/>
                    <a:pt x="107" y="163"/>
                    <a:pt x="107" y="163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0" y="167"/>
                    <a:pt x="100" y="167"/>
                    <a:pt x="100" y="167"/>
                  </a:cubicBezTo>
                  <a:cubicBezTo>
                    <a:pt x="93" y="169"/>
                    <a:pt x="93" y="169"/>
                    <a:pt x="93" y="169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5" y="163"/>
                    <a:pt x="95" y="163"/>
                    <a:pt x="95" y="163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6"/>
                    <a:pt x="92" y="156"/>
                    <a:pt x="92" y="156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84" y="151"/>
                    <a:pt x="84" y="151"/>
                    <a:pt x="84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79" y="150"/>
                    <a:pt x="79" y="150"/>
                    <a:pt x="79" y="150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4" y="147"/>
                    <a:pt x="74" y="147"/>
                    <a:pt x="74" y="147"/>
                  </a:cubicBezTo>
                  <a:cubicBezTo>
                    <a:pt x="74" y="147"/>
                    <a:pt x="74" y="147"/>
                    <a:pt x="74" y="147"/>
                  </a:cubicBezTo>
                  <a:cubicBezTo>
                    <a:pt x="73" y="147"/>
                    <a:pt x="73" y="147"/>
                    <a:pt x="73" y="147"/>
                  </a:cubicBezTo>
                  <a:lnTo>
                    <a:pt x="19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0" name="Freeform 170">
              <a:extLst>
                <a:ext uri="{FF2B5EF4-FFF2-40B4-BE49-F238E27FC236}">
                  <a16:creationId xmlns:a16="http://schemas.microsoft.com/office/drawing/2014/main" id="{2BD8A75B-4976-413E-A4AB-B427710852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3176" y="2741759"/>
              <a:ext cx="1111151" cy="846537"/>
            </a:xfrm>
            <a:custGeom>
              <a:avLst/>
              <a:gdLst>
                <a:gd name="T0" fmla="*/ 99 w 113"/>
                <a:gd name="T1" fmla="*/ 69 h 86"/>
                <a:gd name="T2" fmla="*/ 111 w 113"/>
                <a:gd name="T3" fmla="*/ 14 h 86"/>
                <a:gd name="T4" fmla="*/ 104 w 113"/>
                <a:gd name="T5" fmla="*/ 11 h 86"/>
                <a:gd name="T6" fmla="*/ 99 w 113"/>
                <a:gd name="T7" fmla="*/ 5 h 86"/>
                <a:gd name="T8" fmla="*/ 93 w 113"/>
                <a:gd name="T9" fmla="*/ 3 h 86"/>
                <a:gd name="T10" fmla="*/ 88 w 113"/>
                <a:gd name="T11" fmla="*/ 1 h 86"/>
                <a:gd name="T12" fmla="*/ 79 w 113"/>
                <a:gd name="T13" fmla="*/ 4 h 86"/>
                <a:gd name="T14" fmla="*/ 69 w 113"/>
                <a:gd name="T15" fmla="*/ 19 h 86"/>
                <a:gd name="T16" fmla="*/ 67 w 113"/>
                <a:gd name="T17" fmla="*/ 23 h 86"/>
                <a:gd name="T18" fmla="*/ 64 w 113"/>
                <a:gd name="T19" fmla="*/ 20 h 86"/>
                <a:gd name="T20" fmla="*/ 57 w 113"/>
                <a:gd name="T21" fmla="*/ 26 h 86"/>
                <a:gd name="T22" fmla="*/ 60 w 113"/>
                <a:gd name="T23" fmla="*/ 31 h 86"/>
                <a:gd name="T24" fmla="*/ 61 w 113"/>
                <a:gd name="T25" fmla="*/ 36 h 86"/>
                <a:gd name="T26" fmla="*/ 49 w 113"/>
                <a:gd name="T27" fmla="*/ 40 h 86"/>
                <a:gd name="T28" fmla="*/ 49 w 113"/>
                <a:gd name="T29" fmla="*/ 46 h 86"/>
                <a:gd name="T30" fmla="*/ 48 w 113"/>
                <a:gd name="T31" fmla="*/ 52 h 86"/>
                <a:gd name="T32" fmla="*/ 49 w 113"/>
                <a:gd name="T33" fmla="*/ 57 h 86"/>
                <a:gd name="T34" fmla="*/ 53 w 113"/>
                <a:gd name="T35" fmla="*/ 59 h 86"/>
                <a:gd name="T36" fmla="*/ 52 w 113"/>
                <a:gd name="T37" fmla="*/ 65 h 86"/>
                <a:gd name="T38" fmla="*/ 42 w 113"/>
                <a:gd name="T39" fmla="*/ 70 h 86"/>
                <a:gd name="T40" fmla="*/ 40 w 113"/>
                <a:gd name="T41" fmla="*/ 73 h 86"/>
                <a:gd name="T42" fmla="*/ 46 w 113"/>
                <a:gd name="T43" fmla="*/ 71 h 86"/>
                <a:gd name="T44" fmla="*/ 52 w 113"/>
                <a:gd name="T45" fmla="*/ 68 h 86"/>
                <a:gd name="T46" fmla="*/ 60 w 113"/>
                <a:gd name="T47" fmla="*/ 63 h 86"/>
                <a:gd name="T48" fmla="*/ 65 w 113"/>
                <a:gd name="T49" fmla="*/ 58 h 86"/>
                <a:gd name="T50" fmla="*/ 75 w 113"/>
                <a:gd name="T51" fmla="*/ 52 h 86"/>
                <a:gd name="T52" fmla="*/ 68 w 113"/>
                <a:gd name="T53" fmla="*/ 59 h 86"/>
                <a:gd name="T54" fmla="*/ 73 w 113"/>
                <a:gd name="T55" fmla="*/ 58 h 86"/>
                <a:gd name="T56" fmla="*/ 78 w 113"/>
                <a:gd name="T57" fmla="*/ 56 h 86"/>
                <a:gd name="T58" fmla="*/ 80 w 113"/>
                <a:gd name="T59" fmla="*/ 57 h 86"/>
                <a:gd name="T60" fmla="*/ 87 w 113"/>
                <a:gd name="T61" fmla="*/ 61 h 86"/>
                <a:gd name="T62" fmla="*/ 92 w 113"/>
                <a:gd name="T63" fmla="*/ 65 h 86"/>
                <a:gd name="T64" fmla="*/ 94 w 113"/>
                <a:gd name="T65" fmla="*/ 67 h 86"/>
                <a:gd name="T66" fmla="*/ 97 w 113"/>
                <a:gd name="T67" fmla="*/ 68 h 86"/>
                <a:gd name="T68" fmla="*/ 98 w 113"/>
                <a:gd name="T69" fmla="*/ 76 h 86"/>
                <a:gd name="T70" fmla="*/ 100 w 113"/>
                <a:gd name="T71" fmla="*/ 81 h 86"/>
                <a:gd name="T72" fmla="*/ 95 w 113"/>
                <a:gd name="T73" fmla="*/ 84 h 86"/>
                <a:gd name="T74" fmla="*/ 94 w 113"/>
                <a:gd name="T75" fmla="*/ 84 h 86"/>
                <a:gd name="T76" fmla="*/ 95 w 113"/>
                <a:gd name="T77" fmla="*/ 80 h 86"/>
                <a:gd name="T78" fmla="*/ 96 w 113"/>
                <a:gd name="T79" fmla="*/ 85 h 86"/>
                <a:gd name="T80" fmla="*/ 98 w 113"/>
                <a:gd name="T81" fmla="*/ 81 h 86"/>
                <a:gd name="T82" fmla="*/ 97 w 113"/>
                <a:gd name="T83" fmla="*/ 78 h 86"/>
                <a:gd name="T84" fmla="*/ 95 w 113"/>
                <a:gd name="T85" fmla="*/ 78 h 86"/>
                <a:gd name="T86" fmla="*/ 94 w 113"/>
                <a:gd name="T87" fmla="*/ 75 h 86"/>
                <a:gd name="T88" fmla="*/ 96 w 113"/>
                <a:gd name="T89" fmla="*/ 75 h 86"/>
                <a:gd name="T90" fmla="*/ 93 w 113"/>
                <a:gd name="T91" fmla="*/ 74 h 86"/>
                <a:gd name="T92" fmla="*/ 52 w 113"/>
                <a:gd name="T93" fmla="*/ 39 h 86"/>
                <a:gd name="T94" fmla="*/ 82 w 113"/>
                <a:gd name="T95" fmla="*/ 60 h 86"/>
                <a:gd name="T96" fmla="*/ 76 w 113"/>
                <a:gd name="T97" fmla="*/ 60 h 86"/>
                <a:gd name="T98" fmla="*/ 43 w 113"/>
                <a:gd name="T99" fmla="*/ 32 h 86"/>
                <a:gd name="T100" fmla="*/ 43 w 113"/>
                <a:gd name="T101" fmla="*/ 49 h 86"/>
                <a:gd name="T102" fmla="*/ 63 w 113"/>
                <a:gd name="T103" fmla="*/ 63 h 86"/>
                <a:gd name="T104" fmla="*/ 60 w 113"/>
                <a:gd name="T105" fmla="*/ 65 h 86"/>
                <a:gd name="T106" fmla="*/ 61 w 113"/>
                <a:gd name="T107" fmla="*/ 66 h 86"/>
                <a:gd name="T108" fmla="*/ 57 w 113"/>
                <a:gd name="T109" fmla="*/ 70 h 86"/>
                <a:gd name="T110" fmla="*/ 44 w 113"/>
                <a:gd name="T111" fmla="*/ 74 h 86"/>
                <a:gd name="T112" fmla="*/ 1 w 113"/>
                <a:gd name="T113" fmla="*/ 81 h 86"/>
                <a:gd name="T114" fmla="*/ 10 w 113"/>
                <a:gd name="T115" fmla="*/ 81 h 86"/>
                <a:gd name="T116" fmla="*/ 20 w 113"/>
                <a:gd name="T117" fmla="*/ 80 h 86"/>
                <a:gd name="T118" fmla="*/ 28 w 113"/>
                <a:gd name="T119" fmla="*/ 77 h 86"/>
                <a:gd name="T120" fmla="*/ 32 w 113"/>
                <a:gd name="T121" fmla="*/ 76 h 86"/>
                <a:gd name="T122" fmla="*/ 34 w 113"/>
                <a:gd name="T123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" h="86">
                  <a:moveTo>
                    <a:pt x="101" y="82"/>
                  </a:moveTo>
                  <a:cubicBezTo>
                    <a:pt x="101" y="82"/>
                    <a:pt x="101" y="82"/>
                    <a:pt x="101" y="82"/>
                  </a:cubicBezTo>
                  <a:cubicBezTo>
                    <a:pt x="101" y="81"/>
                    <a:pt x="101" y="81"/>
                    <a:pt x="101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1" y="81"/>
                    <a:pt x="101" y="81"/>
                    <a:pt x="101" y="81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1" y="79"/>
                    <a:pt x="101" y="79"/>
                    <a:pt x="101" y="79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6"/>
                    <a:pt x="99" y="76"/>
                    <a:pt x="99" y="76"/>
                  </a:cubicBezTo>
                  <a:cubicBezTo>
                    <a:pt x="99" y="76"/>
                    <a:pt x="99" y="76"/>
                    <a:pt x="99" y="76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9" y="66"/>
                    <a:pt x="99" y="66"/>
                    <a:pt x="99" y="66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9"/>
                    <a:pt x="92" y="69"/>
                    <a:pt x="92" y="69"/>
                  </a:cubicBezTo>
                  <a:cubicBezTo>
                    <a:pt x="92" y="69"/>
                    <a:pt x="92" y="69"/>
                    <a:pt x="92" y="69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3" y="69"/>
                    <a:pt x="93" y="69"/>
                    <a:pt x="93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9" y="86"/>
                    <a:pt x="99" y="86"/>
                    <a:pt x="99" y="86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1" y="83"/>
                    <a:pt x="101" y="83"/>
                    <a:pt x="101" y="83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1" y="82"/>
                    <a:pt x="101" y="82"/>
                    <a:pt x="101" y="82"/>
                  </a:cubicBezTo>
                  <a:close/>
                  <a:moveTo>
                    <a:pt x="95" y="84"/>
                  </a:move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lose/>
                  <a:moveTo>
                    <a:pt x="98" y="85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lose/>
                  <a:moveTo>
                    <a:pt x="98" y="84"/>
                  </a:move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lose/>
                  <a:moveTo>
                    <a:pt x="98" y="83"/>
                  </a:moveTo>
                  <a:cubicBezTo>
                    <a:pt x="98" y="83"/>
                    <a:pt x="98" y="83"/>
                    <a:pt x="98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3"/>
                    <a:pt x="98" y="83"/>
                    <a:pt x="98" y="83"/>
                  </a:cubicBezTo>
                  <a:close/>
                  <a:moveTo>
                    <a:pt x="98" y="83"/>
                  </a:move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lose/>
                  <a:moveTo>
                    <a:pt x="94" y="84"/>
                  </a:moveTo>
                  <a:cubicBezTo>
                    <a:pt x="94" y="84"/>
                    <a:pt x="94" y="84"/>
                    <a:pt x="94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4"/>
                    <a:pt x="94" y="84"/>
                    <a:pt x="94" y="84"/>
                  </a:cubicBezTo>
                  <a:cubicBezTo>
                    <a:pt x="94" y="84"/>
                    <a:pt x="94" y="84"/>
                    <a:pt x="94" y="84"/>
                  </a:cubicBezTo>
                  <a:close/>
                  <a:moveTo>
                    <a:pt x="94" y="83"/>
                  </a:move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4" y="83"/>
                    <a:pt x="94" y="83"/>
                    <a:pt x="94" y="83"/>
                  </a:cubicBezTo>
                  <a:close/>
                  <a:moveTo>
                    <a:pt x="94" y="83"/>
                  </a:move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lose/>
                  <a:moveTo>
                    <a:pt x="94" y="82"/>
                  </a:moveTo>
                  <a:cubicBezTo>
                    <a:pt x="94" y="82"/>
                    <a:pt x="94" y="82"/>
                    <a:pt x="94" y="82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2"/>
                    <a:pt x="94" y="82"/>
                    <a:pt x="94" y="82"/>
                  </a:cubicBezTo>
                  <a:close/>
                  <a:moveTo>
                    <a:pt x="94" y="80"/>
                  </a:move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lose/>
                  <a:moveTo>
                    <a:pt x="95" y="81"/>
                  </a:move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lose/>
                  <a:moveTo>
                    <a:pt x="95" y="80"/>
                  </a:moveTo>
                  <a:cubicBezTo>
                    <a:pt x="95" y="80"/>
                    <a:pt x="95" y="80"/>
                    <a:pt x="95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5" y="80"/>
                    <a:pt x="95" y="80"/>
                    <a:pt x="95" y="80"/>
                  </a:cubicBezTo>
                  <a:close/>
                  <a:moveTo>
                    <a:pt x="96" y="81"/>
                  </a:move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lose/>
                  <a:moveTo>
                    <a:pt x="98" y="80"/>
                  </a:move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8" y="80"/>
                    <a:pt x="98" y="80"/>
                    <a:pt x="98" y="80"/>
                  </a:cubicBezTo>
                  <a:close/>
                  <a:moveTo>
                    <a:pt x="97" y="81"/>
                  </a:move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7" y="81"/>
                    <a:pt x="97" y="81"/>
                    <a:pt x="97" y="81"/>
                  </a:cubicBezTo>
                  <a:close/>
                  <a:moveTo>
                    <a:pt x="97" y="80"/>
                  </a:moveTo>
                  <a:cubicBezTo>
                    <a:pt x="97" y="80"/>
                    <a:pt x="97" y="80"/>
                    <a:pt x="97" y="80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lose/>
                  <a:moveTo>
                    <a:pt x="97" y="79"/>
                  </a:moveTo>
                  <a:cubicBezTo>
                    <a:pt x="97" y="79"/>
                    <a:pt x="97" y="79"/>
                    <a:pt x="97" y="79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79"/>
                    <a:pt x="97" y="79"/>
                    <a:pt x="97" y="79"/>
                  </a:cubicBezTo>
                  <a:close/>
                  <a:moveTo>
                    <a:pt x="97" y="78"/>
                  </a:moveTo>
                  <a:cubicBezTo>
                    <a:pt x="98" y="78"/>
                    <a:pt x="98" y="78"/>
                    <a:pt x="98" y="78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lose/>
                  <a:moveTo>
                    <a:pt x="96" y="79"/>
                  </a:moveTo>
                  <a:cubicBezTo>
                    <a:pt x="96" y="78"/>
                    <a:pt x="96" y="78"/>
                    <a:pt x="96" y="78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lose/>
                  <a:moveTo>
                    <a:pt x="95" y="78"/>
                  </a:moveTo>
                  <a:cubicBezTo>
                    <a:pt x="95" y="78"/>
                    <a:pt x="95" y="78"/>
                    <a:pt x="95" y="78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lose/>
                  <a:moveTo>
                    <a:pt x="95" y="74"/>
                  </a:move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4"/>
                    <a:pt x="95" y="74"/>
                    <a:pt x="95" y="74"/>
                  </a:cubicBezTo>
                  <a:close/>
                  <a:moveTo>
                    <a:pt x="94" y="75"/>
                  </a:move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lose/>
                  <a:moveTo>
                    <a:pt x="93" y="75"/>
                  </a:moveTo>
                  <a:cubicBezTo>
                    <a:pt x="93" y="74"/>
                    <a:pt x="93" y="74"/>
                    <a:pt x="93" y="74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lose/>
                  <a:moveTo>
                    <a:pt x="95" y="76"/>
                  </a:move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lose/>
                  <a:moveTo>
                    <a:pt x="94" y="71"/>
                  </a:move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1"/>
                    <a:pt x="94" y="71"/>
                    <a:pt x="94" y="71"/>
                  </a:cubicBezTo>
                  <a:close/>
                  <a:moveTo>
                    <a:pt x="94" y="70"/>
                  </a:move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0"/>
                    <a:pt x="94" y="70"/>
                    <a:pt x="94" y="70"/>
                  </a:cubicBezTo>
                  <a:close/>
                  <a:moveTo>
                    <a:pt x="31" y="45"/>
                  </a:move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8"/>
                    <a:pt x="53" y="38"/>
                    <a:pt x="53" y="38"/>
                  </a:cubicBezTo>
                  <a:close/>
                  <a:moveTo>
                    <a:pt x="53" y="38"/>
                  </a:moveTo>
                  <a:cubicBezTo>
                    <a:pt x="53" y="38"/>
                    <a:pt x="54" y="38"/>
                    <a:pt x="54" y="38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3" y="38"/>
                    <a:pt x="53" y="38"/>
                    <a:pt x="53" y="38"/>
                  </a:cubicBezTo>
                  <a:close/>
                  <a:moveTo>
                    <a:pt x="57" y="35"/>
                  </a:move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79" y="55"/>
                  </a:move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lose/>
                  <a:moveTo>
                    <a:pt x="77" y="62"/>
                  </a:moveTo>
                  <a:cubicBezTo>
                    <a:pt x="77" y="61"/>
                    <a:pt x="77" y="61"/>
                    <a:pt x="77" y="61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lose/>
                  <a:moveTo>
                    <a:pt x="81" y="60"/>
                  </a:moveTo>
                  <a:cubicBezTo>
                    <a:pt x="82" y="60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lose/>
                  <a:moveTo>
                    <a:pt x="78" y="56"/>
                  </a:move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lose/>
                  <a:moveTo>
                    <a:pt x="78" y="58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8" y="58"/>
                    <a:pt x="78" y="58"/>
                  </a:cubicBezTo>
                  <a:close/>
                  <a:moveTo>
                    <a:pt x="75" y="60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59"/>
                  </a:move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lose/>
                  <a:moveTo>
                    <a:pt x="76" y="58"/>
                  </a:move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lose/>
                  <a:moveTo>
                    <a:pt x="77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lose/>
                  <a:moveTo>
                    <a:pt x="51" y="26"/>
                  </a:moveTo>
                  <a:cubicBezTo>
                    <a:pt x="51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1" y="26"/>
                    <a:pt x="51" y="26"/>
                    <a:pt x="51" y="26"/>
                  </a:cubicBezTo>
                  <a:close/>
                  <a:moveTo>
                    <a:pt x="43" y="35"/>
                  </a:move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68" y="55"/>
                  </a:move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64" y="58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8"/>
                    <a:pt x="64" y="58"/>
                    <a:pt x="64" y="58"/>
                  </a:cubicBezTo>
                  <a:close/>
                  <a:moveTo>
                    <a:pt x="64" y="62"/>
                  </a:move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lose/>
                  <a:moveTo>
                    <a:pt x="62" y="64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2" y="64"/>
                    <a:pt x="62" y="64"/>
                    <a:pt x="62" y="64"/>
                  </a:cubicBezTo>
                  <a:close/>
                  <a:moveTo>
                    <a:pt x="58" y="68"/>
                  </a:moveTo>
                  <a:cubicBezTo>
                    <a:pt x="58" y="68"/>
                    <a:pt x="58" y="68"/>
                    <a:pt x="58" y="68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1" y="69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1" y="69"/>
                  </a:cubicBezTo>
                  <a:close/>
                  <a:moveTo>
                    <a:pt x="43" y="73"/>
                  </a:moveTo>
                  <a:cubicBezTo>
                    <a:pt x="43" y="73"/>
                    <a:pt x="44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43" y="73"/>
                    <a:pt x="43" y="73"/>
                    <a:pt x="43" y="73"/>
                  </a:cubicBezTo>
                  <a:close/>
                  <a:moveTo>
                    <a:pt x="43" y="73"/>
                  </a:move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lose/>
                  <a:moveTo>
                    <a:pt x="45" y="74"/>
                  </a:moveTo>
                  <a:cubicBezTo>
                    <a:pt x="45" y="75"/>
                    <a:pt x="45" y="75"/>
                    <a:pt x="45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4" y="74"/>
                    <a:pt x="44" y="74"/>
                  </a:cubicBezTo>
                  <a:close/>
                  <a:moveTo>
                    <a:pt x="43" y="75"/>
                  </a:move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2" y="73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lose/>
                  <a:moveTo>
                    <a:pt x="40" y="73"/>
                  </a:move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lose/>
                  <a:moveTo>
                    <a:pt x="39" y="74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lose/>
                  <a:moveTo>
                    <a:pt x="37" y="75"/>
                  </a:moveTo>
                  <a:cubicBezTo>
                    <a:pt x="38" y="76"/>
                    <a:pt x="38" y="76"/>
                    <a:pt x="38" y="76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7" y="75"/>
                    <a:pt x="37" y="75"/>
                    <a:pt x="37" y="75"/>
                  </a:cubicBezTo>
                  <a:close/>
                  <a:moveTo>
                    <a:pt x="0" y="8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lose/>
                  <a:moveTo>
                    <a:pt x="1" y="8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1"/>
                    <a:pt x="1" y="81"/>
                    <a:pt x="1" y="81"/>
                  </a:cubicBezTo>
                  <a:close/>
                  <a:moveTo>
                    <a:pt x="1" y="81"/>
                  </a:moveTo>
                  <a:cubicBezTo>
                    <a:pt x="1" y="81"/>
                    <a:pt x="1" y="81"/>
                    <a:pt x="1" y="81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1"/>
                    <a:pt x="1" y="81"/>
                    <a:pt x="1" y="81"/>
                  </a:cubicBezTo>
                  <a:close/>
                  <a:moveTo>
                    <a:pt x="4" y="81"/>
                  </a:move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1"/>
                    <a:pt x="4" y="81"/>
                    <a:pt x="4" y="81"/>
                  </a:cubicBezTo>
                  <a:close/>
                  <a:moveTo>
                    <a:pt x="4" y="82"/>
                  </a:moveTo>
                  <a:cubicBezTo>
                    <a:pt x="4" y="82"/>
                    <a:pt x="4" y="82"/>
                    <a:pt x="4" y="82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2"/>
                    <a:pt x="4" y="82"/>
                    <a:pt x="4" y="82"/>
                  </a:cubicBezTo>
                  <a:close/>
                  <a:moveTo>
                    <a:pt x="6" y="81"/>
                  </a:move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1"/>
                    <a:pt x="6" y="81"/>
                    <a:pt x="6" y="81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12" y="81"/>
                  </a:moveTo>
                  <a:cubicBezTo>
                    <a:pt x="13" y="82"/>
                    <a:pt x="13" y="82"/>
                    <a:pt x="13" y="82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2" y="81"/>
                    <a:pt x="12" y="81"/>
                  </a:cubicBezTo>
                  <a:close/>
                  <a:moveTo>
                    <a:pt x="15" y="81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5" y="81"/>
                    <a:pt x="15" y="81"/>
                  </a:cubicBezTo>
                  <a:close/>
                  <a:moveTo>
                    <a:pt x="18" y="81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19" y="80"/>
                  </a:moveTo>
                  <a:cubicBezTo>
                    <a:pt x="19" y="80"/>
                    <a:pt x="19" y="80"/>
                    <a:pt x="19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lose/>
                  <a:moveTo>
                    <a:pt x="20" y="80"/>
                  </a:move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lose/>
                  <a:moveTo>
                    <a:pt x="20" y="79"/>
                  </a:move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lose/>
                  <a:moveTo>
                    <a:pt x="20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0" y="80"/>
                    <a:pt x="20" y="80"/>
                    <a:pt x="20" y="80"/>
                  </a:cubicBezTo>
                  <a:close/>
                  <a:moveTo>
                    <a:pt x="25" y="77"/>
                  </a:moveTo>
                  <a:cubicBezTo>
                    <a:pt x="25" y="78"/>
                    <a:pt x="25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7"/>
                    <a:pt x="25" y="77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30" y="76"/>
                  </a:move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lose/>
                  <a:moveTo>
                    <a:pt x="32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lose/>
                  <a:moveTo>
                    <a:pt x="32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lose/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6"/>
                    <a:pt x="31" y="76"/>
                    <a:pt x="31" y="76"/>
                  </a:cubicBezTo>
                  <a:close/>
                  <a:moveTo>
                    <a:pt x="31" y="75"/>
                  </a:move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5"/>
                    <a:pt x="31" y="75"/>
                    <a:pt x="31" y="75"/>
                  </a:cubicBezTo>
                  <a:close/>
                  <a:moveTo>
                    <a:pt x="50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lose/>
                  <a:moveTo>
                    <a:pt x="49" y="59"/>
                  </a:moveTo>
                  <a:cubicBezTo>
                    <a:pt x="49" y="59"/>
                    <a:pt x="49" y="59"/>
                    <a:pt x="49" y="59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9"/>
                    <a:pt x="49" y="59"/>
                    <a:pt x="49" y="59"/>
                  </a:cubicBezTo>
                  <a:close/>
                  <a:moveTo>
                    <a:pt x="33" y="75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3" y="75"/>
                    <a:pt x="33" y="75"/>
                    <a:pt x="33" y="7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1" name="Freeform 171">
              <a:extLst>
                <a:ext uri="{FF2B5EF4-FFF2-40B4-BE49-F238E27FC236}">
                  <a16:creationId xmlns:a16="http://schemas.microsoft.com/office/drawing/2014/main" id="{31A474C3-5C0E-42C8-843B-5454DA564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4253" y="4622173"/>
              <a:ext cx="10538" cy="0"/>
            </a:xfrm>
            <a:custGeom>
              <a:avLst/>
              <a:gdLst>
                <a:gd name="T0" fmla="*/ 9 w 9"/>
                <a:gd name="T1" fmla="*/ 0 w 9"/>
                <a:gd name="T2" fmla="*/ 0 w 9"/>
                <a:gd name="T3" fmla="*/ 0 w 9"/>
                <a:gd name="T4" fmla="*/ 9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2" name="Freeform 172">
              <a:extLst>
                <a:ext uri="{FF2B5EF4-FFF2-40B4-BE49-F238E27FC236}">
                  <a16:creationId xmlns:a16="http://schemas.microsoft.com/office/drawing/2014/main" id="{A47CF891-0CBD-41A6-9B2A-2F3F0D77E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967" y="4642078"/>
              <a:ext cx="49176" cy="19905"/>
            </a:xfrm>
            <a:custGeom>
              <a:avLst/>
              <a:gdLst>
                <a:gd name="T0" fmla="*/ 8 w 42"/>
                <a:gd name="T1" fmla="*/ 0 h 17"/>
                <a:gd name="T2" fmla="*/ 8 w 42"/>
                <a:gd name="T3" fmla="*/ 0 h 17"/>
                <a:gd name="T4" fmla="*/ 16 w 42"/>
                <a:gd name="T5" fmla="*/ 0 h 17"/>
                <a:gd name="T6" fmla="*/ 33 w 42"/>
                <a:gd name="T7" fmla="*/ 0 h 17"/>
                <a:gd name="T8" fmla="*/ 33 w 42"/>
                <a:gd name="T9" fmla="*/ 0 h 17"/>
                <a:gd name="T10" fmla="*/ 42 w 42"/>
                <a:gd name="T11" fmla="*/ 0 h 17"/>
                <a:gd name="T12" fmla="*/ 42 w 42"/>
                <a:gd name="T13" fmla="*/ 9 h 17"/>
                <a:gd name="T14" fmla="*/ 42 w 42"/>
                <a:gd name="T15" fmla="*/ 9 h 17"/>
                <a:gd name="T16" fmla="*/ 33 w 42"/>
                <a:gd name="T17" fmla="*/ 9 h 17"/>
                <a:gd name="T18" fmla="*/ 33 w 42"/>
                <a:gd name="T19" fmla="*/ 9 h 17"/>
                <a:gd name="T20" fmla="*/ 33 w 42"/>
                <a:gd name="T21" fmla="*/ 9 h 17"/>
                <a:gd name="T22" fmla="*/ 33 w 42"/>
                <a:gd name="T23" fmla="*/ 9 h 17"/>
                <a:gd name="T24" fmla="*/ 25 w 42"/>
                <a:gd name="T25" fmla="*/ 9 h 17"/>
                <a:gd name="T26" fmla="*/ 25 w 42"/>
                <a:gd name="T27" fmla="*/ 9 h 17"/>
                <a:gd name="T28" fmla="*/ 25 w 42"/>
                <a:gd name="T29" fmla="*/ 17 h 17"/>
                <a:gd name="T30" fmla="*/ 25 w 42"/>
                <a:gd name="T31" fmla="*/ 9 h 17"/>
                <a:gd name="T32" fmla="*/ 16 w 42"/>
                <a:gd name="T33" fmla="*/ 9 h 17"/>
                <a:gd name="T34" fmla="*/ 16 w 42"/>
                <a:gd name="T35" fmla="*/ 9 h 17"/>
                <a:gd name="T36" fmla="*/ 8 w 42"/>
                <a:gd name="T37" fmla="*/ 9 h 17"/>
                <a:gd name="T38" fmla="*/ 8 w 42"/>
                <a:gd name="T39" fmla="*/ 0 h 17"/>
                <a:gd name="T40" fmla="*/ 8 w 42"/>
                <a:gd name="T41" fmla="*/ 0 h 17"/>
                <a:gd name="T42" fmla="*/ 8 w 42"/>
                <a:gd name="T43" fmla="*/ 0 h 17"/>
                <a:gd name="T44" fmla="*/ 0 w 42"/>
                <a:gd name="T45" fmla="*/ 0 h 17"/>
                <a:gd name="T46" fmla="*/ 8 w 42"/>
                <a:gd name="T47" fmla="*/ 0 h 17"/>
                <a:gd name="T48" fmla="*/ 8 w 42"/>
                <a:gd name="T4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7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3" name="Freeform 173">
              <a:extLst>
                <a:ext uri="{FF2B5EF4-FFF2-40B4-BE49-F238E27FC236}">
                  <a16:creationId xmlns:a16="http://schemas.microsoft.com/office/drawing/2014/main" id="{1A3730EE-DD37-4F87-BE93-1724F76C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1782" y="4603439"/>
              <a:ext cx="49176" cy="49176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3 h 5"/>
                <a:gd name="T4" fmla="*/ 5 w 5"/>
                <a:gd name="T5" fmla="*/ 3 h 5"/>
                <a:gd name="T6" fmla="*/ 5 w 5"/>
                <a:gd name="T7" fmla="*/ 2 h 5"/>
                <a:gd name="T8" fmla="*/ 5 w 5"/>
                <a:gd name="T9" fmla="*/ 2 h 5"/>
                <a:gd name="T10" fmla="*/ 5 w 5"/>
                <a:gd name="T11" fmla="*/ 1 h 5"/>
                <a:gd name="T12" fmla="*/ 5 w 5"/>
                <a:gd name="T13" fmla="*/ 1 h 5"/>
                <a:gd name="T14" fmla="*/ 4 w 5"/>
                <a:gd name="T15" fmla="*/ 1 h 5"/>
                <a:gd name="T16" fmla="*/ 3 w 5"/>
                <a:gd name="T17" fmla="*/ 1 h 5"/>
                <a:gd name="T18" fmla="*/ 2 w 5"/>
                <a:gd name="T19" fmla="*/ 1 h 5"/>
                <a:gd name="T20" fmla="*/ 2 w 5"/>
                <a:gd name="T21" fmla="*/ 1 h 5"/>
                <a:gd name="T22" fmla="*/ 3 w 5"/>
                <a:gd name="T23" fmla="*/ 2 h 5"/>
                <a:gd name="T24" fmla="*/ 3 w 5"/>
                <a:gd name="T25" fmla="*/ 2 h 5"/>
                <a:gd name="T26" fmla="*/ 4 w 5"/>
                <a:gd name="T27" fmla="*/ 3 h 5"/>
                <a:gd name="T28" fmla="*/ 4 w 5"/>
                <a:gd name="T29" fmla="*/ 4 h 5"/>
                <a:gd name="T30" fmla="*/ 3 w 5"/>
                <a:gd name="T31" fmla="*/ 4 h 5"/>
                <a:gd name="T32" fmla="*/ 2 w 5"/>
                <a:gd name="T33" fmla="*/ 4 h 5"/>
                <a:gd name="T34" fmla="*/ 1 w 5"/>
                <a:gd name="T35" fmla="*/ 4 h 5"/>
                <a:gd name="T36" fmla="*/ 1 w 5"/>
                <a:gd name="T37" fmla="*/ 3 h 5"/>
                <a:gd name="T38" fmla="*/ 0 w 5"/>
                <a:gd name="T39" fmla="*/ 3 h 5"/>
                <a:gd name="T40" fmla="*/ 0 w 5"/>
                <a:gd name="T41" fmla="*/ 4 h 5"/>
                <a:gd name="T42" fmla="*/ 0 w 5"/>
                <a:gd name="T43" fmla="*/ 4 h 5"/>
                <a:gd name="T44" fmla="*/ 1 w 5"/>
                <a:gd name="T45" fmla="*/ 5 h 5"/>
                <a:gd name="T46" fmla="*/ 1 w 5"/>
                <a:gd name="T47" fmla="*/ 4 h 5"/>
                <a:gd name="T48" fmla="*/ 3 w 5"/>
                <a:gd name="T49" fmla="*/ 4 h 5"/>
                <a:gd name="T50" fmla="*/ 4 w 5"/>
                <a:gd name="T51" fmla="*/ 4 h 5"/>
                <a:gd name="T52" fmla="*/ 5 w 5"/>
                <a:gd name="T53" fmla="*/ 5 h 5"/>
                <a:gd name="T54" fmla="*/ 3 w 5"/>
                <a:gd name="T55" fmla="*/ 0 h 5"/>
                <a:gd name="T56" fmla="*/ 3 w 5"/>
                <a:gd name="T57" fmla="*/ 0 h 5"/>
                <a:gd name="T58" fmla="*/ 2 w 5"/>
                <a:gd name="T59" fmla="*/ 3 h 5"/>
                <a:gd name="T60" fmla="*/ 3 w 5"/>
                <a:gd name="T61" fmla="*/ 3 h 5"/>
                <a:gd name="T62" fmla="*/ 2 w 5"/>
                <a:gd name="T6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lose/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2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4" name="Freeform 174">
              <a:extLst>
                <a:ext uri="{FF2B5EF4-FFF2-40B4-BE49-F238E27FC236}">
                  <a16:creationId xmlns:a16="http://schemas.microsoft.com/office/drawing/2014/main" id="{FDCC4924-4113-4BDE-82B5-40F065C15C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5172" y="4534358"/>
              <a:ext cx="216610" cy="78448"/>
            </a:xfrm>
            <a:custGeom>
              <a:avLst/>
              <a:gdLst>
                <a:gd name="T0" fmla="*/ 42 w 185"/>
                <a:gd name="T1" fmla="*/ 25 h 67"/>
                <a:gd name="T2" fmla="*/ 42 w 185"/>
                <a:gd name="T3" fmla="*/ 33 h 67"/>
                <a:gd name="T4" fmla="*/ 34 w 185"/>
                <a:gd name="T5" fmla="*/ 33 h 67"/>
                <a:gd name="T6" fmla="*/ 34 w 185"/>
                <a:gd name="T7" fmla="*/ 25 h 67"/>
                <a:gd name="T8" fmla="*/ 9 w 185"/>
                <a:gd name="T9" fmla="*/ 17 h 67"/>
                <a:gd name="T10" fmla="*/ 9 w 185"/>
                <a:gd name="T11" fmla="*/ 17 h 67"/>
                <a:gd name="T12" fmla="*/ 0 w 185"/>
                <a:gd name="T13" fmla="*/ 25 h 67"/>
                <a:gd name="T14" fmla="*/ 9 w 185"/>
                <a:gd name="T15" fmla="*/ 25 h 67"/>
                <a:gd name="T16" fmla="*/ 17 w 185"/>
                <a:gd name="T17" fmla="*/ 25 h 67"/>
                <a:gd name="T18" fmla="*/ 25 w 185"/>
                <a:gd name="T19" fmla="*/ 17 h 67"/>
                <a:gd name="T20" fmla="*/ 34 w 185"/>
                <a:gd name="T21" fmla="*/ 8 h 67"/>
                <a:gd name="T22" fmla="*/ 51 w 185"/>
                <a:gd name="T23" fmla="*/ 8 h 67"/>
                <a:gd name="T24" fmla="*/ 59 w 185"/>
                <a:gd name="T25" fmla="*/ 17 h 67"/>
                <a:gd name="T26" fmla="*/ 51 w 185"/>
                <a:gd name="T27" fmla="*/ 17 h 67"/>
                <a:gd name="T28" fmla="*/ 68 w 185"/>
                <a:gd name="T29" fmla="*/ 17 h 67"/>
                <a:gd name="T30" fmla="*/ 76 w 185"/>
                <a:gd name="T31" fmla="*/ 25 h 67"/>
                <a:gd name="T32" fmla="*/ 84 w 185"/>
                <a:gd name="T33" fmla="*/ 25 h 67"/>
                <a:gd name="T34" fmla="*/ 93 w 185"/>
                <a:gd name="T35" fmla="*/ 25 h 67"/>
                <a:gd name="T36" fmla="*/ 101 w 185"/>
                <a:gd name="T37" fmla="*/ 33 h 67"/>
                <a:gd name="T38" fmla="*/ 110 w 185"/>
                <a:gd name="T39" fmla="*/ 33 h 67"/>
                <a:gd name="T40" fmla="*/ 126 w 185"/>
                <a:gd name="T41" fmla="*/ 50 h 67"/>
                <a:gd name="T42" fmla="*/ 135 w 185"/>
                <a:gd name="T43" fmla="*/ 50 h 67"/>
                <a:gd name="T44" fmla="*/ 135 w 185"/>
                <a:gd name="T45" fmla="*/ 59 h 67"/>
                <a:gd name="T46" fmla="*/ 126 w 185"/>
                <a:gd name="T47" fmla="*/ 67 h 67"/>
                <a:gd name="T48" fmla="*/ 143 w 185"/>
                <a:gd name="T49" fmla="*/ 67 h 67"/>
                <a:gd name="T50" fmla="*/ 160 w 185"/>
                <a:gd name="T51" fmla="*/ 67 h 67"/>
                <a:gd name="T52" fmla="*/ 177 w 185"/>
                <a:gd name="T53" fmla="*/ 59 h 67"/>
                <a:gd name="T54" fmla="*/ 185 w 185"/>
                <a:gd name="T55" fmla="*/ 59 h 67"/>
                <a:gd name="T56" fmla="*/ 185 w 185"/>
                <a:gd name="T57" fmla="*/ 50 h 67"/>
                <a:gd name="T58" fmla="*/ 168 w 185"/>
                <a:gd name="T59" fmla="*/ 50 h 67"/>
                <a:gd name="T60" fmla="*/ 168 w 185"/>
                <a:gd name="T61" fmla="*/ 42 h 67"/>
                <a:gd name="T62" fmla="*/ 160 w 185"/>
                <a:gd name="T63" fmla="*/ 42 h 67"/>
                <a:gd name="T64" fmla="*/ 143 w 185"/>
                <a:gd name="T65" fmla="*/ 33 h 67"/>
                <a:gd name="T66" fmla="*/ 135 w 185"/>
                <a:gd name="T67" fmla="*/ 33 h 67"/>
                <a:gd name="T68" fmla="*/ 135 w 185"/>
                <a:gd name="T69" fmla="*/ 33 h 67"/>
                <a:gd name="T70" fmla="*/ 118 w 185"/>
                <a:gd name="T71" fmla="*/ 25 h 67"/>
                <a:gd name="T72" fmla="*/ 101 w 185"/>
                <a:gd name="T73" fmla="*/ 17 h 67"/>
                <a:gd name="T74" fmla="*/ 93 w 185"/>
                <a:gd name="T75" fmla="*/ 8 h 67"/>
                <a:gd name="T76" fmla="*/ 76 w 185"/>
                <a:gd name="T77" fmla="*/ 0 h 67"/>
                <a:gd name="T78" fmla="*/ 68 w 185"/>
                <a:gd name="T79" fmla="*/ 0 h 67"/>
                <a:gd name="T80" fmla="*/ 42 w 185"/>
                <a:gd name="T81" fmla="*/ 0 h 67"/>
                <a:gd name="T82" fmla="*/ 25 w 185"/>
                <a:gd name="T83" fmla="*/ 8 h 67"/>
                <a:gd name="T84" fmla="*/ 9 w 185"/>
                <a:gd name="T85" fmla="*/ 1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5" h="67">
                  <a:moveTo>
                    <a:pt x="34" y="25"/>
                  </a:moveTo>
                  <a:lnTo>
                    <a:pt x="34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34" y="33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9" y="17"/>
                  </a:moveTo>
                  <a:lnTo>
                    <a:pt x="17" y="17"/>
                  </a:lnTo>
                  <a:lnTo>
                    <a:pt x="9" y="25"/>
                  </a:lnTo>
                  <a:lnTo>
                    <a:pt x="9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17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10" y="33"/>
                  </a:lnTo>
                  <a:lnTo>
                    <a:pt x="110" y="25"/>
                  </a:lnTo>
                  <a:lnTo>
                    <a:pt x="110" y="33"/>
                  </a:lnTo>
                  <a:lnTo>
                    <a:pt x="118" y="42"/>
                  </a:lnTo>
                  <a:lnTo>
                    <a:pt x="118" y="50"/>
                  </a:lnTo>
                  <a:lnTo>
                    <a:pt x="126" y="50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43" y="50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43" y="67"/>
                  </a:lnTo>
                  <a:lnTo>
                    <a:pt x="152" y="59"/>
                  </a:lnTo>
                  <a:lnTo>
                    <a:pt x="152" y="67"/>
                  </a:lnTo>
                  <a:lnTo>
                    <a:pt x="160" y="67"/>
                  </a:lnTo>
                  <a:lnTo>
                    <a:pt x="168" y="67"/>
                  </a:lnTo>
                  <a:lnTo>
                    <a:pt x="168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77" y="50"/>
                  </a:lnTo>
                  <a:lnTo>
                    <a:pt x="168" y="50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8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3"/>
                  </a:lnTo>
                  <a:lnTo>
                    <a:pt x="135" y="25"/>
                  </a:lnTo>
                  <a:lnTo>
                    <a:pt x="126" y="25"/>
                  </a:lnTo>
                  <a:lnTo>
                    <a:pt x="118" y="25"/>
                  </a:lnTo>
                  <a:lnTo>
                    <a:pt x="118" y="17"/>
                  </a:lnTo>
                  <a:lnTo>
                    <a:pt x="110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5" name="Freeform 175">
              <a:extLst>
                <a:ext uri="{FF2B5EF4-FFF2-40B4-BE49-F238E27FC236}">
                  <a16:creationId xmlns:a16="http://schemas.microsoft.com/office/drawing/2014/main" id="{08189D4F-8663-4D8F-B228-423897E87D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3334" y="4445372"/>
              <a:ext cx="118257" cy="138162"/>
            </a:xfrm>
            <a:custGeom>
              <a:avLst/>
              <a:gdLst>
                <a:gd name="T0" fmla="*/ 92 w 101"/>
                <a:gd name="T1" fmla="*/ 109 h 118"/>
                <a:gd name="T2" fmla="*/ 76 w 101"/>
                <a:gd name="T3" fmla="*/ 118 h 118"/>
                <a:gd name="T4" fmla="*/ 92 w 101"/>
                <a:gd name="T5" fmla="*/ 109 h 118"/>
                <a:gd name="T6" fmla="*/ 84 w 101"/>
                <a:gd name="T7" fmla="*/ 109 h 118"/>
                <a:gd name="T8" fmla="*/ 76 w 101"/>
                <a:gd name="T9" fmla="*/ 118 h 118"/>
                <a:gd name="T10" fmla="*/ 101 w 101"/>
                <a:gd name="T11" fmla="*/ 93 h 118"/>
                <a:gd name="T12" fmla="*/ 92 w 101"/>
                <a:gd name="T13" fmla="*/ 93 h 118"/>
                <a:gd name="T14" fmla="*/ 84 w 101"/>
                <a:gd name="T15" fmla="*/ 84 h 118"/>
                <a:gd name="T16" fmla="*/ 76 w 101"/>
                <a:gd name="T17" fmla="*/ 93 h 118"/>
                <a:gd name="T18" fmla="*/ 76 w 101"/>
                <a:gd name="T19" fmla="*/ 93 h 118"/>
                <a:gd name="T20" fmla="*/ 84 w 101"/>
                <a:gd name="T21" fmla="*/ 84 h 118"/>
                <a:gd name="T22" fmla="*/ 76 w 101"/>
                <a:gd name="T23" fmla="*/ 84 h 118"/>
                <a:gd name="T24" fmla="*/ 67 w 101"/>
                <a:gd name="T25" fmla="*/ 84 h 118"/>
                <a:gd name="T26" fmla="*/ 59 w 101"/>
                <a:gd name="T27" fmla="*/ 67 h 118"/>
                <a:gd name="T28" fmla="*/ 67 w 101"/>
                <a:gd name="T29" fmla="*/ 84 h 118"/>
                <a:gd name="T30" fmla="*/ 59 w 101"/>
                <a:gd name="T31" fmla="*/ 76 h 118"/>
                <a:gd name="T32" fmla="*/ 59 w 101"/>
                <a:gd name="T33" fmla="*/ 67 h 118"/>
                <a:gd name="T34" fmla="*/ 42 w 101"/>
                <a:gd name="T35" fmla="*/ 67 h 118"/>
                <a:gd name="T36" fmla="*/ 42 w 101"/>
                <a:gd name="T37" fmla="*/ 67 h 118"/>
                <a:gd name="T38" fmla="*/ 67 w 101"/>
                <a:gd name="T39" fmla="*/ 59 h 118"/>
                <a:gd name="T40" fmla="*/ 67 w 101"/>
                <a:gd name="T41" fmla="*/ 59 h 118"/>
                <a:gd name="T42" fmla="*/ 50 w 101"/>
                <a:gd name="T43" fmla="*/ 51 h 118"/>
                <a:gd name="T44" fmla="*/ 59 w 101"/>
                <a:gd name="T45" fmla="*/ 59 h 118"/>
                <a:gd name="T46" fmla="*/ 59 w 101"/>
                <a:gd name="T47" fmla="*/ 51 h 118"/>
                <a:gd name="T48" fmla="*/ 50 w 101"/>
                <a:gd name="T49" fmla="*/ 51 h 118"/>
                <a:gd name="T50" fmla="*/ 42 w 101"/>
                <a:gd name="T51" fmla="*/ 42 h 118"/>
                <a:gd name="T52" fmla="*/ 42 w 101"/>
                <a:gd name="T53" fmla="*/ 42 h 118"/>
                <a:gd name="T54" fmla="*/ 42 w 101"/>
                <a:gd name="T55" fmla="*/ 34 h 118"/>
                <a:gd name="T56" fmla="*/ 34 w 101"/>
                <a:gd name="T57" fmla="*/ 34 h 118"/>
                <a:gd name="T58" fmla="*/ 34 w 101"/>
                <a:gd name="T59" fmla="*/ 8 h 118"/>
                <a:gd name="T60" fmla="*/ 34 w 101"/>
                <a:gd name="T61" fmla="*/ 17 h 118"/>
                <a:gd name="T62" fmla="*/ 25 w 101"/>
                <a:gd name="T63" fmla="*/ 25 h 118"/>
                <a:gd name="T64" fmla="*/ 25 w 101"/>
                <a:gd name="T65" fmla="*/ 8 h 118"/>
                <a:gd name="T66" fmla="*/ 17 w 101"/>
                <a:gd name="T67" fmla="*/ 0 h 118"/>
                <a:gd name="T68" fmla="*/ 0 w 101"/>
                <a:gd name="T69" fmla="*/ 8 h 118"/>
                <a:gd name="T70" fmla="*/ 17 w 101"/>
                <a:gd name="T71" fmla="*/ 0 h 118"/>
                <a:gd name="T72" fmla="*/ 17 w 101"/>
                <a:gd name="T73" fmla="*/ 8 h 118"/>
                <a:gd name="T74" fmla="*/ 0 w 101"/>
                <a:gd name="T75" fmla="*/ 8 h 118"/>
                <a:gd name="T76" fmla="*/ 25 w 101"/>
                <a:gd name="T77" fmla="*/ 34 h 118"/>
                <a:gd name="T78" fmla="*/ 25 w 101"/>
                <a:gd name="T79" fmla="*/ 42 h 118"/>
                <a:gd name="T80" fmla="*/ 17 w 101"/>
                <a:gd name="T81" fmla="*/ 59 h 118"/>
                <a:gd name="T82" fmla="*/ 17 w 101"/>
                <a:gd name="T83" fmla="*/ 59 h 118"/>
                <a:gd name="T84" fmla="*/ 17 w 101"/>
                <a:gd name="T85" fmla="*/ 59 h 118"/>
                <a:gd name="T86" fmla="*/ 8 w 101"/>
                <a:gd name="T87" fmla="*/ 59 h 118"/>
                <a:gd name="T88" fmla="*/ 17 w 101"/>
                <a:gd name="T89" fmla="*/ 42 h 118"/>
                <a:gd name="T90" fmla="*/ 8 w 101"/>
                <a:gd name="T91" fmla="*/ 42 h 118"/>
                <a:gd name="T92" fmla="*/ 8 w 101"/>
                <a:gd name="T93" fmla="*/ 51 h 118"/>
                <a:gd name="T94" fmla="*/ 17 w 101"/>
                <a:gd name="T95" fmla="*/ 59 h 118"/>
                <a:gd name="T96" fmla="*/ 17 w 101"/>
                <a:gd name="T97" fmla="*/ 67 h 118"/>
                <a:gd name="T98" fmla="*/ 17 w 101"/>
                <a:gd name="T99" fmla="*/ 5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118">
                  <a:moveTo>
                    <a:pt x="92" y="109"/>
                  </a:move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close/>
                  <a:moveTo>
                    <a:pt x="76" y="118"/>
                  </a:moveTo>
                  <a:lnTo>
                    <a:pt x="92" y="118"/>
                  </a:lnTo>
                  <a:lnTo>
                    <a:pt x="92" y="118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18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76" y="118"/>
                  </a:lnTo>
                  <a:lnTo>
                    <a:pt x="76" y="118"/>
                  </a:lnTo>
                  <a:close/>
                  <a:moveTo>
                    <a:pt x="92" y="93"/>
                  </a:moveTo>
                  <a:lnTo>
                    <a:pt x="92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close/>
                  <a:moveTo>
                    <a:pt x="84" y="84"/>
                  </a:moveTo>
                  <a:lnTo>
                    <a:pt x="76" y="84"/>
                  </a:lnTo>
                  <a:lnTo>
                    <a:pt x="76" y="84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67" y="93"/>
                  </a:lnTo>
                  <a:lnTo>
                    <a:pt x="76" y="93"/>
                  </a:lnTo>
                  <a:lnTo>
                    <a:pt x="84" y="93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close/>
                  <a:moveTo>
                    <a:pt x="67" y="84"/>
                  </a:move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close/>
                  <a:moveTo>
                    <a:pt x="59" y="67"/>
                  </a:moveTo>
                  <a:lnTo>
                    <a:pt x="59" y="76"/>
                  </a:lnTo>
                  <a:lnTo>
                    <a:pt x="59" y="76"/>
                  </a:lnTo>
                  <a:lnTo>
                    <a:pt x="67" y="84"/>
                  </a:lnTo>
                  <a:lnTo>
                    <a:pt x="59" y="84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close/>
                  <a:moveTo>
                    <a:pt x="42" y="67"/>
                  </a:move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close/>
                  <a:moveTo>
                    <a:pt x="67" y="59"/>
                  </a:move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67" y="59"/>
                  </a:lnTo>
                  <a:lnTo>
                    <a:pt x="67" y="59"/>
                  </a:lnTo>
                  <a:close/>
                  <a:moveTo>
                    <a:pt x="50" y="51"/>
                  </a:moveTo>
                  <a:lnTo>
                    <a:pt x="50" y="51"/>
                  </a:lnTo>
                  <a:lnTo>
                    <a:pt x="50" y="51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0" y="51"/>
                  </a:lnTo>
                  <a:lnTo>
                    <a:pt x="50" y="51"/>
                  </a:lnTo>
                  <a:close/>
                  <a:moveTo>
                    <a:pt x="34" y="34"/>
                  </a:moveTo>
                  <a:lnTo>
                    <a:pt x="42" y="34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17" y="0"/>
                  </a:moveTo>
                  <a:lnTo>
                    <a:pt x="25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17" y="42"/>
                  </a:moveTo>
                  <a:lnTo>
                    <a:pt x="25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17" y="42"/>
                  </a:lnTo>
                  <a:lnTo>
                    <a:pt x="17" y="42"/>
                  </a:lnTo>
                  <a:close/>
                  <a:moveTo>
                    <a:pt x="17" y="59"/>
                  </a:move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8" y="59"/>
                  </a:moveTo>
                  <a:lnTo>
                    <a:pt x="17" y="59"/>
                  </a:lnTo>
                  <a:lnTo>
                    <a:pt x="17" y="59"/>
                  </a:lnTo>
                  <a:lnTo>
                    <a:pt x="8" y="59"/>
                  </a:lnTo>
                  <a:lnTo>
                    <a:pt x="8" y="59"/>
                  </a:lnTo>
                  <a:close/>
                  <a:moveTo>
                    <a:pt x="8" y="51"/>
                  </a:moveTo>
                  <a:lnTo>
                    <a:pt x="17" y="51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6" name="Freeform 176">
              <a:extLst>
                <a:ext uri="{FF2B5EF4-FFF2-40B4-BE49-F238E27FC236}">
                  <a16:creationId xmlns:a16="http://schemas.microsoft.com/office/drawing/2014/main" id="{AD778BBC-DDFD-41AC-862E-486EF782CB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7432" y="3804907"/>
              <a:ext cx="1160328" cy="680274"/>
            </a:xfrm>
            <a:custGeom>
              <a:avLst/>
              <a:gdLst>
                <a:gd name="T0" fmla="*/ 68 w 118"/>
                <a:gd name="T1" fmla="*/ 6 h 69"/>
                <a:gd name="T2" fmla="*/ 83 w 118"/>
                <a:gd name="T3" fmla="*/ 13 h 69"/>
                <a:gd name="T4" fmla="*/ 99 w 118"/>
                <a:gd name="T5" fmla="*/ 21 h 69"/>
                <a:gd name="T6" fmla="*/ 111 w 118"/>
                <a:gd name="T7" fmla="*/ 17 h 69"/>
                <a:gd name="T8" fmla="*/ 117 w 118"/>
                <a:gd name="T9" fmla="*/ 14 h 69"/>
                <a:gd name="T10" fmla="*/ 118 w 118"/>
                <a:gd name="T11" fmla="*/ 20 h 69"/>
                <a:gd name="T12" fmla="*/ 114 w 118"/>
                <a:gd name="T13" fmla="*/ 21 h 69"/>
                <a:gd name="T14" fmla="*/ 110 w 118"/>
                <a:gd name="T15" fmla="*/ 23 h 69"/>
                <a:gd name="T16" fmla="*/ 110 w 118"/>
                <a:gd name="T17" fmla="*/ 27 h 69"/>
                <a:gd name="T18" fmla="*/ 107 w 118"/>
                <a:gd name="T19" fmla="*/ 29 h 69"/>
                <a:gd name="T20" fmla="*/ 101 w 118"/>
                <a:gd name="T21" fmla="*/ 32 h 69"/>
                <a:gd name="T22" fmla="*/ 99 w 118"/>
                <a:gd name="T23" fmla="*/ 35 h 69"/>
                <a:gd name="T24" fmla="*/ 98 w 118"/>
                <a:gd name="T25" fmla="*/ 36 h 69"/>
                <a:gd name="T26" fmla="*/ 96 w 118"/>
                <a:gd name="T27" fmla="*/ 39 h 69"/>
                <a:gd name="T28" fmla="*/ 96 w 118"/>
                <a:gd name="T29" fmla="*/ 35 h 69"/>
                <a:gd name="T30" fmla="*/ 95 w 118"/>
                <a:gd name="T31" fmla="*/ 38 h 69"/>
                <a:gd name="T32" fmla="*/ 95 w 118"/>
                <a:gd name="T33" fmla="*/ 39 h 69"/>
                <a:gd name="T34" fmla="*/ 94 w 118"/>
                <a:gd name="T35" fmla="*/ 40 h 69"/>
                <a:gd name="T36" fmla="*/ 95 w 118"/>
                <a:gd name="T37" fmla="*/ 43 h 69"/>
                <a:gd name="T38" fmla="*/ 96 w 118"/>
                <a:gd name="T39" fmla="*/ 44 h 69"/>
                <a:gd name="T40" fmla="*/ 94 w 118"/>
                <a:gd name="T41" fmla="*/ 46 h 69"/>
                <a:gd name="T42" fmla="*/ 91 w 118"/>
                <a:gd name="T43" fmla="*/ 49 h 69"/>
                <a:gd name="T44" fmla="*/ 86 w 118"/>
                <a:gd name="T45" fmla="*/ 52 h 69"/>
                <a:gd name="T46" fmla="*/ 83 w 118"/>
                <a:gd name="T47" fmla="*/ 57 h 69"/>
                <a:gd name="T48" fmla="*/ 84 w 118"/>
                <a:gd name="T49" fmla="*/ 66 h 69"/>
                <a:gd name="T50" fmla="*/ 81 w 118"/>
                <a:gd name="T51" fmla="*/ 68 h 69"/>
                <a:gd name="T52" fmla="*/ 79 w 118"/>
                <a:gd name="T53" fmla="*/ 65 h 69"/>
                <a:gd name="T54" fmla="*/ 79 w 118"/>
                <a:gd name="T55" fmla="*/ 60 h 69"/>
                <a:gd name="T56" fmla="*/ 75 w 118"/>
                <a:gd name="T57" fmla="*/ 58 h 69"/>
                <a:gd name="T58" fmla="*/ 73 w 118"/>
                <a:gd name="T59" fmla="*/ 57 h 69"/>
                <a:gd name="T60" fmla="*/ 70 w 118"/>
                <a:gd name="T61" fmla="*/ 57 h 69"/>
                <a:gd name="T62" fmla="*/ 65 w 118"/>
                <a:gd name="T63" fmla="*/ 58 h 69"/>
                <a:gd name="T64" fmla="*/ 65 w 118"/>
                <a:gd name="T65" fmla="*/ 60 h 69"/>
                <a:gd name="T66" fmla="*/ 62 w 118"/>
                <a:gd name="T67" fmla="*/ 59 h 69"/>
                <a:gd name="T68" fmla="*/ 59 w 118"/>
                <a:gd name="T69" fmla="*/ 58 h 69"/>
                <a:gd name="T70" fmla="*/ 54 w 118"/>
                <a:gd name="T71" fmla="*/ 59 h 69"/>
                <a:gd name="T72" fmla="*/ 51 w 118"/>
                <a:gd name="T73" fmla="*/ 61 h 69"/>
                <a:gd name="T74" fmla="*/ 48 w 118"/>
                <a:gd name="T75" fmla="*/ 67 h 69"/>
                <a:gd name="T76" fmla="*/ 45 w 118"/>
                <a:gd name="T77" fmla="*/ 64 h 69"/>
                <a:gd name="T78" fmla="*/ 42 w 118"/>
                <a:gd name="T79" fmla="*/ 58 h 69"/>
                <a:gd name="T80" fmla="*/ 38 w 118"/>
                <a:gd name="T81" fmla="*/ 59 h 69"/>
                <a:gd name="T82" fmla="*/ 36 w 118"/>
                <a:gd name="T83" fmla="*/ 58 h 69"/>
                <a:gd name="T84" fmla="*/ 34 w 118"/>
                <a:gd name="T85" fmla="*/ 56 h 69"/>
                <a:gd name="T86" fmla="*/ 31 w 118"/>
                <a:gd name="T87" fmla="*/ 52 h 69"/>
                <a:gd name="T88" fmla="*/ 8 w 118"/>
                <a:gd name="T89" fmla="*/ 46 h 69"/>
                <a:gd name="T90" fmla="*/ 4 w 118"/>
                <a:gd name="T91" fmla="*/ 43 h 69"/>
                <a:gd name="T92" fmla="*/ 2 w 118"/>
                <a:gd name="T93" fmla="*/ 37 h 69"/>
                <a:gd name="T94" fmla="*/ 2 w 118"/>
                <a:gd name="T95" fmla="*/ 34 h 69"/>
                <a:gd name="T96" fmla="*/ 2 w 118"/>
                <a:gd name="T97" fmla="*/ 34 h 69"/>
                <a:gd name="T98" fmla="*/ 0 w 118"/>
                <a:gd name="T99" fmla="*/ 27 h 69"/>
                <a:gd name="T100" fmla="*/ 1 w 118"/>
                <a:gd name="T101" fmla="*/ 20 h 69"/>
                <a:gd name="T102" fmla="*/ 5 w 118"/>
                <a:gd name="T103" fmla="*/ 10 h 69"/>
                <a:gd name="T104" fmla="*/ 5 w 118"/>
                <a:gd name="T105" fmla="*/ 8 h 69"/>
                <a:gd name="T106" fmla="*/ 6 w 118"/>
                <a:gd name="T107" fmla="*/ 3 h 69"/>
                <a:gd name="T108" fmla="*/ 8 w 118"/>
                <a:gd name="T109" fmla="*/ 4 h 69"/>
                <a:gd name="T110" fmla="*/ 9 w 118"/>
                <a:gd name="T111" fmla="*/ 6 h 69"/>
                <a:gd name="T112" fmla="*/ 10 w 118"/>
                <a:gd name="T113" fmla="*/ 1 h 69"/>
                <a:gd name="T114" fmla="*/ 102 w 118"/>
                <a:gd name="T115" fmla="*/ 31 h 69"/>
                <a:gd name="T116" fmla="*/ 105 w 118"/>
                <a:gd name="T117" fmla="*/ 30 h 69"/>
                <a:gd name="T118" fmla="*/ 10 w 118"/>
                <a:gd name="T119" fmla="*/ 2 h 69"/>
                <a:gd name="T120" fmla="*/ 49 w 118"/>
                <a:gd name="T121" fmla="*/ 6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" h="69">
                  <a:moveTo>
                    <a:pt x="10" y="0"/>
                  </a:moveTo>
                  <a:cubicBezTo>
                    <a:pt x="64" y="5"/>
                    <a:pt x="64" y="5"/>
                    <a:pt x="64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8" y="19"/>
                    <a:pt x="108" y="19"/>
                    <a:pt x="108" y="19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6" y="13"/>
                    <a:pt x="116" y="13"/>
                    <a:pt x="116" y="13"/>
                  </a:cubicBezTo>
                  <a:cubicBezTo>
                    <a:pt x="116" y="13"/>
                    <a:pt x="116" y="13"/>
                    <a:pt x="116" y="13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1"/>
                    <a:pt x="118" y="21"/>
                    <a:pt x="118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2"/>
                    <a:pt x="113" y="22"/>
                    <a:pt x="113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4"/>
                    <a:pt x="110" y="24"/>
                    <a:pt x="110" y="24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lose/>
                  <a:moveTo>
                    <a:pt x="108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8" y="29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lose/>
                  <a:moveTo>
                    <a:pt x="10" y="2"/>
                  </a:move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lose/>
                  <a:moveTo>
                    <a:pt x="50" y="63"/>
                  </a:moveTo>
                  <a:cubicBezTo>
                    <a:pt x="50" y="63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0" y="63"/>
                    <a:pt x="50" y="63"/>
                    <a:pt x="50" y="63"/>
                  </a:cubicBezTo>
                  <a:close/>
                  <a:moveTo>
                    <a:pt x="49" y="64"/>
                  </a:moveTo>
                  <a:cubicBezTo>
                    <a:pt x="49" y="64"/>
                    <a:pt x="49" y="64"/>
                    <a:pt x="49" y="64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lose/>
                  <a:moveTo>
                    <a:pt x="49" y="67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7"/>
                    <a:pt x="49" y="6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7" name="Freeform 177">
              <a:extLst>
                <a:ext uri="{FF2B5EF4-FFF2-40B4-BE49-F238E27FC236}">
                  <a16:creationId xmlns:a16="http://schemas.microsoft.com/office/drawing/2014/main" id="{41BBF92E-C6F8-4E1D-837B-A1023FE73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5288" y="6227433"/>
              <a:ext cx="473030" cy="88986"/>
            </a:xfrm>
            <a:custGeom>
              <a:avLst/>
              <a:gdLst>
                <a:gd name="T0" fmla="*/ 47 w 48"/>
                <a:gd name="T1" fmla="*/ 8 h 9"/>
                <a:gd name="T2" fmla="*/ 47 w 48"/>
                <a:gd name="T3" fmla="*/ 8 h 9"/>
                <a:gd name="T4" fmla="*/ 46 w 48"/>
                <a:gd name="T5" fmla="*/ 7 h 9"/>
                <a:gd name="T6" fmla="*/ 46 w 48"/>
                <a:gd name="T7" fmla="*/ 7 h 9"/>
                <a:gd name="T8" fmla="*/ 47 w 48"/>
                <a:gd name="T9" fmla="*/ 7 h 9"/>
                <a:gd name="T10" fmla="*/ 47 w 48"/>
                <a:gd name="T11" fmla="*/ 7 h 9"/>
                <a:gd name="T12" fmla="*/ 47 w 48"/>
                <a:gd name="T13" fmla="*/ 8 h 9"/>
                <a:gd name="T14" fmla="*/ 48 w 48"/>
                <a:gd name="T15" fmla="*/ 8 h 9"/>
                <a:gd name="T16" fmla="*/ 48 w 48"/>
                <a:gd name="T17" fmla="*/ 9 h 9"/>
                <a:gd name="T18" fmla="*/ 47 w 48"/>
                <a:gd name="T19" fmla="*/ 9 h 9"/>
                <a:gd name="T20" fmla="*/ 47 w 48"/>
                <a:gd name="T21" fmla="*/ 9 h 9"/>
                <a:gd name="T22" fmla="*/ 2 w 48"/>
                <a:gd name="T23" fmla="*/ 0 h 9"/>
                <a:gd name="T24" fmla="*/ 2 w 48"/>
                <a:gd name="T25" fmla="*/ 0 h 9"/>
                <a:gd name="T26" fmla="*/ 1 w 48"/>
                <a:gd name="T27" fmla="*/ 1 h 9"/>
                <a:gd name="T28" fmla="*/ 1 w 48"/>
                <a:gd name="T29" fmla="*/ 0 h 9"/>
                <a:gd name="T30" fmla="*/ 0 w 48"/>
                <a:gd name="T31" fmla="*/ 2 h 9"/>
                <a:gd name="T32" fmla="*/ 0 w 48"/>
                <a:gd name="T33" fmla="*/ 2 h 9"/>
                <a:gd name="T34" fmla="*/ 0 w 48"/>
                <a:gd name="T35" fmla="*/ 2 h 9"/>
                <a:gd name="T36" fmla="*/ 3 w 48"/>
                <a:gd name="T37" fmla="*/ 3 h 9"/>
                <a:gd name="T38" fmla="*/ 4 w 48"/>
                <a:gd name="T39" fmla="*/ 3 h 9"/>
                <a:gd name="T40" fmla="*/ 3 w 48"/>
                <a:gd name="T41" fmla="*/ 3 h 9"/>
                <a:gd name="T42" fmla="*/ 4 w 48"/>
                <a:gd name="T43" fmla="*/ 3 h 9"/>
                <a:gd name="T44" fmla="*/ 4 w 48"/>
                <a:gd name="T45" fmla="*/ 3 h 9"/>
                <a:gd name="T46" fmla="*/ 4 w 48"/>
                <a:gd name="T47" fmla="*/ 3 h 9"/>
                <a:gd name="T48" fmla="*/ 5 w 48"/>
                <a:gd name="T49" fmla="*/ 2 h 9"/>
                <a:gd name="T50" fmla="*/ 4 w 48"/>
                <a:gd name="T51" fmla="*/ 2 h 9"/>
                <a:gd name="T52" fmla="*/ 5 w 48"/>
                <a:gd name="T53" fmla="*/ 2 h 9"/>
                <a:gd name="T54" fmla="*/ 6 w 48"/>
                <a:gd name="T55" fmla="*/ 2 h 9"/>
                <a:gd name="T56" fmla="*/ 6 w 48"/>
                <a:gd name="T57" fmla="*/ 1 h 9"/>
                <a:gd name="T58" fmla="*/ 6 w 48"/>
                <a:gd name="T59" fmla="*/ 1 h 9"/>
                <a:gd name="T60" fmla="*/ 6 w 48"/>
                <a:gd name="T61" fmla="*/ 1 h 9"/>
                <a:gd name="T62" fmla="*/ 5 w 48"/>
                <a:gd name="T63" fmla="*/ 1 h 9"/>
                <a:gd name="T64" fmla="*/ 5 w 48"/>
                <a:gd name="T65" fmla="*/ 1 h 9"/>
                <a:gd name="T66" fmla="*/ 5 w 48"/>
                <a:gd name="T67" fmla="*/ 1 h 9"/>
                <a:gd name="T68" fmla="*/ 4 w 48"/>
                <a:gd name="T69" fmla="*/ 0 h 9"/>
                <a:gd name="T70" fmla="*/ 4 w 48"/>
                <a:gd name="T71" fmla="*/ 1 h 9"/>
                <a:gd name="T72" fmla="*/ 4 w 48"/>
                <a:gd name="T73" fmla="*/ 1 h 9"/>
                <a:gd name="T74" fmla="*/ 4 w 48"/>
                <a:gd name="T75" fmla="*/ 2 h 9"/>
                <a:gd name="T76" fmla="*/ 3 w 48"/>
                <a:gd name="T77" fmla="*/ 2 h 9"/>
                <a:gd name="T78" fmla="*/ 2 w 48"/>
                <a:gd name="T79" fmla="*/ 1 h 9"/>
                <a:gd name="T80" fmla="*/ 3 w 48"/>
                <a:gd name="T81" fmla="*/ 1 h 9"/>
                <a:gd name="T82" fmla="*/ 3 w 48"/>
                <a:gd name="T83" fmla="*/ 1 h 9"/>
                <a:gd name="T84" fmla="*/ 3 w 48"/>
                <a:gd name="T85" fmla="*/ 1 h 9"/>
                <a:gd name="T86" fmla="*/ 3 w 48"/>
                <a:gd name="T87" fmla="*/ 2 h 9"/>
                <a:gd name="T88" fmla="*/ 2 w 48"/>
                <a:gd name="T89" fmla="*/ 2 h 9"/>
                <a:gd name="T90" fmla="*/ 2 w 48"/>
                <a:gd name="T91" fmla="*/ 3 h 9"/>
                <a:gd name="T92" fmla="*/ 1 w 48"/>
                <a:gd name="T93" fmla="*/ 3 h 9"/>
                <a:gd name="T94" fmla="*/ 0 w 48"/>
                <a:gd name="T95" fmla="*/ 3 h 9"/>
                <a:gd name="T96" fmla="*/ 1 w 48"/>
                <a:gd name="T97" fmla="*/ 3 h 9"/>
                <a:gd name="T98" fmla="*/ 1 w 48"/>
                <a:gd name="T99" fmla="*/ 2 h 9"/>
                <a:gd name="T100" fmla="*/ 2 w 48"/>
                <a:gd name="T101" fmla="*/ 2 h 9"/>
                <a:gd name="T102" fmla="*/ 1 w 48"/>
                <a:gd name="T103" fmla="*/ 2 h 9"/>
                <a:gd name="T104" fmla="*/ 1 w 48"/>
                <a:gd name="T105" fmla="*/ 1 h 9"/>
                <a:gd name="T106" fmla="*/ 2 w 48"/>
                <a:gd name="T10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" h="9">
                  <a:moveTo>
                    <a:pt x="47" y="9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lose/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lose/>
                  <a:moveTo>
                    <a:pt x="2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8" name="Freeform 178">
              <a:extLst>
                <a:ext uri="{FF2B5EF4-FFF2-40B4-BE49-F238E27FC236}">
                  <a16:creationId xmlns:a16="http://schemas.microsoft.com/office/drawing/2014/main" id="{33E529A0-62A5-4979-A421-E801DF8B4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444" y="4829416"/>
              <a:ext cx="118257" cy="49176"/>
            </a:xfrm>
            <a:custGeom>
              <a:avLst/>
              <a:gdLst>
                <a:gd name="T0" fmla="*/ 85 w 101"/>
                <a:gd name="T1" fmla="*/ 42 h 42"/>
                <a:gd name="T2" fmla="*/ 76 w 101"/>
                <a:gd name="T3" fmla="*/ 25 h 42"/>
                <a:gd name="T4" fmla="*/ 85 w 101"/>
                <a:gd name="T5" fmla="*/ 25 h 42"/>
                <a:gd name="T6" fmla="*/ 85 w 101"/>
                <a:gd name="T7" fmla="*/ 25 h 42"/>
                <a:gd name="T8" fmla="*/ 85 w 101"/>
                <a:gd name="T9" fmla="*/ 17 h 42"/>
                <a:gd name="T10" fmla="*/ 85 w 101"/>
                <a:gd name="T11" fmla="*/ 25 h 42"/>
                <a:gd name="T12" fmla="*/ 76 w 101"/>
                <a:gd name="T13" fmla="*/ 17 h 42"/>
                <a:gd name="T14" fmla="*/ 76 w 101"/>
                <a:gd name="T15" fmla="*/ 17 h 42"/>
                <a:gd name="T16" fmla="*/ 68 w 101"/>
                <a:gd name="T17" fmla="*/ 8 h 42"/>
                <a:gd name="T18" fmla="*/ 59 w 101"/>
                <a:gd name="T19" fmla="*/ 8 h 42"/>
                <a:gd name="T20" fmla="*/ 59 w 101"/>
                <a:gd name="T21" fmla="*/ 17 h 42"/>
                <a:gd name="T22" fmla="*/ 51 w 101"/>
                <a:gd name="T23" fmla="*/ 25 h 42"/>
                <a:gd name="T24" fmla="*/ 43 w 101"/>
                <a:gd name="T25" fmla="*/ 25 h 42"/>
                <a:gd name="T26" fmla="*/ 43 w 101"/>
                <a:gd name="T27" fmla="*/ 34 h 42"/>
                <a:gd name="T28" fmla="*/ 51 w 101"/>
                <a:gd name="T29" fmla="*/ 34 h 42"/>
                <a:gd name="T30" fmla="*/ 51 w 101"/>
                <a:gd name="T31" fmla="*/ 42 h 42"/>
                <a:gd name="T32" fmla="*/ 43 w 101"/>
                <a:gd name="T33" fmla="*/ 42 h 42"/>
                <a:gd name="T34" fmla="*/ 34 w 101"/>
                <a:gd name="T35" fmla="*/ 42 h 42"/>
                <a:gd name="T36" fmla="*/ 34 w 101"/>
                <a:gd name="T37" fmla="*/ 42 h 42"/>
                <a:gd name="T38" fmla="*/ 34 w 101"/>
                <a:gd name="T39" fmla="*/ 34 h 42"/>
                <a:gd name="T40" fmla="*/ 34 w 101"/>
                <a:gd name="T41" fmla="*/ 34 h 42"/>
                <a:gd name="T42" fmla="*/ 34 w 101"/>
                <a:gd name="T43" fmla="*/ 34 h 42"/>
                <a:gd name="T44" fmla="*/ 26 w 101"/>
                <a:gd name="T45" fmla="*/ 34 h 42"/>
                <a:gd name="T46" fmla="*/ 26 w 101"/>
                <a:gd name="T47" fmla="*/ 34 h 42"/>
                <a:gd name="T48" fmla="*/ 17 w 101"/>
                <a:gd name="T49" fmla="*/ 25 h 42"/>
                <a:gd name="T50" fmla="*/ 17 w 101"/>
                <a:gd name="T51" fmla="*/ 25 h 42"/>
                <a:gd name="T52" fmla="*/ 9 w 101"/>
                <a:gd name="T53" fmla="*/ 25 h 42"/>
                <a:gd name="T54" fmla="*/ 9 w 101"/>
                <a:gd name="T55" fmla="*/ 25 h 42"/>
                <a:gd name="T56" fmla="*/ 0 w 101"/>
                <a:gd name="T57" fmla="*/ 25 h 42"/>
                <a:gd name="T58" fmla="*/ 0 w 101"/>
                <a:gd name="T59" fmla="*/ 17 h 42"/>
                <a:gd name="T60" fmla="*/ 0 w 101"/>
                <a:gd name="T61" fmla="*/ 8 h 42"/>
                <a:gd name="T62" fmla="*/ 0 w 101"/>
                <a:gd name="T63" fmla="*/ 8 h 42"/>
                <a:gd name="T64" fmla="*/ 0 w 101"/>
                <a:gd name="T65" fmla="*/ 0 h 42"/>
                <a:gd name="T66" fmla="*/ 9 w 101"/>
                <a:gd name="T67" fmla="*/ 0 h 42"/>
                <a:gd name="T68" fmla="*/ 9 w 101"/>
                <a:gd name="T69" fmla="*/ 8 h 42"/>
                <a:gd name="T70" fmla="*/ 17 w 101"/>
                <a:gd name="T71" fmla="*/ 8 h 42"/>
                <a:gd name="T72" fmla="*/ 17 w 101"/>
                <a:gd name="T73" fmla="*/ 8 h 42"/>
                <a:gd name="T74" fmla="*/ 17 w 101"/>
                <a:gd name="T75" fmla="*/ 8 h 42"/>
                <a:gd name="T76" fmla="*/ 17 w 101"/>
                <a:gd name="T77" fmla="*/ 8 h 42"/>
                <a:gd name="T78" fmla="*/ 17 w 101"/>
                <a:gd name="T79" fmla="*/ 8 h 42"/>
                <a:gd name="T80" fmla="*/ 26 w 101"/>
                <a:gd name="T81" fmla="*/ 8 h 42"/>
                <a:gd name="T82" fmla="*/ 34 w 101"/>
                <a:gd name="T83" fmla="*/ 17 h 42"/>
                <a:gd name="T84" fmla="*/ 43 w 101"/>
                <a:gd name="T85" fmla="*/ 8 h 42"/>
                <a:gd name="T86" fmla="*/ 59 w 101"/>
                <a:gd name="T87" fmla="*/ 0 h 42"/>
                <a:gd name="T88" fmla="*/ 68 w 101"/>
                <a:gd name="T89" fmla="*/ 0 h 42"/>
                <a:gd name="T90" fmla="*/ 68 w 101"/>
                <a:gd name="T91" fmla="*/ 0 h 42"/>
                <a:gd name="T92" fmla="*/ 76 w 101"/>
                <a:gd name="T93" fmla="*/ 0 h 42"/>
                <a:gd name="T94" fmla="*/ 93 w 101"/>
                <a:gd name="T95" fmla="*/ 8 h 42"/>
                <a:gd name="T96" fmla="*/ 93 w 101"/>
                <a:gd name="T97" fmla="*/ 17 h 42"/>
                <a:gd name="T98" fmla="*/ 101 w 101"/>
                <a:gd name="T99" fmla="*/ 17 h 42"/>
                <a:gd name="T100" fmla="*/ 101 w 101"/>
                <a:gd name="T101" fmla="*/ 25 h 42"/>
                <a:gd name="T102" fmla="*/ 93 w 101"/>
                <a:gd name="T103" fmla="*/ 34 h 42"/>
                <a:gd name="T104" fmla="*/ 93 w 101"/>
                <a:gd name="T105" fmla="*/ 34 h 42"/>
                <a:gd name="T106" fmla="*/ 93 w 101"/>
                <a:gd name="T10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" h="42">
                  <a:moveTo>
                    <a:pt x="93" y="42"/>
                  </a:moveTo>
                  <a:lnTo>
                    <a:pt x="85" y="42"/>
                  </a:lnTo>
                  <a:lnTo>
                    <a:pt x="85" y="34"/>
                  </a:lnTo>
                  <a:lnTo>
                    <a:pt x="7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76" y="25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6" y="8"/>
                  </a:lnTo>
                  <a:lnTo>
                    <a:pt x="26" y="17"/>
                  </a:lnTo>
                  <a:lnTo>
                    <a:pt x="34" y="17"/>
                  </a:lnTo>
                  <a:lnTo>
                    <a:pt x="43" y="17"/>
                  </a:lnTo>
                  <a:lnTo>
                    <a:pt x="43" y="8"/>
                  </a:lnTo>
                  <a:lnTo>
                    <a:pt x="51" y="8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93" y="17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9" name="Freeform 179">
              <a:extLst>
                <a:ext uri="{FF2B5EF4-FFF2-40B4-BE49-F238E27FC236}">
                  <a16:creationId xmlns:a16="http://schemas.microsoft.com/office/drawing/2014/main" id="{5CB93DB9-4C4C-4F30-BC5B-49AD525CE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900" y="4800145"/>
              <a:ext cx="69081" cy="58543"/>
            </a:xfrm>
            <a:custGeom>
              <a:avLst/>
              <a:gdLst>
                <a:gd name="T0" fmla="*/ 50 w 59"/>
                <a:gd name="T1" fmla="*/ 50 h 50"/>
                <a:gd name="T2" fmla="*/ 50 w 59"/>
                <a:gd name="T3" fmla="*/ 50 h 50"/>
                <a:gd name="T4" fmla="*/ 50 w 59"/>
                <a:gd name="T5" fmla="*/ 50 h 50"/>
                <a:gd name="T6" fmla="*/ 50 w 59"/>
                <a:gd name="T7" fmla="*/ 50 h 50"/>
                <a:gd name="T8" fmla="*/ 50 w 59"/>
                <a:gd name="T9" fmla="*/ 50 h 50"/>
                <a:gd name="T10" fmla="*/ 42 w 59"/>
                <a:gd name="T11" fmla="*/ 42 h 50"/>
                <a:gd name="T12" fmla="*/ 42 w 59"/>
                <a:gd name="T13" fmla="*/ 42 h 50"/>
                <a:gd name="T14" fmla="*/ 42 w 59"/>
                <a:gd name="T15" fmla="*/ 42 h 50"/>
                <a:gd name="T16" fmla="*/ 42 w 59"/>
                <a:gd name="T17" fmla="*/ 50 h 50"/>
                <a:gd name="T18" fmla="*/ 42 w 59"/>
                <a:gd name="T19" fmla="*/ 50 h 50"/>
                <a:gd name="T20" fmla="*/ 34 w 59"/>
                <a:gd name="T21" fmla="*/ 42 h 50"/>
                <a:gd name="T22" fmla="*/ 34 w 59"/>
                <a:gd name="T23" fmla="*/ 42 h 50"/>
                <a:gd name="T24" fmla="*/ 34 w 59"/>
                <a:gd name="T25" fmla="*/ 33 h 50"/>
                <a:gd name="T26" fmla="*/ 25 w 59"/>
                <a:gd name="T27" fmla="*/ 25 h 50"/>
                <a:gd name="T28" fmla="*/ 25 w 59"/>
                <a:gd name="T29" fmla="*/ 25 h 50"/>
                <a:gd name="T30" fmla="*/ 17 w 59"/>
                <a:gd name="T31" fmla="*/ 17 h 50"/>
                <a:gd name="T32" fmla="*/ 8 w 59"/>
                <a:gd name="T33" fmla="*/ 17 h 50"/>
                <a:gd name="T34" fmla="*/ 8 w 59"/>
                <a:gd name="T35" fmla="*/ 17 h 50"/>
                <a:gd name="T36" fmla="*/ 17 w 59"/>
                <a:gd name="T37" fmla="*/ 25 h 50"/>
                <a:gd name="T38" fmla="*/ 17 w 59"/>
                <a:gd name="T39" fmla="*/ 25 h 50"/>
                <a:gd name="T40" fmla="*/ 8 w 59"/>
                <a:gd name="T41" fmla="*/ 25 h 50"/>
                <a:gd name="T42" fmla="*/ 0 w 59"/>
                <a:gd name="T43" fmla="*/ 17 h 50"/>
                <a:gd name="T44" fmla="*/ 0 w 59"/>
                <a:gd name="T45" fmla="*/ 8 h 50"/>
                <a:gd name="T46" fmla="*/ 0 w 59"/>
                <a:gd name="T47" fmla="*/ 8 h 50"/>
                <a:gd name="T48" fmla="*/ 0 w 59"/>
                <a:gd name="T49" fmla="*/ 0 h 50"/>
                <a:gd name="T50" fmla="*/ 0 w 59"/>
                <a:gd name="T51" fmla="*/ 0 h 50"/>
                <a:gd name="T52" fmla="*/ 0 w 59"/>
                <a:gd name="T53" fmla="*/ 0 h 50"/>
                <a:gd name="T54" fmla="*/ 8 w 59"/>
                <a:gd name="T55" fmla="*/ 0 h 50"/>
                <a:gd name="T56" fmla="*/ 25 w 59"/>
                <a:gd name="T57" fmla="*/ 0 h 50"/>
                <a:gd name="T58" fmla="*/ 25 w 59"/>
                <a:gd name="T59" fmla="*/ 0 h 50"/>
                <a:gd name="T60" fmla="*/ 34 w 59"/>
                <a:gd name="T61" fmla="*/ 0 h 50"/>
                <a:gd name="T62" fmla="*/ 34 w 59"/>
                <a:gd name="T63" fmla="*/ 8 h 50"/>
                <a:gd name="T64" fmla="*/ 34 w 59"/>
                <a:gd name="T65" fmla="*/ 8 h 50"/>
                <a:gd name="T66" fmla="*/ 42 w 59"/>
                <a:gd name="T67" fmla="*/ 8 h 50"/>
                <a:gd name="T68" fmla="*/ 42 w 59"/>
                <a:gd name="T69" fmla="*/ 8 h 50"/>
                <a:gd name="T70" fmla="*/ 50 w 59"/>
                <a:gd name="T71" fmla="*/ 17 h 50"/>
                <a:gd name="T72" fmla="*/ 50 w 59"/>
                <a:gd name="T73" fmla="*/ 25 h 50"/>
                <a:gd name="T74" fmla="*/ 59 w 59"/>
                <a:gd name="T75" fmla="*/ 25 h 50"/>
                <a:gd name="T76" fmla="*/ 59 w 59"/>
                <a:gd name="T77" fmla="*/ 25 h 50"/>
                <a:gd name="T78" fmla="*/ 50 w 59"/>
                <a:gd name="T79" fmla="*/ 25 h 50"/>
                <a:gd name="T80" fmla="*/ 50 w 59"/>
                <a:gd name="T81" fmla="*/ 33 h 50"/>
                <a:gd name="T82" fmla="*/ 50 w 59"/>
                <a:gd name="T83" fmla="*/ 33 h 50"/>
                <a:gd name="T84" fmla="*/ 50 w 59"/>
                <a:gd name="T85" fmla="*/ 42 h 50"/>
                <a:gd name="T86" fmla="*/ 50 w 59"/>
                <a:gd name="T87" fmla="*/ 50 h 50"/>
                <a:gd name="T88" fmla="*/ 50 w 59"/>
                <a:gd name="T8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" h="50">
                  <a:moveTo>
                    <a:pt x="50" y="50"/>
                  </a:move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4" y="50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0" name="Freeform 180">
              <a:extLst>
                <a:ext uri="{FF2B5EF4-FFF2-40B4-BE49-F238E27FC236}">
                  <a16:creationId xmlns:a16="http://schemas.microsoft.com/office/drawing/2014/main" id="{70B7EBBF-CD31-4289-BC7B-055BB4E3A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629" y="4711159"/>
              <a:ext cx="87815" cy="98353"/>
            </a:xfrm>
            <a:custGeom>
              <a:avLst/>
              <a:gdLst>
                <a:gd name="T0" fmla="*/ 3 w 9"/>
                <a:gd name="T1" fmla="*/ 9 h 10"/>
                <a:gd name="T2" fmla="*/ 4 w 9"/>
                <a:gd name="T3" fmla="*/ 9 h 10"/>
                <a:gd name="T4" fmla="*/ 6 w 9"/>
                <a:gd name="T5" fmla="*/ 9 h 10"/>
                <a:gd name="T6" fmla="*/ 6 w 9"/>
                <a:gd name="T7" fmla="*/ 9 h 10"/>
                <a:gd name="T8" fmla="*/ 7 w 9"/>
                <a:gd name="T9" fmla="*/ 9 h 10"/>
                <a:gd name="T10" fmla="*/ 7 w 9"/>
                <a:gd name="T11" fmla="*/ 10 h 10"/>
                <a:gd name="T12" fmla="*/ 7 w 9"/>
                <a:gd name="T13" fmla="*/ 10 h 10"/>
                <a:gd name="T14" fmla="*/ 8 w 9"/>
                <a:gd name="T15" fmla="*/ 9 h 10"/>
                <a:gd name="T16" fmla="*/ 7 w 9"/>
                <a:gd name="T17" fmla="*/ 8 h 10"/>
                <a:gd name="T18" fmla="*/ 8 w 9"/>
                <a:gd name="T19" fmla="*/ 8 h 10"/>
                <a:gd name="T20" fmla="*/ 8 w 9"/>
                <a:gd name="T21" fmla="*/ 7 h 10"/>
                <a:gd name="T22" fmla="*/ 7 w 9"/>
                <a:gd name="T23" fmla="*/ 8 h 10"/>
                <a:gd name="T24" fmla="*/ 7 w 9"/>
                <a:gd name="T25" fmla="*/ 7 h 10"/>
                <a:gd name="T26" fmla="*/ 8 w 9"/>
                <a:gd name="T27" fmla="*/ 6 h 10"/>
                <a:gd name="T28" fmla="*/ 8 w 9"/>
                <a:gd name="T29" fmla="*/ 5 h 10"/>
                <a:gd name="T30" fmla="*/ 8 w 9"/>
                <a:gd name="T31" fmla="*/ 6 h 10"/>
                <a:gd name="T32" fmla="*/ 8 w 9"/>
                <a:gd name="T33" fmla="*/ 6 h 10"/>
                <a:gd name="T34" fmla="*/ 8 w 9"/>
                <a:gd name="T35" fmla="*/ 6 h 10"/>
                <a:gd name="T36" fmla="*/ 8 w 9"/>
                <a:gd name="T37" fmla="*/ 4 h 10"/>
                <a:gd name="T38" fmla="*/ 8 w 9"/>
                <a:gd name="T39" fmla="*/ 4 h 10"/>
                <a:gd name="T40" fmla="*/ 8 w 9"/>
                <a:gd name="T41" fmla="*/ 4 h 10"/>
                <a:gd name="T42" fmla="*/ 8 w 9"/>
                <a:gd name="T43" fmla="*/ 4 h 10"/>
                <a:gd name="T44" fmla="*/ 9 w 9"/>
                <a:gd name="T45" fmla="*/ 3 h 10"/>
                <a:gd name="T46" fmla="*/ 9 w 9"/>
                <a:gd name="T47" fmla="*/ 2 h 10"/>
                <a:gd name="T48" fmla="*/ 9 w 9"/>
                <a:gd name="T49" fmla="*/ 2 h 10"/>
                <a:gd name="T50" fmla="*/ 9 w 9"/>
                <a:gd name="T51" fmla="*/ 2 h 10"/>
                <a:gd name="T52" fmla="*/ 9 w 9"/>
                <a:gd name="T53" fmla="*/ 1 h 10"/>
                <a:gd name="T54" fmla="*/ 9 w 9"/>
                <a:gd name="T55" fmla="*/ 0 h 10"/>
                <a:gd name="T56" fmla="*/ 9 w 9"/>
                <a:gd name="T57" fmla="*/ 0 h 10"/>
                <a:gd name="T58" fmla="*/ 8 w 9"/>
                <a:gd name="T59" fmla="*/ 0 h 10"/>
                <a:gd name="T60" fmla="*/ 8 w 9"/>
                <a:gd name="T61" fmla="*/ 1 h 10"/>
                <a:gd name="T62" fmla="*/ 7 w 9"/>
                <a:gd name="T63" fmla="*/ 1 h 10"/>
                <a:gd name="T64" fmla="*/ 7 w 9"/>
                <a:gd name="T65" fmla="*/ 1 h 10"/>
                <a:gd name="T66" fmla="*/ 6 w 9"/>
                <a:gd name="T67" fmla="*/ 1 h 10"/>
                <a:gd name="T68" fmla="*/ 6 w 9"/>
                <a:gd name="T69" fmla="*/ 1 h 10"/>
                <a:gd name="T70" fmla="*/ 6 w 9"/>
                <a:gd name="T71" fmla="*/ 1 h 10"/>
                <a:gd name="T72" fmla="*/ 5 w 9"/>
                <a:gd name="T73" fmla="*/ 2 h 10"/>
                <a:gd name="T74" fmla="*/ 5 w 9"/>
                <a:gd name="T75" fmla="*/ 2 h 10"/>
                <a:gd name="T76" fmla="*/ 4 w 9"/>
                <a:gd name="T77" fmla="*/ 3 h 10"/>
                <a:gd name="T78" fmla="*/ 3 w 9"/>
                <a:gd name="T79" fmla="*/ 3 h 10"/>
                <a:gd name="T80" fmla="*/ 3 w 9"/>
                <a:gd name="T81" fmla="*/ 3 h 10"/>
                <a:gd name="T82" fmla="*/ 2 w 9"/>
                <a:gd name="T83" fmla="*/ 3 h 10"/>
                <a:gd name="T84" fmla="*/ 1 w 9"/>
                <a:gd name="T85" fmla="*/ 3 h 10"/>
                <a:gd name="T86" fmla="*/ 1 w 9"/>
                <a:gd name="T87" fmla="*/ 4 h 10"/>
                <a:gd name="T88" fmla="*/ 1 w 9"/>
                <a:gd name="T89" fmla="*/ 5 h 10"/>
                <a:gd name="T90" fmla="*/ 0 w 9"/>
                <a:gd name="T91" fmla="*/ 5 h 10"/>
                <a:gd name="T92" fmla="*/ 0 w 9"/>
                <a:gd name="T93" fmla="*/ 5 h 10"/>
                <a:gd name="T94" fmla="*/ 0 w 9"/>
                <a:gd name="T95" fmla="*/ 6 h 10"/>
                <a:gd name="T96" fmla="*/ 1 w 9"/>
                <a:gd name="T97" fmla="*/ 6 h 10"/>
                <a:gd name="T98" fmla="*/ 2 w 9"/>
                <a:gd name="T99" fmla="*/ 8 h 10"/>
                <a:gd name="T100" fmla="*/ 3 w 9"/>
                <a:gd name="T10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" h="10"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1" name="Freeform 181">
              <a:extLst>
                <a:ext uri="{FF2B5EF4-FFF2-40B4-BE49-F238E27FC236}">
                  <a16:creationId xmlns:a16="http://schemas.microsoft.com/office/drawing/2014/main" id="{97BAF651-EA20-4861-95CE-BF7F5FA82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7453" y="4691254"/>
              <a:ext cx="136991" cy="69081"/>
            </a:xfrm>
            <a:custGeom>
              <a:avLst/>
              <a:gdLst>
                <a:gd name="T0" fmla="*/ 50 w 117"/>
                <a:gd name="T1" fmla="*/ 59 h 59"/>
                <a:gd name="T2" fmla="*/ 50 w 117"/>
                <a:gd name="T3" fmla="*/ 51 h 59"/>
                <a:gd name="T4" fmla="*/ 50 w 117"/>
                <a:gd name="T5" fmla="*/ 42 h 59"/>
                <a:gd name="T6" fmla="*/ 59 w 117"/>
                <a:gd name="T7" fmla="*/ 42 h 59"/>
                <a:gd name="T8" fmla="*/ 67 w 117"/>
                <a:gd name="T9" fmla="*/ 42 h 59"/>
                <a:gd name="T10" fmla="*/ 67 w 117"/>
                <a:gd name="T11" fmla="*/ 42 h 59"/>
                <a:gd name="T12" fmla="*/ 75 w 117"/>
                <a:gd name="T13" fmla="*/ 42 h 59"/>
                <a:gd name="T14" fmla="*/ 84 w 117"/>
                <a:gd name="T15" fmla="*/ 34 h 59"/>
                <a:gd name="T16" fmla="*/ 84 w 117"/>
                <a:gd name="T17" fmla="*/ 34 h 59"/>
                <a:gd name="T18" fmla="*/ 92 w 117"/>
                <a:gd name="T19" fmla="*/ 26 h 59"/>
                <a:gd name="T20" fmla="*/ 92 w 117"/>
                <a:gd name="T21" fmla="*/ 26 h 59"/>
                <a:gd name="T22" fmla="*/ 92 w 117"/>
                <a:gd name="T23" fmla="*/ 26 h 59"/>
                <a:gd name="T24" fmla="*/ 101 w 117"/>
                <a:gd name="T25" fmla="*/ 26 h 59"/>
                <a:gd name="T26" fmla="*/ 101 w 117"/>
                <a:gd name="T27" fmla="*/ 26 h 59"/>
                <a:gd name="T28" fmla="*/ 109 w 117"/>
                <a:gd name="T29" fmla="*/ 26 h 59"/>
                <a:gd name="T30" fmla="*/ 109 w 117"/>
                <a:gd name="T31" fmla="*/ 17 h 59"/>
                <a:gd name="T32" fmla="*/ 117 w 117"/>
                <a:gd name="T33" fmla="*/ 17 h 59"/>
                <a:gd name="T34" fmla="*/ 117 w 117"/>
                <a:gd name="T35" fmla="*/ 17 h 59"/>
                <a:gd name="T36" fmla="*/ 117 w 117"/>
                <a:gd name="T37" fmla="*/ 17 h 59"/>
                <a:gd name="T38" fmla="*/ 109 w 117"/>
                <a:gd name="T39" fmla="*/ 9 h 59"/>
                <a:gd name="T40" fmla="*/ 109 w 117"/>
                <a:gd name="T41" fmla="*/ 17 h 59"/>
                <a:gd name="T42" fmla="*/ 101 w 117"/>
                <a:gd name="T43" fmla="*/ 17 h 59"/>
                <a:gd name="T44" fmla="*/ 101 w 117"/>
                <a:gd name="T45" fmla="*/ 17 h 59"/>
                <a:gd name="T46" fmla="*/ 101 w 117"/>
                <a:gd name="T47" fmla="*/ 9 h 59"/>
                <a:gd name="T48" fmla="*/ 101 w 117"/>
                <a:gd name="T49" fmla="*/ 9 h 59"/>
                <a:gd name="T50" fmla="*/ 101 w 117"/>
                <a:gd name="T51" fmla="*/ 9 h 59"/>
                <a:gd name="T52" fmla="*/ 109 w 117"/>
                <a:gd name="T53" fmla="*/ 9 h 59"/>
                <a:gd name="T54" fmla="*/ 101 w 117"/>
                <a:gd name="T55" fmla="*/ 9 h 59"/>
                <a:gd name="T56" fmla="*/ 92 w 117"/>
                <a:gd name="T57" fmla="*/ 9 h 59"/>
                <a:gd name="T58" fmla="*/ 92 w 117"/>
                <a:gd name="T59" fmla="*/ 9 h 59"/>
                <a:gd name="T60" fmla="*/ 84 w 117"/>
                <a:gd name="T61" fmla="*/ 9 h 59"/>
                <a:gd name="T62" fmla="*/ 67 w 117"/>
                <a:gd name="T63" fmla="*/ 0 h 59"/>
                <a:gd name="T64" fmla="*/ 67 w 117"/>
                <a:gd name="T65" fmla="*/ 0 h 59"/>
                <a:gd name="T66" fmla="*/ 67 w 117"/>
                <a:gd name="T67" fmla="*/ 0 h 59"/>
                <a:gd name="T68" fmla="*/ 59 w 117"/>
                <a:gd name="T69" fmla="*/ 0 h 59"/>
                <a:gd name="T70" fmla="*/ 50 w 117"/>
                <a:gd name="T71" fmla="*/ 9 h 59"/>
                <a:gd name="T72" fmla="*/ 33 w 117"/>
                <a:gd name="T73" fmla="*/ 9 h 59"/>
                <a:gd name="T74" fmla="*/ 33 w 117"/>
                <a:gd name="T75" fmla="*/ 9 h 59"/>
                <a:gd name="T76" fmla="*/ 25 w 117"/>
                <a:gd name="T77" fmla="*/ 9 h 59"/>
                <a:gd name="T78" fmla="*/ 17 w 117"/>
                <a:gd name="T79" fmla="*/ 17 h 59"/>
                <a:gd name="T80" fmla="*/ 8 w 117"/>
                <a:gd name="T81" fmla="*/ 26 h 59"/>
                <a:gd name="T82" fmla="*/ 8 w 117"/>
                <a:gd name="T83" fmla="*/ 34 h 59"/>
                <a:gd name="T84" fmla="*/ 8 w 117"/>
                <a:gd name="T85" fmla="*/ 34 h 59"/>
                <a:gd name="T86" fmla="*/ 8 w 117"/>
                <a:gd name="T87" fmla="*/ 34 h 59"/>
                <a:gd name="T88" fmla="*/ 8 w 117"/>
                <a:gd name="T89" fmla="*/ 51 h 59"/>
                <a:gd name="T90" fmla="*/ 17 w 117"/>
                <a:gd name="T91" fmla="*/ 51 h 59"/>
                <a:gd name="T92" fmla="*/ 17 w 117"/>
                <a:gd name="T93" fmla="*/ 51 h 59"/>
                <a:gd name="T94" fmla="*/ 17 w 117"/>
                <a:gd name="T95" fmla="*/ 51 h 59"/>
                <a:gd name="T96" fmla="*/ 25 w 117"/>
                <a:gd name="T97" fmla="*/ 51 h 59"/>
                <a:gd name="T98" fmla="*/ 33 w 117"/>
                <a:gd name="T99" fmla="*/ 59 h 59"/>
                <a:gd name="T100" fmla="*/ 33 w 117"/>
                <a:gd name="T101" fmla="*/ 51 h 59"/>
                <a:gd name="T102" fmla="*/ 42 w 117"/>
                <a:gd name="T103" fmla="*/ 51 h 59"/>
                <a:gd name="T104" fmla="*/ 42 w 117"/>
                <a:gd name="T105" fmla="*/ 51 h 59"/>
                <a:gd name="T106" fmla="*/ 42 w 117"/>
                <a:gd name="T107" fmla="*/ 51 h 59"/>
                <a:gd name="T108" fmla="*/ 42 w 117"/>
                <a:gd name="T10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7" h="59">
                  <a:moveTo>
                    <a:pt x="42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75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59" y="0"/>
                  </a:lnTo>
                  <a:lnTo>
                    <a:pt x="59" y="9"/>
                  </a:lnTo>
                  <a:lnTo>
                    <a:pt x="50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9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9"/>
                  </a:lnTo>
                  <a:lnTo>
                    <a:pt x="42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2" name="Freeform 182">
              <a:extLst>
                <a:ext uri="{FF2B5EF4-FFF2-40B4-BE49-F238E27FC236}">
                  <a16:creationId xmlns:a16="http://schemas.microsoft.com/office/drawing/2014/main" id="{BDCE8A0C-853E-4593-8588-B2FD4952A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915" y="4731064"/>
              <a:ext cx="49176" cy="29272"/>
            </a:xfrm>
            <a:custGeom>
              <a:avLst/>
              <a:gdLst>
                <a:gd name="T0" fmla="*/ 17 w 42"/>
                <a:gd name="T1" fmla="*/ 0 h 25"/>
                <a:gd name="T2" fmla="*/ 17 w 42"/>
                <a:gd name="T3" fmla="*/ 0 h 25"/>
                <a:gd name="T4" fmla="*/ 26 w 42"/>
                <a:gd name="T5" fmla="*/ 0 h 25"/>
                <a:gd name="T6" fmla="*/ 26 w 42"/>
                <a:gd name="T7" fmla="*/ 0 h 25"/>
                <a:gd name="T8" fmla="*/ 26 w 42"/>
                <a:gd name="T9" fmla="*/ 0 h 25"/>
                <a:gd name="T10" fmla="*/ 26 w 42"/>
                <a:gd name="T11" fmla="*/ 0 h 25"/>
                <a:gd name="T12" fmla="*/ 34 w 42"/>
                <a:gd name="T13" fmla="*/ 0 h 25"/>
                <a:gd name="T14" fmla="*/ 34 w 42"/>
                <a:gd name="T15" fmla="*/ 0 h 25"/>
                <a:gd name="T16" fmla="*/ 34 w 42"/>
                <a:gd name="T17" fmla="*/ 8 h 25"/>
                <a:gd name="T18" fmla="*/ 34 w 42"/>
                <a:gd name="T19" fmla="*/ 8 h 25"/>
                <a:gd name="T20" fmla="*/ 34 w 42"/>
                <a:gd name="T21" fmla="*/ 8 h 25"/>
                <a:gd name="T22" fmla="*/ 42 w 42"/>
                <a:gd name="T23" fmla="*/ 0 h 25"/>
                <a:gd name="T24" fmla="*/ 42 w 42"/>
                <a:gd name="T25" fmla="*/ 0 h 25"/>
                <a:gd name="T26" fmla="*/ 42 w 42"/>
                <a:gd name="T27" fmla="*/ 0 h 25"/>
                <a:gd name="T28" fmla="*/ 42 w 42"/>
                <a:gd name="T29" fmla="*/ 8 h 25"/>
                <a:gd name="T30" fmla="*/ 42 w 42"/>
                <a:gd name="T31" fmla="*/ 8 h 25"/>
                <a:gd name="T32" fmla="*/ 42 w 42"/>
                <a:gd name="T33" fmla="*/ 8 h 25"/>
                <a:gd name="T34" fmla="*/ 42 w 42"/>
                <a:gd name="T35" fmla="*/ 8 h 25"/>
                <a:gd name="T36" fmla="*/ 42 w 42"/>
                <a:gd name="T37" fmla="*/ 17 h 25"/>
                <a:gd name="T38" fmla="*/ 42 w 42"/>
                <a:gd name="T39" fmla="*/ 17 h 25"/>
                <a:gd name="T40" fmla="*/ 42 w 42"/>
                <a:gd name="T41" fmla="*/ 17 h 25"/>
                <a:gd name="T42" fmla="*/ 42 w 42"/>
                <a:gd name="T43" fmla="*/ 17 h 25"/>
                <a:gd name="T44" fmla="*/ 42 w 42"/>
                <a:gd name="T45" fmla="*/ 25 h 25"/>
                <a:gd name="T46" fmla="*/ 34 w 42"/>
                <a:gd name="T47" fmla="*/ 25 h 25"/>
                <a:gd name="T48" fmla="*/ 34 w 42"/>
                <a:gd name="T49" fmla="*/ 17 h 25"/>
                <a:gd name="T50" fmla="*/ 34 w 42"/>
                <a:gd name="T51" fmla="*/ 17 h 25"/>
                <a:gd name="T52" fmla="*/ 26 w 42"/>
                <a:gd name="T53" fmla="*/ 17 h 25"/>
                <a:gd name="T54" fmla="*/ 26 w 42"/>
                <a:gd name="T55" fmla="*/ 17 h 25"/>
                <a:gd name="T56" fmla="*/ 26 w 42"/>
                <a:gd name="T57" fmla="*/ 17 h 25"/>
                <a:gd name="T58" fmla="*/ 26 w 42"/>
                <a:gd name="T59" fmla="*/ 17 h 25"/>
                <a:gd name="T60" fmla="*/ 26 w 42"/>
                <a:gd name="T61" fmla="*/ 17 h 25"/>
                <a:gd name="T62" fmla="*/ 17 w 42"/>
                <a:gd name="T63" fmla="*/ 17 h 25"/>
                <a:gd name="T64" fmla="*/ 17 w 42"/>
                <a:gd name="T65" fmla="*/ 17 h 25"/>
                <a:gd name="T66" fmla="*/ 9 w 42"/>
                <a:gd name="T67" fmla="*/ 17 h 25"/>
                <a:gd name="T68" fmla="*/ 9 w 42"/>
                <a:gd name="T69" fmla="*/ 8 h 25"/>
                <a:gd name="T70" fmla="*/ 0 w 42"/>
                <a:gd name="T71" fmla="*/ 8 h 25"/>
                <a:gd name="T72" fmla="*/ 0 w 42"/>
                <a:gd name="T73" fmla="*/ 8 h 25"/>
                <a:gd name="T74" fmla="*/ 0 w 42"/>
                <a:gd name="T75" fmla="*/ 8 h 25"/>
                <a:gd name="T76" fmla="*/ 0 w 42"/>
                <a:gd name="T77" fmla="*/ 8 h 25"/>
                <a:gd name="T78" fmla="*/ 9 w 42"/>
                <a:gd name="T79" fmla="*/ 0 h 25"/>
                <a:gd name="T80" fmla="*/ 9 w 42"/>
                <a:gd name="T81" fmla="*/ 0 h 25"/>
                <a:gd name="T82" fmla="*/ 17 w 42"/>
                <a:gd name="T83" fmla="*/ 0 h 25"/>
                <a:gd name="T84" fmla="*/ 17 w 42"/>
                <a:gd name="T85" fmla="*/ 0 h 25"/>
                <a:gd name="T86" fmla="*/ 17 w 42"/>
                <a:gd name="T8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25">
                  <a:moveTo>
                    <a:pt x="17" y="0"/>
                  </a:move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3" name="Freeform 183">
              <a:extLst>
                <a:ext uri="{FF2B5EF4-FFF2-40B4-BE49-F238E27FC236}">
                  <a16:creationId xmlns:a16="http://schemas.microsoft.com/office/drawing/2014/main" id="{A4F53B18-D846-41A0-8AE4-7572A36E6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357" y="4642078"/>
              <a:ext cx="18734" cy="49176"/>
            </a:xfrm>
            <a:custGeom>
              <a:avLst/>
              <a:gdLst>
                <a:gd name="T0" fmla="*/ 0 w 16"/>
                <a:gd name="T1" fmla="*/ 9 h 42"/>
                <a:gd name="T2" fmla="*/ 0 w 16"/>
                <a:gd name="T3" fmla="*/ 9 h 42"/>
                <a:gd name="T4" fmla="*/ 0 w 16"/>
                <a:gd name="T5" fmla="*/ 9 h 42"/>
                <a:gd name="T6" fmla="*/ 0 w 16"/>
                <a:gd name="T7" fmla="*/ 9 h 42"/>
                <a:gd name="T8" fmla="*/ 0 w 16"/>
                <a:gd name="T9" fmla="*/ 9 h 42"/>
                <a:gd name="T10" fmla="*/ 0 w 16"/>
                <a:gd name="T11" fmla="*/ 9 h 42"/>
                <a:gd name="T12" fmla="*/ 0 w 16"/>
                <a:gd name="T13" fmla="*/ 9 h 42"/>
                <a:gd name="T14" fmla="*/ 0 w 16"/>
                <a:gd name="T15" fmla="*/ 9 h 42"/>
                <a:gd name="T16" fmla="*/ 0 w 16"/>
                <a:gd name="T17" fmla="*/ 9 h 42"/>
                <a:gd name="T18" fmla="*/ 8 w 16"/>
                <a:gd name="T19" fmla="*/ 9 h 42"/>
                <a:gd name="T20" fmla="*/ 8 w 16"/>
                <a:gd name="T21" fmla="*/ 9 h 42"/>
                <a:gd name="T22" fmla="*/ 8 w 16"/>
                <a:gd name="T23" fmla="*/ 0 h 42"/>
                <a:gd name="T24" fmla="*/ 8 w 16"/>
                <a:gd name="T25" fmla="*/ 0 h 42"/>
                <a:gd name="T26" fmla="*/ 8 w 16"/>
                <a:gd name="T27" fmla="*/ 0 h 42"/>
                <a:gd name="T28" fmla="*/ 8 w 16"/>
                <a:gd name="T29" fmla="*/ 0 h 42"/>
                <a:gd name="T30" fmla="*/ 8 w 16"/>
                <a:gd name="T31" fmla="*/ 0 h 42"/>
                <a:gd name="T32" fmla="*/ 16 w 16"/>
                <a:gd name="T33" fmla="*/ 0 h 42"/>
                <a:gd name="T34" fmla="*/ 16 w 16"/>
                <a:gd name="T35" fmla="*/ 0 h 42"/>
                <a:gd name="T36" fmla="*/ 16 w 16"/>
                <a:gd name="T37" fmla="*/ 0 h 42"/>
                <a:gd name="T38" fmla="*/ 16 w 16"/>
                <a:gd name="T39" fmla="*/ 0 h 42"/>
                <a:gd name="T40" fmla="*/ 16 w 16"/>
                <a:gd name="T41" fmla="*/ 9 h 42"/>
                <a:gd name="T42" fmla="*/ 16 w 16"/>
                <a:gd name="T43" fmla="*/ 17 h 42"/>
                <a:gd name="T44" fmla="*/ 16 w 16"/>
                <a:gd name="T45" fmla="*/ 17 h 42"/>
                <a:gd name="T46" fmla="*/ 16 w 16"/>
                <a:gd name="T47" fmla="*/ 25 h 42"/>
                <a:gd name="T48" fmla="*/ 16 w 16"/>
                <a:gd name="T49" fmla="*/ 25 h 42"/>
                <a:gd name="T50" fmla="*/ 16 w 16"/>
                <a:gd name="T51" fmla="*/ 34 h 42"/>
                <a:gd name="T52" fmla="*/ 8 w 16"/>
                <a:gd name="T53" fmla="*/ 42 h 42"/>
                <a:gd name="T54" fmla="*/ 8 w 16"/>
                <a:gd name="T55" fmla="*/ 42 h 42"/>
                <a:gd name="T56" fmla="*/ 0 w 16"/>
                <a:gd name="T57" fmla="*/ 42 h 42"/>
                <a:gd name="T58" fmla="*/ 0 w 16"/>
                <a:gd name="T59" fmla="*/ 42 h 42"/>
                <a:gd name="T60" fmla="*/ 0 w 16"/>
                <a:gd name="T61" fmla="*/ 42 h 42"/>
                <a:gd name="T62" fmla="*/ 0 w 16"/>
                <a:gd name="T63" fmla="*/ 42 h 42"/>
                <a:gd name="T64" fmla="*/ 0 w 16"/>
                <a:gd name="T65" fmla="*/ 42 h 42"/>
                <a:gd name="T66" fmla="*/ 0 w 16"/>
                <a:gd name="T67" fmla="*/ 42 h 42"/>
                <a:gd name="T68" fmla="*/ 0 w 16"/>
                <a:gd name="T69" fmla="*/ 9 h 42"/>
                <a:gd name="T70" fmla="*/ 0 w 16"/>
                <a:gd name="T71" fmla="*/ 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" h="42"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9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4" name="Freeform 184">
              <a:extLst>
                <a:ext uri="{FF2B5EF4-FFF2-40B4-BE49-F238E27FC236}">
                  <a16:creationId xmlns:a16="http://schemas.microsoft.com/office/drawing/2014/main" id="{96E563DC-6655-4FF3-BB06-9AA31F847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276" y="4652615"/>
              <a:ext cx="87815" cy="87815"/>
            </a:xfrm>
            <a:custGeom>
              <a:avLst/>
              <a:gdLst>
                <a:gd name="T0" fmla="*/ 33 w 75"/>
                <a:gd name="T1" fmla="*/ 75 h 75"/>
                <a:gd name="T2" fmla="*/ 33 w 75"/>
                <a:gd name="T3" fmla="*/ 75 h 75"/>
                <a:gd name="T4" fmla="*/ 33 w 75"/>
                <a:gd name="T5" fmla="*/ 75 h 75"/>
                <a:gd name="T6" fmla="*/ 42 w 75"/>
                <a:gd name="T7" fmla="*/ 67 h 75"/>
                <a:gd name="T8" fmla="*/ 42 w 75"/>
                <a:gd name="T9" fmla="*/ 67 h 75"/>
                <a:gd name="T10" fmla="*/ 50 w 75"/>
                <a:gd name="T11" fmla="*/ 67 h 75"/>
                <a:gd name="T12" fmla="*/ 50 w 75"/>
                <a:gd name="T13" fmla="*/ 67 h 75"/>
                <a:gd name="T14" fmla="*/ 50 w 75"/>
                <a:gd name="T15" fmla="*/ 67 h 75"/>
                <a:gd name="T16" fmla="*/ 50 w 75"/>
                <a:gd name="T17" fmla="*/ 59 h 75"/>
                <a:gd name="T18" fmla="*/ 50 w 75"/>
                <a:gd name="T19" fmla="*/ 59 h 75"/>
                <a:gd name="T20" fmla="*/ 59 w 75"/>
                <a:gd name="T21" fmla="*/ 50 h 75"/>
                <a:gd name="T22" fmla="*/ 59 w 75"/>
                <a:gd name="T23" fmla="*/ 50 h 75"/>
                <a:gd name="T24" fmla="*/ 67 w 75"/>
                <a:gd name="T25" fmla="*/ 50 h 75"/>
                <a:gd name="T26" fmla="*/ 67 w 75"/>
                <a:gd name="T27" fmla="*/ 42 h 75"/>
                <a:gd name="T28" fmla="*/ 67 w 75"/>
                <a:gd name="T29" fmla="*/ 42 h 75"/>
                <a:gd name="T30" fmla="*/ 75 w 75"/>
                <a:gd name="T31" fmla="*/ 42 h 75"/>
                <a:gd name="T32" fmla="*/ 75 w 75"/>
                <a:gd name="T33" fmla="*/ 42 h 75"/>
                <a:gd name="T34" fmla="*/ 67 w 75"/>
                <a:gd name="T35" fmla="*/ 42 h 75"/>
                <a:gd name="T36" fmla="*/ 67 w 75"/>
                <a:gd name="T37" fmla="*/ 42 h 75"/>
                <a:gd name="T38" fmla="*/ 67 w 75"/>
                <a:gd name="T39" fmla="*/ 42 h 75"/>
                <a:gd name="T40" fmla="*/ 67 w 75"/>
                <a:gd name="T41" fmla="*/ 42 h 75"/>
                <a:gd name="T42" fmla="*/ 59 w 75"/>
                <a:gd name="T43" fmla="*/ 42 h 75"/>
                <a:gd name="T44" fmla="*/ 59 w 75"/>
                <a:gd name="T45" fmla="*/ 33 h 75"/>
                <a:gd name="T46" fmla="*/ 59 w 75"/>
                <a:gd name="T47" fmla="*/ 33 h 75"/>
                <a:gd name="T48" fmla="*/ 59 w 75"/>
                <a:gd name="T49" fmla="*/ 33 h 75"/>
                <a:gd name="T50" fmla="*/ 59 w 75"/>
                <a:gd name="T51" fmla="*/ 33 h 75"/>
                <a:gd name="T52" fmla="*/ 59 w 75"/>
                <a:gd name="T53" fmla="*/ 0 h 75"/>
                <a:gd name="T54" fmla="*/ 59 w 75"/>
                <a:gd name="T55" fmla="*/ 0 h 75"/>
                <a:gd name="T56" fmla="*/ 25 w 75"/>
                <a:gd name="T57" fmla="*/ 0 h 75"/>
                <a:gd name="T58" fmla="*/ 25 w 75"/>
                <a:gd name="T59" fmla="*/ 8 h 75"/>
                <a:gd name="T60" fmla="*/ 17 w 75"/>
                <a:gd name="T61" fmla="*/ 8 h 75"/>
                <a:gd name="T62" fmla="*/ 17 w 75"/>
                <a:gd name="T63" fmla="*/ 16 h 75"/>
                <a:gd name="T64" fmla="*/ 17 w 75"/>
                <a:gd name="T65" fmla="*/ 16 h 75"/>
                <a:gd name="T66" fmla="*/ 25 w 75"/>
                <a:gd name="T67" fmla="*/ 16 h 75"/>
                <a:gd name="T68" fmla="*/ 25 w 75"/>
                <a:gd name="T69" fmla="*/ 25 h 75"/>
                <a:gd name="T70" fmla="*/ 25 w 75"/>
                <a:gd name="T71" fmla="*/ 25 h 75"/>
                <a:gd name="T72" fmla="*/ 25 w 75"/>
                <a:gd name="T73" fmla="*/ 25 h 75"/>
                <a:gd name="T74" fmla="*/ 33 w 75"/>
                <a:gd name="T75" fmla="*/ 25 h 75"/>
                <a:gd name="T76" fmla="*/ 33 w 75"/>
                <a:gd name="T77" fmla="*/ 25 h 75"/>
                <a:gd name="T78" fmla="*/ 33 w 75"/>
                <a:gd name="T79" fmla="*/ 25 h 75"/>
                <a:gd name="T80" fmla="*/ 33 w 75"/>
                <a:gd name="T81" fmla="*/ 25 h 75"/>
                <a:gd name="T82" fmla="*/ 33 w 75"/>
                <a:gd name="T83" fmla="*/ 33 h 75"/>
                <a:gd name="T84" fmla="*/ 33 w 75"/>
                <a:gd name="T85" fmla="*/ 33 h 75"/>
                <a:gd name="T86" fmla="*/ 8 w 75"/>
                <a:gd name="T87" fmla="*/ 33 h 75"/>
                <a:gd name="T88" fmla="*/ 0 w 75"/>
                <a:gd name="T89" fmla="*/ 50 h 75"/>
                <a:gd name="T90" fmla="*/ 0 w 75"/>
                <a:gd name="T91" fmla="*/ 50 h 75"/>
                <a:gd name="T92" fmla="*/ 0 w 75"/>
                <a:gd name="T93" fmla="*/ 50 h 75"/>
                <a:gd name="T94" fmla="*/ 0 w 75"/>
                <a:gd name="T95" fmla="*/ 59 h 75"/>
                <a:gd name="T96" fmla="*/ 0 w 75"/>
                <a:gd name="T97" fmla="*/ 59 h 75"/>
                <a:gd name="T98" fmla="*/ 0 w 75"/>
                <a:gd name="T99" fmla="*/ 59 h 75"/>
                <a:gd name="T100" fmla="*/ 0 w 75"/>
                <a:gd name="T101" fmla="*/ 59 h 75"/>
                <a:gd name="T102" fmla="*/ 0 w 75"/>
                <a:gd name="T103" fmla="*/ 59 h 75"/>
                <a:gd name="T104" fmla="*/ 0 w 75"/>
                <a:gd name="T105" fmla="*/ 59 h 75"/>
                <a:gd name="T106" fmla="*/ 0 w 75"/>
                <a:gd name="T107" fmla="*/ 59 h 75"/>
                <a:gd name="T108" fmla="*/ 0 w 75"/>
                <a:gd name="T109" fmla="*/ 67 h 75"/>
                <a:gd name="T110" fmla="*/ 8 w 75"/>
                <a:gd name="T111" fmla="*/ 67 h 75"/>
                <a:gd name="T112" fmla="*/ 8 w 75"/>
                <a:gd name="T113" fmla="*/ 67 h 75"/>
                <a:gd name="T114" fmla="*/ 8 w 75"/>
                <a:gd name="T115" fmla="*/ 75 h 75"/>
                <a:gd name="T116" fmla="*/ 17 w 75"/>
                <a:gd name="T117" fmla="*/ 75 h 75"/>
                <a:gd name="T118" fmla="*/ 25 w 75"/>
                <a:gd name="T119" fmla="*/ 75 h 75"/>
                <a:gd name="T120" fmla="*/ 25 w 75"/>
                <a:gd name="T121" fmla="*/ 75 h 75"/>
                <a:gd name="T122" fmla="*/ 33 w 75"/>
                <a:gd name="T12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" h="75">
                  <a:moveTo>
                    <a:pt x="33" y="75"/>
                  </a:moveTo>
                  <a:lnTo>
                    <a:pt x="33" y="75"/>
                  </a:lnTo>
                  <a:lnTo>
                    <a:pt x="33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8" y="33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17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33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5" name="Freeform 185">
              <a:extLst>
                <a:ext uri="{FF2B5EF4-FFF2-40B4-BE49-F238E27FC236}">
                  <a16:creationId xmlns:a16="http://schemas.microsoft.com/office/drawing/2014/main" id="{0CB5E135-35B6-4518-A6A7-7FB17862B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784" y="4287305"/>
              <a:ext cx="590116" cy="434392"/>
            </a:xfrm>
            <a:custGeom>
              <a:avLst/>
              <a:gdLst>
                <a:gd name="T0" fmla="*/ 185 w 504"/>
                <a:gd name="T1" fmla="*/ 34 h 371"/>
                <a:gd name="T2" fmla="*/ 202 w 504"/>
                <a:gd name="T3" fmla="*/ 51 h 371"/>
                <a:gd name="T4" fmla="*/ 210 w 504"/>
                <a:gd name="T5" fmla="*/ 76 h 371"/>
                <a:gd name="T6" fmla="*/ 218 w 504"/>
                <a:gd name="T7" fmla="*/ 85 h 371"/>
                <a:gd name="T8" fmla="*/ 235 w 504"/>
                <a:gd name="T9" fmla="*/ 85 h 371"/>
                <a:gd name="T10" fmla="*/ 260 w 504"/>
                <a:gd name="T11" fmla="*/ 68 h 371"/>
                <a:gd name="T12" fmla="*/ 277 w 504"/>
                <a:gd name="T13" fmla="*/ 93 h 371"/>
                <a:gd name="T14" fmla="*/ 294 w 504"/>
                <a:gd name="T15" fmla="*/ 127 h 371"/>
                <a:gd name="T16" fmla="*/ 311 w 504"/>
                <a:gd name="T17" fmla="*/ 152 h 371"/>
                <a:gd name="T18" fmla="*/ 328 w 504"/>
                <a:gd name="T19" fmla="*/ 160 h 371"/>
                <a:gd name="T20" fmla="*/ 319 w 504"/>
                <a:gd name="T21" fmla="*/ 177 h 371"/>
                <a:gd name="T22" fmla="*/ 311 w 504"/>
                <a:gd name="T23" fmla="*/ 219 h 371"/>
                <a:gd name="T24" fmla="*/ 311 w 504"/>
                <a:gd name="T25" fmla="*/ 253 h 371"/>
                <a:gd name="T26" fmla="*/ 344 w 504"/>
                <a:gd name="T27" fmla="*/ 295 h 371"/>
                <a:gd name="T28" fmla="*/ 378 w 504"/>
                <a:gd name="T29" fmla="*/ 303 h 371"/>
                <a:gd name="T30" fmla="*/ 412 w 504"/>
                <a:gd name="T31" fmla="*/ 303 h 371"/>
                <a:gd name="T32" fmla="*/ 428 w 504"/>
                <a:gd name="T33" fmla="*/ 278 h 371"/>
                <a:gd name="T34" fmla="*/ 470 w 504"/>
                <a:gd name="T35" fmla="*/ 244 h 371"/>
                <a:gd name="T36" fmla="*/ 496 w 504"/>
                <a:gd name="T37" fmla="*/ 261 h 371"/>
                <a:gd name="T38" fmla="*/ 479 w 504"/>
                <a:gd name="T39" fmla="*/ 286 h 371"/>
                <a:gd name="T40" fmla="*/ 470 w 504"/>
                <a:gd name="T41" fmla="*/ 295 h 371"/>
                <a:gd name="T42" fmla="*/ 454 w 504"/>
                <a:gd name="T43" fmla="*/ 312 h 371"/>
                <a:gd name="T44" fmla="*/ 412 w 504"/>
                <a:gd name="T45" fmla="*/ 328 h 371"/>
                <a:gd name="T46" fmla="*/ 403 w 504"/>
                <a:gd name="T47" fmla="*/ 345 h 371"/>
                <a:gd name="T48" fmla="*/ 395 w 504"/>
                <a:gd name="T49" fmla="*/ 371 h 371"/>
                <a:gd name="T50" fmla="*/ 361 w 504"/>
                <a:gd name="T51" fmla="*/ 345 h 371"/>
                <a:gd name="T52" fmla="*/ 353 w 504"/>
                <a:gd name="T53" fmla="*/ 345 h 371"/>
                <a:gd name="T54" fmla="*/ 353 w 504"/>
                <a:gd name="T55" fmla="*/ 345 h 371"/>
                <a:gd name="T56" fmla="*/ 294 w 504"/>
                <a:gd name="T57" fmla="*/ 345 h 371"/>
                <a:gd name="T58" fmla="*/ 252 w 504"/>
                <a:gd name="T59" fmla="*/ 328 h 371"/>
                <a:gd name="T60" fmla="*/ 210 w 504"/>
                <a:gd name="T61" fmla="*/ 303 h 371"/>
                <a:gd name="T62" fmla="*/ 176 w 504"/>
                <a:gd name="T63" fmla="*/ 286 h 371"/>
                <a:gd name="T64" fmla="*/ 168 w 504"/>
                <a:gd name="T65" fmla="*/ 261 h 371"/>
                <a:gd name="T66" fmla="*/ 168 w 504"/>
                <a:gd name="T67" fmla="*/ 228 h 371"/>
                <a:gd name="T68" fmla="*/ 134 w 504"/>
                <a:gd name="T69" fmla="*/ 177 h 371"/>
                <a:gd name="T70" fmla="*/ 118 w 504"/>
                <a:gd name="T71" fmla="*/ 160 h 371"/>
                <a:gd name="T72" fmla="*/ 118 w 504"/>
                <a:gd name="T73" fmla="*/ 135 h 371"/>
                <a:gd name="T74" fmla="*/ 92 w 504"/>
                <a:gd name="T75" fmla="*/ 110 h 371"/>
                <a:gd name="T76" fmla="*/ 76 w 504"/>
                <a:gd name="T77" fmla="*/ 93 h 371"/>
                <a:gd name="T78" fmla="*/ 67 w 504"/>
                <a:gd name="T79" fmla="*/ 59 h 371"/>
                <a:gd name="T80" fmla="*/ 59 w 504"/>
                <a:gd name="T81" fmla="*/ 34 h 371"/>
                <a:gd name="T82" fmla="*/ 34 w 504"/>
                <a:gd name="T83" fmla="*/ 34 h 371"/>
                <a:gd name="T84" fmla="*/ 50 w 504"/>
                <a:gd name="T85" fmla="*/ 85 h 371"/>
                <a:gd name="T86" fmla="*/ 67 w 504"/>
                <a:gd name="T87" fmla="*/ 110 h 371"/>
                <a:gd name="T88" fmla="*/ 76 w 504"/>
                <a:gd name="T89" fmla="*/ 127 h 371"/>
                <a:gd name="T90" fmla="*/ 84 w 504"/>
                <a:gd name="T91" fmla="*/ 160 h 371"/>
                <a:gd name="T92" fmla="*/ 92 w 504"/>
                <a:gd name="T93" fmla="*/ 186 h 371"/>
                <a:gd name="T94" fmla="*/ 101 w 504"/>
                <a:gd name="T95" fmla="*/ 211 h 371"/>
                <a:gd name="T96" fmla="*/ 76 w 504"/>
                <a:gd name="T97" fmla="*/ 177 h 371"/>
                <a:gd name="T98" fmla="*/ 59 w 504"/>
                <a:gd name="T99" fmla="*/ 143 h 371"/>
                <a:gd name="T100" fmla="*/ 42 w 504"/>
                <a:gd name="T101" fmla="*/ 127 h 371"/>
                <a:gd name="T102" fmla="*/ 25 w 504"/>
                <a:gd name="T103" fmla="*/ 110 h 371"/>
                <a:gd name="T104" fmla="*/ 34 w 504"/>
                <a:gd name="T105" fmla="*/ 101 h 371"/>
                <a:gd name="T106" fmla="*/ 17 w 504"/>
                <a:gd name="T107" fmla="*/ 68 h 371"/>
                <a:gd name="T108" fmla="*/ 8 w 504"/>
                <a:gd name="T109" fmla="*/ 34 h 371"/>
                <a:gd name="T110" fmla="*/ 92 w 504"/>
                <a:gd name="T111" fmla="*/ 169 h 371"/>
                <a:gd name="T112" fmla="*/ 92 w 504"/>
                <a:gd name="T113" fmla="*/ 177 h 371"/>
                <a:gd name="T114" fmla="*/ 319 w 504"/>
                <a:gd name="T115" fmla="*/ 17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4" h="371">
                  <a:moveTo>
                    <a:pt x="0" y="0"/>
                  </a:move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101" y="34"/>
                  </a:lnTo>
                  <a:lnTo>
                    <a:pt x="151" y="34"/>
                  </a:lnTo>
                  <a:lnTo>
                    <a:pt x="151" y="26"/>
                  </a:lnTo>
                  <a:lnTo>
                    <a:pt x="176" y="26"/>
                  </a:lnTo>
                  <a:lnTo>
                    <a:pt x="185" y="26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51"/>
                  </a:lnTo>
                  <a:lnTo>
                    <a:pt x="202" y="51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8" y="76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27" y="85"/>
                  </a:lnTo>
                  <a:lnTo>
                    <a:pt x="227" y="85"/>
                  </a:lnTo>
                  <a:lnTo>
                    <a:pt x="227" y="93"/>
                  </a:lnTo>
                  <a:lnTo>
                    <a:pt x="235" y="93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52" y="76"/>
                  </a:lnTo>
                  <a:lnTo>
                    <a:pt x="252" y="68"/>
                  </a:lnTo>
                  <a:lnTo>
                    <a:pt x="252" y="68"/>
                  </a:lnTo>
                  <a:lnTo>
                    <a:pt x="252" y="76"/>
                  </a:lnTo>
                  <a:lnTo>
                    <a:pt x="260" y="68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9" y="76"/>
                  </a:lnTo>
                  <a:lnTo>
                    <a:pt x="269" y="76"/>
                  </a:lnTo>
                  <a:lnTo>
                    <a:pt x="269" y="76"/>
                  </a:lnTo>
                  <a:lnTo>
                    <a:pt x="277" y="85"/>
                  </a:lnTo>
                  <a:lnTo>
                    <a:pt x="277" y="85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8"/>
                  </a:lnTo>
                  <a:lnTo>
                    <a:pt x="294" y="118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35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302" y="143"/>
                  </a:lnTo>
                  <a:lnTo>
                    <a:pt x="302" y="143"/>
                  </a:lnTo>
                  <a:lnTo>
                    <a:pt x="302" y="143"/>
                  </a:lnTo>
                  <a:lnTo>
                    <a:pt x="302" y="152"/>
                  </a:lnTo>
                  <a:lnTo>
                    <a:pt x="311" y="152"/>
                  </a:lnTo>
                  <a:lnTo>
                    <a:pt x="319" y="152"/>
                  </a:lnTo>
                  <a:lnTo>
                    <a:pt x="319" y="152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28" y="152"/>
                  </a:lnTo>
                  <a:lnTo>
                    <a:pt x="328" y="152"/>
                  </a:lnTo>
                  <a:lnTo>
                    <a:pt x="328" y="152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19" y="160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0"/>
                  </a:lnTo>
                  <a:lnTo>
                    <a:pt x="319" y="169"/>
                  </a:lnTo>
                  <a:lnTo>
                    <a:pt x="311" y="169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1" y="177"/>
                  </a:lnTo>
                  <a:lnTo>
                    <a:pt x="311" y="186"/>
                  </a:lnTo>
                  <a:lnTo>
                    <a:pt x="311" y="186"/>
                  </a:lnTo>
                  <a:lnTo>
                    <a:pt x="311" y="186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202"/>
                  </a:lnTo>
                  <a:lnTo>
                    <a:pt x="311" y="211"/>
                  </a:lnTo>
                  <a:lnTo>
                    <a:pt x="311" y="219"/>
                  </a:lnTo>
                  <a:lnTo>
                    <a:pt x="311" y="219"/>
                  </a:lnTo>
                  <a:lnTo>
                    <a:pt x="311" y="219"/>
                  </a:lnTo>
                  <a:lnTo>
                    <a:pt x="311" y="228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44"/>
                  </a:lnTo>
                  <a:lnTo>
                    <a:pt x="311" y="244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44"/>
                  </a:lnTo>
                  <a:lnTo>
                    <a:pt x="311" y="244"/>
                  </a:lnTo>
                  <a:lnTo>
                    <a:pt x="311" y="253"/>
                  </a:lnTo>
                  <a:lnTo>
                    <a:pt x="311" y="253"/>
                  </a:lnTo>
                  <a:lnTo>
                    <a:pt x="311" y="253"/>
                  </a:lnTo>
                  <a:lnTo>
                    <a:pt x="319" y="261"/>
                  </a:lnTo>
                  <a:lnTo>
                    <a:pt x="328" y="270"/>
                  </a:lnTo>
                  <a:lnTo>
                    <a:pt x="328" y="270"/>
                  </a:lnTo>
                  <a:lnTo>
                    <a:pt x="328" y="278"/>
                  </a:lnTo>
                  <a:lnTo>
                    <a:pt x="328" y="278"/>
                  </a:lnTo>
                  <a:lnTo>
                    <a:pt x="328" y="286"/>
                  </a:lnTo>
                  <a:lnTo>
                    <a:pt x="336" y="295"/>
                  </a:lnTo>
                  <a:lnTo>
                    <a:pt x="336" y="295"/>
                  </a:lnTo>
                  <a:lnTo>
                    <a:pt x="344" y="295"/>
                  </a:lnTo>
                  <a:lnTo>
                    <a:pt x="344" y="295"/>
                  </a:lnTo>
                  <a:lnTo>
                    <a:pt x="344" y="295"/>
                  </a:lnTo>
                  <a:lnTo>
                    <a:pt x="353" y="295"/>
                  </a:lnTo>
                  <a:lnTo>
                    <a:pt x="353" y="303"/>
                  </a:lnTo>
                  <a:lnTo>
                    <a:pt x="361" y="312"/>
                  </a:lnTo>
                  <a:lnTo>
                    <a:pt x="361" y="303"/>
                  </a:lnTo>
                  <a:lnTo>
                    <a:pt x="370" y="303"/>
                  </a:lnTo>
                  <a:lnTo>
                    <a:pt x="370" y="303"/>
                  </a:lnTo>
                  <a:lnTo>
                    <a:pt x="370" y="303"/>
                  </a:lnTo>
                  <a:lnTo>
                    <a:pt x="378" y="303"/>
                  </a:lnTo>
                  <a:lnTo>
                    <a:pt x="378" y="303"/>
                  </a:lnTo>
                  <a:lnTo>
                    <a:pt x="386" y="303"/>
                  </a:lnTo>
                  <a:lnTo>
                    <a:pt x="386" y="303"/>
                  </a:lnTo>
                  <a:lnTo>
                    <a:pt x="395" y="295"/>
                  </a:lnTo>
                  <a:lnTo>
                    <a:pt x="395" y="295"/>
                  </a:lnTo>
                  <a:lnTo>
                    <a:pt x="403" y="295"/>
                  </a:lnTo>
                  <a:lnTo>
                    <a:pt x="403" y="295"/>
                  </a:lnTo>
                  <a:lnTo>
                    <a:pt x="412" y="295"/>
                  </a:lnTo>
                  <a:lnTo>
                    <a:pt x="403" y="303"/>
                  </a:lnTo>
                  <a:lnTo>
                    <a:pt x="403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20" y="303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12" y="295"/>
                  </a:lnTo>
                  <a:lnTo>
                    <a:pt x="412" y="295"/>
                  </a:lnTo>
                  <a:lnTo>
                    <a:pt x="420" y="286"/>
                  </a:lnTo>
                  <a:lnTo>
                    <a:pt x="420" y="286"/>
                  </a:lnTo>
                  <a:lnTo>
                    <a:pt x="428" y="286"/>
                  </a:lnTo>
                  <a:lnTo>
                    <a:pt x="428" y="278"/>
                  </a:lnTo>
                  <a:lnTo>
                    <a:pt x="437" y="270"/>
                  </a:lnTo>
                  <a:lnTo>
                    <a:pt x="437" y="270"/>
                  </a:lnTo>
                  <a:lnTo>
                    <a:pt x="437" y="261"/>
                  </a:lnTo>
                  <a:lnTo>
                    <a:pt x="437" y="253"/>
                  </a:lnTo>
                  <a:lnTo>
                    <a:pt x="437" y="253"/>
                  </a:lnTo>
                  <a:lnTo>
                    <a:pt x="437" y="253"/>
                  </a:lnTo>
                  <a:lnTo>
                    <a:pt x="445" y="244"/>
                  </a:lnTo>
                  <a:lnTo>
                    <a:pt x="462" y="244"/>
                  </a:lnTo>
                  <a:lnTo>
                    <a:pt x="470" y="244"/>
                  </a:lnTo>
                  <a:lnTo>
                    <a:pt x="470" y="244"/>
                  </a:lnTo>
                  <a:lnTo>
                    <a:pt x="470" y="244"/>
                  </a:lnTo>
                  <a:lnTo>
                    <a:pt x="479" y="244"/>
                  </a:lnTo>
                  <a:lnTo>
                    <a:pt x="479" y="236"/>
                  </a:lnTo>
                  <a:lnTo>
                    <a:pt x="487" y="236"/>
                  </a:lnTo>
                  <a:lnTo>
                    <a:pt x="487" y="244"/>
                  </a:lnTo>
                  <a:lnTo>
                    <a:pt x="496" y="244"/>
                  </a:lnTo>
                  <a:lnTo>
                    <a:pt x="496" y="236"/>
                  </a:lnTo>
                  <a:lnTo>
                    <a:pt x="496" y="236"/>
                  </a:lnTo>
                  <a:lnTo>
                    <a:pt x="504" y="244"/>
                  </a:lnTo>
                  <a:lnTo>
                    <a:pt x="504" y="253"/>
                  </a:lnTo>
                  <a:lnTo>
                    <a:pt x="496" y="253"/>
                  </a:lnTo>
                  <a:lnTo>
                    <a:pt x="496" y="261"/>
                  </a:lnTo>
                  <a:lnTo>
                    <a:pt x="487" y="270"/>
                  </a:lnTo>
                  <a:lnTo>
                    <a:pt x="487" y="270"/>
                  </a:lnTo>
                  <a:lnTo>
                    <a:pt x="487" y="278"/>
                  </a:lnTo>
                  <a:lnTo>
                    <a:pt x="479" y="278"/>
                  </a:lnTo>
                  <a:lnTo>
                    <a:pt x="479" y="278"/>
                  </a:lnTo>
                  <a:lnTo>
                    <a:pt x="479" y="278"/>
                  </a:lnTo>
                  <a:lnTo>
                    <a:pt x="487" y="278"/>
                  </a:lnTo>
                  <a:lnTo>
                    <a:pt x="487" y="286"/>
                  </a:lnTo>
                  <a:lnTo>
                    <a:pt x="479" y="286"/>
                  </a:lnTo>
                  <a:lnTo>
                    <a:pt x="479" y="286"/>
                  </a:lnTo>
                  <a:lnTo>
                    <a:pt x="479" y="286"/>
                  </a:lnTo>
                  <a:lnTo>
                    <a:pt x="487" y="286"/>
                  </a:lnTo>
                  <a:lnTo>
                    <a:pt x="487" y="286"/>
                  </a:lnTo>
                  <a:lnTo>
                    <a:pt x="487" y="286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0" y="303"/>
                  </a:lnTo>
                  <a:lnTo>
                    <a:pt x="470" y="303"/>
                  </a:lnTo>
                  <a:lnTo>
                    <a:pt x="470" y="295"/>
                  </a:lnTo>
                  <a:lnTo>
                    <a:pt x="470" y="295"/>
                  </a:lnTo>
                  <a:lnTo>
                    <a:pt x="470" y="295"/>
                  </a:lnTo>
                  <a:lnTo>
                    <a:pt x="470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12"/>
                  </a:lnTo>
                  <a:lnTo>
                    <a:pt x="462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20" y="312"/>
                  </a:lnTo>
                  <a:lnTo>
                    <a:pt x="420" y="320"/>
                  </a:lnTo>
                  <a:lnTo>
                    <a:pt x="412" y="320"/>
                  </a:lnTo>
                  <a:lnTo>
                    <a:pt x="412" y="328"/>
                  </a:lnTo>
                  <a:lnTo>
                    <a:pt x="412" y="328"/>
                  </a:lnTo>
                  <a:lnTo>
                    <a:pt x="420" y="328"/>
                  </a:lnTo>
                  <a:lnTo>
                    <a:pt x="420" y="337"/>
                  </a:lnTo>
                  <a:lnTo>
                    <a:pt x="420" y="337"/>
                  </a:lnTo>
                  <a:lnTo>
                    <a:pt x="420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45"/>
                  </a:lnTo>
                  <a:lnTo>
                    <a:pt x="428" y="345"/>
                  </a:lnTo>
                  <a:lnTo>
                    <a:pt x="403" y="345"/>
                  </a:lnTo>
                  <a:lnTo>
                    <a:pt x="395" y="362"/>
                  </a:lnTo>
                  <a:lnTo>
                    <a:pt x="395" y="362"/>
                  </a:lnTo>
                  <a:lnTo>
                    <a:pt x="395" y="362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86" y="371"/>
                  </a:lnTo>
                  <a:lnTo>
                    <a:pt x="386" y="362"/>
                  </a:lnTo>
                  <a:lnTo>
                    <a:pt x="386" y="362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70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28" y="354"/>
                  </a:lnTo>
                  <a:lnTo>
                    <a:pt x="319" y="354"/>
                  </a:lnTo>
                  <a:lnTo>
                    <a:pt x="311" y="354"/>
                  </a:lnTo>
                  <a:lnTo>
                    <a:pt x="311" y="345"/>
                  </a:lnTo>
                  <a:lnTo>
                    <a:pt x="302" y="345"/>
                  </a:lnTo>
                  <a:lnTo>
                    <a:pt x="294" y="345"/>
                  </a:lnTo>
                  <a:lnTo>
                    <a:pt x="294" y="345"/>
                  </a:lnTo>
                  <a:lnTo>
                    <a:pt x="294" y="345"/>
                  </a:lnTo>
                  <a:lnTo>
                    <a:pt x="286" y="345"/>
                  </a:lnTo>
                  <a:lnTo>
                    <a:pt x="286" y="345"/>
                  </a:lnTo>
                  <a:lnTo>
                    <a:pt x="277" y="337"/>
                  </a:lnTo>
                  <a:lnTo>
                    <a:pt x="277" y="337"/>
                  </a:lnTo>
                  <a:lnTo>
                    <a:pt x="277" y="337"/>
                  </a:lnTo>
                  <a:lnTo>
                    <a:pt x="269" y="337"/>
                  </a:lnTo>
                  <a:lnTo>
                    <a:pt x="269" y="337"/>
                  </a:lnTo>
                  <a:lnTo>
                    <a:pt x="269" y="328"/>
                  </a:lnTo>
                  <a:lnTo>
                    <a:pt x="260" y="328"/>
                  </a:lnTo>
                  <a:lnTo>
                    <a:pt x="252" y="328"/>
                  </a:lnTo>
                  <a:lnTo>
                    <a:pt x="244" y="328"/>
                  </a:lnTo>
                  <a:lnTo>
                    <a:pt x="244" y="320"/>
                  </a:lnTo>
                  <a:lnTo>
                    <a:pt x="235" y="320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18" y="312"/>
                  </a:lnTo>
                  <a:lnTo>
                    <a:pt x="218" y="312"/>
                  </a:lnTo>
                  <a:lnTo>
                    <a:pt x="210" y="312"/>
                  </a:lnTo>
                  <a:lnTo>
                    <a:pt x="210" y="303"/>
                  </a:lnTo>
                  <a:lnTo>
                    <a:pt x="210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295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85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78"/>
                  </a:lnTo>
                  <a:lnTo>
                    <a:pt x="168" y="278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76" y="261"/>
                  </a:lnTo>
                  <a:lnTo>
                    <a:pt x="168" y="261"/>
                  </a:lnTo>
                  <a:lnTo>
                    <a:pt x="168" y="253"/>
                  </a:lnTo>
                  <a:lnTo>
                    <a:pt x="168" y="253"/>
                  </a:lnTo>
                  <a:lnTo>
                    <a:pt x="176" y="253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68" y="236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8" y="219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02"/>
                  </a:lnTo>
                  <a:lnTo>
                    <a:pt x="151" y="194"/>
                  </a:lnTo>
                  <a:lnTo>
                    <a:pt x="151" y="186"/>
                  </a:lnTo>
                  <a:lnTo>
                    <a:pt x="143" y="186"/>
                  </a:lnTo>
                  <a:lnTo>
                    <a:pt x="143" y="186"/>
                  </a:lnTo>
                  <a:lnTo>
                    <a:pt x="143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26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27"/>
                  </a:lnTo>
                  <a:lnTo>
                    <a:pt x="109" y="127"/>
                  </a:lnTo>
                  <a:lnTo>
                    <a:pt x="101" y="127"/>
                  </a:lnTo>
                  <a:lnTo>
                    <a:pt x="101" y="127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68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0" y="26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43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84" y="143"/>
                  </a:lnTo>
                  <a:lnTo>
                    <a:pt x="76" y="143"/>
                  </a:lnTo>
                  <a:lnTo>
                    <a:pt x="76" y="152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9"/>
                  </a:lnTo>
                  <a:lnTo>
                    <a:pt x="84" y="169"/>
                  </a:lnTo>
                  <a:lnTo>
                    <a:pt x="84" y="169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84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92" y="211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194"/>
                  </a:lnTo>
                  <a:lnTo>
                    <a:pt x="92" y="194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86"/>
                  </a:lnTo>
                  <a:lnTo>
                    <a:pt x="76" y="186"/>
                  </a:lnTo>
                  <a:lnTo>
                    <a:pt x="76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2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0" y="135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0"/>
                  </a:lnTo>
                  <a:lnTo>
                    <a:pt x="17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42" y="101"/>
                  </a:lnTo>
                  <a:lnTo>
                    <a:pt x="34" y="101"/>
                  </a:lnTo>
                  <a:lnTo>
                    <a:pt x="34" y="93"/>
                  </a:lnTo>
                  <a:lnTo>
                    <a:pt x="42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85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92" y="169"/>
                  </a:move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84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close/>
                  <a:moveTo>
                    <a:pt x="92" y="177"/>
                  </a:move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close/>
                  <a:moveTo>
                    <a:pt x="319" y="177"/>
                  </a:moveTo>
                  <a:lnTo>
                    <a:pt x="319" y="177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77"/>
                  </a:lnTo>
                  <a:lnTo>
                    <a:pt x="319" y="177"/>
                  </a:lnTo>
                  <a:close/>
                  <a:moveTo>
                    <a:pt x="319" y="177"/>
                  </a:move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close/>
                  <a:moveTo>
                    <a:pt x="311" y="186"/>
                  </a:moveTo>
                  <a:lnTo>
                    <a:pt x="319" y="186"/>
                  </a:lnTo>
                  <a:lnTo>
                    <a:pt x="319" y="177"/>
                  </a:lnTo>
                  <a:lnTo>
                    <a:pt x="311" y="1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6" name="Freeform 186">
              <a:extLst>
                <a:ext uri="{FF2B5EF4-FFF2-40B4-BE49-F238E27FC236}">
                  <a16:creationId xmlns:a16="http://schemas.microsoft.com/office/drawing/2014/main" id="{6E8EFF11-D3BC-438E-8AA1-2FBBAD5A76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1782" y="4918402"/>
              <a:ext cx="806726" cy="846537"/>
            </a:xfrm>
            <a:custGeom>
              <a:avLst/>
              <a:gdLst>
                <a:gd name="T0" fmla="*/ 49 w 82"/>
                <a:gd name="T1" fmla="*/ 12 h 86"/>
                <a:gd name="T2" fmla="*/ 49 w 82"/>
                <a:gd name="T3" fmla="*/ 12 h 86"/>
                <a:gd name="T4" fmla="*/ 50 w 82"/>
                <a:gd name="T5" fmla="*/ 12 h 86"/>
                <a:gd name="T6" fmla="*/ 51 w 82"/>
                <a:gd name="T7" fmla="*/ 12 h 86"/>
                <a:gd name="T8" fmla="*/ 47 w 82"/>
                <a:gd name="T9" fmla="*/ 3 h 86"/>
                <a:gd name="T10" fmla="*/ 44 w 82"/>
                <a:gd name="T11" fmla="*/ 7 h 86"/>
                <a:gd name="T12" fmla="*/ 41 w 82"/>
                <a:gd name="T13" fmla="*/ 7 h 86"/>
                <a:gd name="T14" fmla="*/ 37 w 82"/>
                <a:gd name="T15" fmla="*/ 7 h 86"/>
                <a:gd name="T16" fmla="*/ 35 w 82"/>
                <a:gd name="T17" fmla="*/ 7 h 86"/>
                <a:gd name="T18" fmla="*/ 30 w 82"/>
                <a:gd name="T19" fmla="*/ 8 h 86"/>
                <a:gd name="T20" fmla="*/ 30 w 82"/>
                <a:gd name="T21" fmla="*/ 3 h 86"/>
                <a:gd name="T22" fmla="*/ 28 w 82"/>
                <a:gd name="T23" fmla="*/ 0 h 86"/>
                <a:gd name="T24" fmla="*/ 21 w 82"/>
                <a:gd name="T25" fmla="*/ 3 h 86"/>
                <a:gd name="T26" fmla="*/ 22 w 82"/>
                <a:gd name="T27" fmla="*/ 7 h 86"/>
                <a:gd name="T28" fmla="*/ 14 w 82"/>
                <a:gd name="T29" fmla="*/ 9 h 86"/>
                <a:gd name="T30" fmla="*/ 8 w 82"/>
                <a:gd name="T31" fmla="*/ 9 h 86"/>
                <a:gd name="T32" fmla="*/ 9 w 82"/>
                <a:gd name="T33" fmla="*/ 15 h 86"/>
                <a:gd name="T34" fmla="*/ 5 w 82"/>
                <a:gd name="T35" fmla="*/ 21 h 86"/>
                <a:gd name="T36" fmla="*/ 1 w 82"/>
                <a:gd name="T37" fmla="*/ 26 h 86"/>
                <a:gd name="T38" fmla="*/ 2 w 82"/>
                <a:gd name="T39" fmla="*/ 32 h 86"/>
                <a:gd name="T40" fmla="*/ 7 w 82"/>
                <a:gd name="T41" fmla="*/ 35 h 86"/>
                <a:gd name="T42" fmla="*/ 13 w 82"/>
                <a:gd name="T43" fmla="*/ 35 h 86"/>
                <a:gd name="T44" fmla="*/ 18 w 82"/>
                <a:gd name="T45" fmla="*/ 35 h 86"/>
                <a:gd name="T46" fmla="*/ 24 w 82"/>
                <a:gd name="T47" fmla="*/ 40 h 86"/>
                <a:gd name="T48" fmla="*/ 29 w 82"/>
                <a:gd name="T49" fmla="*/ 45 h 86"/>
                <a:gd name="T50" fmla="*/ 35 w 82"/>
                <a:gd name="T51" fmla="*/ 56 h 86"/>
                <a:gd name="T52" fmla="*/ 40 w 82"/>
                <a:gd name="T53" fmla="*/ 60 h 86"/>
                <a:gd name="T54" fmla="*/ 42 w 82"/>
                <a:gd name="T55" fmla="*/ 67 h 86"/>
                <a:gd name="T56" fmla="*/ 43 w 82"/>
                <a:gd name="T57" fmla="*/ 71 h 86"/>
                <a:gd name="T58" fmla="*/ 39 w 82"/>
                <a:gd name="T59" fmla="*/ 75 h 86"/>
                <a:gd name="T60" fmla="*/ 40 w 82"/>
                <a:gd name="T61" fmla="*/ 79 h 86"/>
                <a:gd name="T62" fmla="*/ 45 w 82"/>
                <a:gd name="T63" fmla="*/ 82 h 86"/>
                <a:gd name="T64" fmla="*/ 48 w 82"/>
                <a:gd name="T65" fmla="*/ 84 h 86"/>
                <a:gd name="T66" fmla="*/ 50 w 82"/>
                <a:gd name="T67" fmla="*/ 80 h 86"/>
                <a:gd name="T68" fmla="*/ 51 w 82"/>
                <a:gd name="T69" fmla="*/ 78 h 86"/>
                <a:gd name="T70" fmla="*/ 49 w 82"/>
                <a:gd name="T71" fmla="*/ 82 h 86"/>
                <a:gd name="T72" fmla="*/ 55 w 82"/>
                <a:gd name="T73" fmla="*/ 73 h 86"/>
                <a:gd name="T74" fmla="*/ 55 w 82"/>
                <a:gd name="T75" fmla="*/ 70 h 86"/>
                <a:gd name="T76" fmla="*/ 56 w 82"/>
                <a:gd name="T77" fmla="*/ 66 h 86"/>
                <a:gd name="T78" fmla="*/ 61 w 82"/>
                <a:gd name="T79" fmla="*/ 62 h 86"/>
                <a:gd name="T80" fmla="*/ 64 w 82"/>
                <a:gd name="T81" fmla="*/ 61 h 86"/>
                <a:gd name="T82" fmla="*/ 66 w 82"/>
                <a:gd name="T83" fmla="*/ 61 h 86"/>
                <a:gd name="T84" fmla="*/ 70 w 82"/>
                <a:gd name="T85" fmla="*/ 57 h 86"/>
                <a:gd name="T86" fmla="*/ 72 w 82"/>
                <a:gd name="T87" fmla="*/ 50 h 86"/>
                <a:gd name="T88" fmla="*/ 74 w 82"/>
                <a:gd name="T89" fmla="*/ 41 h 86"/>
                <a:gd name="T90" fmla="*/ 73 w 82"/>
                <a:gd name="T91" fmla="*/ 38 h 86"/>
                <a:gd name="T92" fmla="*/ 76 w 82"/>
                <a:gd name="T93" fmla="*/ 38 h 86"/>
                <a:gd name="T94" fmla="*/ 81 w 82"/>
                <a:gd name="T95" fmla="*/ 30 h 86"/>
                <a:gd name="T96" fmla="*/ 79 w 82"/>
                <a:gd name="T97" fmla="*/ 22 h 86"/>
                <a:gd name="T98" fmla="*/ 71 w 82"/>
                <a:gd name="T99" fmla="*/ 18 h 86"/>
                <a:gd name="T100" fmla="*/ 67 w 82"/>
                <a:gd name="T101" fmla="*/ 18 h 86"/>
                <a:gd name="T102" fmla="*/ 63 w 82"/>
                <a:gd name="T103" fmla="*/ 17 h 86"/>
                <a:gd name="T104" fmla="*/ 61 w 82"/>
                <a:gd name="T105" fmla="*/ 19 h 86"/>
                <a:gd name="T106" fmla="*/ 59 w 82"/>
                <a:gd name="T107" fmla="*/ 15 h 86"/>
                <a:gd name="T108" fmla="*/ 57 w 82"/>
                <a:gd name="T109" fmla="*/ 14 h 86"/>
                <a:gd name="T110" fmla="*/ 53 w 82"/>
                <a:gd name="T111" fmla="*/ 15 h 86"/>
                <a:gd name="T112" fmla="*/ 50 w 82"/>
                <a:gd name="T113" fmla="*/ 18 h 86"/>
                <a:gd name="T114" fmla="*/ 49 w 82"/>
                <a:gd name="T115" fmla="*/ 16 h 86"/>
                <a:gd name="T116" fmla="*/ 53 w 82"/>
                <a:gd name="T117" fmla="*/ 13 h 86"/>
                <a:gd name="T118" fmla="*/ 49 w 82"/>
                <a:gd name="T119" fmla="*/ 13 h 86"/>
                <a:gd name="T120" fmla="*/ 46 w 82"/>
                <a:gd name="T121" fmla="*/ 14 h 86"/>
                <a:gd name="T122" fmla="*/ 50 w 82"/>
                <a:gd name="T123" fmla="*/ 10 h 86"/>
                <a:gd name="T124" fmla="*/ 48 w 82"/>
                <a:gd name="T125" fmla="*/ 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" h="86">
                  <a:moveTo>
                    <a:pt x="48" y="13"/>
                  </a:move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lose/>
                  <a:moveTo>
                    <a:pt x="47" y="13"/>
                  </a:move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3"/>
                    <a:pt x="47" y="13"/>
                    <a:pt x="47" y="13"/>
                  </a:cubicBezTo>
                  <a:close/>
                  <a:moveTo>
                    <a:pt x="49" y="12"/>
                  </a:move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lose/>
                  <a:moveTo>
                    <a:pt x="49" y="11"/>
                  </a:move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lose/>
                  <a:moveTo>
                    <a:pt x="49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lose/>
                  <a:moveTo>
                    <a:pt x="51" y="12"/>
                  </a:move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lose/>
                  <a:moveTo>
                    <a:pt x="49" y="8"/>
                  </a:move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lose/>
                  <a:moveTo>
                    <a:pt x="47" y="3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1"/>
                    <a:pt x="65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lnTo>
                    <a:pt x="47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7" name="Freeform 187">
              <a:extLst>
                <a:ext uri="{FF2B5EF4-FFF2-40B4-BE49-F238E27FC236}">
                  <a16:creationId xmlns:a16="http://schemas.microsoft.com/office/drawing/2014/main" id="{1158C5C9-4A45-4E50-89DA-D4042D780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731" y="4907865"/>
              <a:ext cx="58543" cy="88986"/>
            </a:xfrm>
            <a:custGeom>
              <a:avLst/>
              <a:gdLst>
                <a:gd name="T0" fmla="*/ 0 w 50"/>
                <a:gd name="T1" fmla="*/ 59 h 76"/>
                <a:gd name="T2" fmla="*/ 0 w 50"/>
                <a:gd name="T3" fmla="*/ 59 h 76"/>
                <a:gd name="T4" fmla="*/ 0 w 50"/>
                <a:gd name="T5" fmla="*/ 68 h 76"/>
                <a:gd name="T6" fmla="*/ 0 w 50"/>
                <a:gd name="T7" fmla="*/ 68 h 76"/>
                <a:gd name="T8" fmla="*/ 0 w 50"/>
                <a:gd name="T9" fmla="*/ 68 h 76"/>
                <a:gd name="T10" fmla="*/ 0 w 50"/>
                <a:gd name="T11" fmla="*/ 68 h 76"/>
                <a:gd name="T12" fmla="*/ 8 w 50"/>
                <a:gd name="T13" fmla="*/ 68 h 76"/>
                <a:gd name="T14" fmla="*/ 8 w 50"/>
                <a:gd name="T15" fmla="*/ 68 h 76"/>
                <a:gd name="T16" fmla="*/ 8 w 50"/>
                <a:gd name="T17" fmla="*/ 68 h 76"/>
                <a:gd name="T18" fmla="*/ 8 w 50"/>
                <a:gd name="T19" fmla="*/ 68 h 76"/>
                <a:gd name="T20" fmla="*/ 8 w 50"/>
                <a:gd name="T21" fmla="*/ 68 h 76"/>
                <a:gd name="T22" fmla="*/ 16 w 50"/>
                <a:gd name="T23" fmla="*/ 68 h 76"/>
                <a:gd name="T24" fmla="*/ 16 w 50"/>
                <a:gd name="T25" fmla="*/ 76 h 76"/>
                <a:gd name="T26" fmla="*/ 16 w 50"/>
                <a:gd name="T27" fmla="*/ 76 h 76"/>
                <a:gd name="T28" fmla="*/ 16 w 50"/>
                <a:gd name="T29" fmla="*/ 76 h 76"/>
                <a:gd name="T30" fmla="*/ 16 w 50"/>
                <a:gd name="T31" fmla="*/ 68 h 76"/>
                <a:gd name="T32" fmla="*/ 25 w 50"/>
                <a:gd name="T33" fmla="*/ 68 h 76"/>
                <a:gd name="T34" fmla="*/ 25 w 50"/>
                <a:gd name="T35" fmla="*/ 68 h 76"/>
                <a:gd name="T36" fmla="*/ 25 w 50"/>
                <a:gd name="T37" fmla="*/ 68 h 76"/>
                <a:gd name="T38" fmla="*/ 33 w 50"/>
                <a:gd name="T39" fmla="*/ 59 h 76"/>
                <a:gd name="T40" fmla="*/ 33 w 50"/>
                <a:gd name="T41" fmla="*/ 51 h 76"/>
                <a:gd name="T42" fmla="*/ 33 w 50"/>
                <a:gd name="T43" fmla="*/ 51 h 76"/>
                <a:gd name="T44" fmla="*/ 33 w 50"/>
                <a:gd name="T45" fmla="*/ 42 h 76"/>
                <a:gd name="T46" fmla="*/ 42 w 50"/>
                <a:gd name="T47" fmla="*/ 42 h 76"/>
                <a:gd name="T48" fmla="*/ 42 w 50"/>
                <a:gd name="T49" fmla="*/ 34 h 76"/>
                <a:gd name="T50" fmla="*/ 42 w 50"/>
                <a:gd name="T51" fmla="*/ 34 h 76"/>
                <a:gd name="T52" fmla="*/ 50 w 50"/>
                <a:gd name="T53" fmla="*/ 34 h 76"/>
                <a:gd name="T54" fmla="*/ 42 w 50"/>
                <a:gd name="T55" fmla="*/ 26 h 76"/>
                <a:gd name="T56" fmla="*/ 42 w 50"/>
                <a:gd name="T57" fmla="*/ 26 h 76"/>
                <a:gd name="T58" fmla="*/ 42 w 50"/>
                <a:gd name="T59" fmla="*/ 26 h 76"/>
                <a:gd name="T60" fmla="*/ 42 w 50"/>
                <a:gd name="T61" fmla="*/ 26 h 76"/>
                <a:gd name="T62" fmla="*/ 42 w 50"/>
                <a:gd name="T63" fmla="*/ 17 h 76"/>
                <a:gd name="T64" fmla="*/ 33 w 50"/>
                <a:gd name="T65" fmla="*/ 17 h 76"/>
                <a:gd name="T66" fmla="*/ 33 w 50"/>
                <a:gd name="T67" fmla="*/ 17 h 76"/>
                <a:gd name="T68" fmla="*/ 25 w 50"/>
                <a:gd name="T69" fmla="*/ 9 h 76"/>
                <a:gd name="T70" fmla="*/ 16 w 50"/>
                <a:gd name="T71" fmla="*/ 9 h 76"/>
                <a:gd name="T72" fmla="*/ 16 w 50"/>
                <a:gd name="T73" fmla="*/ 9 h 76"/>
                <a:gd name="T74" fmla="*/ 8 w 50"/>
                <a:gd name="T75" fmla="*/ 0 h 76"/>
                <a:gd name="T76" fmla="*/ 8 w 50"/>
                <a:gd name="T77" fmla="*/ 9 h 76"/>
                <a:gd name="T78" fmla="*/ 0 w 50"/>
                <a:gd name="T79" fmla="*/ 9 h 76"/>
                <a:gd name="T80" fmla="*/ 0 w 50"/>
                <a:gd name="T81" fmla="*/ 9 h 76"/>
                <a:gd name="T82" fmla="*/ 0 w 50"/>
                <a:gd name="T83" fmla="*/ 9 h 76"/>
                <a:gd name="T84" fmla="*/ 0 w 50"/>
                <a:gd name="T85" fmla="*/ 9 h 76"/>
                <a:gd name="T86" fmla="*/ 0 w 50"/>
                <a:gd name="T87" fmla="*/ 17 h 76"/>
                <a:gd name="T88" fmla="*/ 0 w 50"/>
                <a:gd name="T89" fmla="*/ 17 h 76"/>
                <a:gd name="T90" fmla="*/ 0 w 50"/>
                <a:gd name="T91" fmla="*/ 26 h 76"/>
                <a:gd name="T92" fmla="*/ 0 w 50"/>
                <a:gd name="T93" fmla="*/ 26 h 76"/>
                <a:gd name="T94" fmla="*/ 0 w 50"/>
                <a:gd name="T95" fmla="*/ 26 h 76"/>
                <a:gd name="T96" fmla="*/ 0 w 50"/>
                <a:gd name="T97" fmla="*/ 34 h 76"/>
                <a:gd name="T98" fmla="*/ 0 w 50"/>
                <a:gd name="T99" fmla="*/ 34 h 76"/>
                <a:gd name="T100" fmla="*/ 8 w 50"/>
                <a:gd name="T101" fmla="*/ 34 h 76"/>
                <a:gd name="T102" fmla="*/ 8 w 50"/>
                <a:gd name="T103" fmla="*/ 42 h 76"/>
                <a:gd name="T104" fmla="*/ 8 w 50"/>
                <a:gd name="T105" fmla="*/ 42 h 76"/>
                <a:gd name="T106" fmla="*/ 8 w 50"/>
                <a:gd name="T107" fmla="*/ 42 h 76"/>
                <a:gd name="T108" fmla="*/ 0 w 50"/>
                <a:gd name="T109" fmla="*/ 51 h 76"/>
                <a:gd name="T110" fmla="*/ 0 w 50"/>
                <a:gd name="T111" fmla="*/ 51 h 76"/>
                <a:gd name="T112" fmla="*/ 8 w 50"/>
                <a:gd name="T113" fmla="*/ 51 h 76"/>
                <a:gd name="T114" fmla="*/ 0 w 50"/>
                <a:gd name="T115" fmla="*/ 59 h 76"/>
                <a:gd name="T116" fmla="*/ 0 w 50"/>
                <a:gd name="T117" fmla="*/ 59 h 76"/>
                <a:gd name="T118" fmla="*/ 0 w 50"/>
                <a:gd name="T119" fmla="*/ 5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" h="76">
                  <a:moveTo>
                    <a:pt x="0" y="59"/>
                  </a:moveTo>
                  <a:lnTo>
                    <a:pt x="0" y="5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8" y="0"/>
                  </a:lnTo>
                  <a:lnTo>
                    <a:pt x="8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8" name="Freeform 188">
              <a:extLst>
                <a:ext uri="{FF2B5EF4-FFF2-40B4-BE49-F238E27FC236}">
                  <a16:creationId xmlns:a16="http://schemas.microsoft.com/office/drawing/2014/main" id="{45273455-7A4A-4EA1-8623-6A14452D0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112" y="4907865"/>
              <a:ext cx="88986" cy="88986"/>
            </a:xfrm>
            <a:custGeom>
              <a:avLst/>
              <a:gdLst>
                <a:gd name="T0" fmla="*/ 34 w 76"/>
                <a:gd name="T1" fmla="*/ 76 h 76"/>
                <a:gd name="T2" fmla="*/ 34 w 76"/>
                <a:gd name="T3" fmla="*/ 76 h 76"/>
                <a:gd name="T4" fmla="*/ 42 w 76"/>
                <a:gd name="T5" fmla="*/ 76 h 76"/>
                <a:gd name="T6" fmla="*/ 42 w 76"/>
                <a:gd name="T7" fmla="*/ 68 h 76"/>
                <a:gd name="T8" fmla="*/ 34 w 76"/>
                <a:gd name="T9" fmla="*/ 68 h 76"/>
                <a:gd name="T10" fmla="*/ 42 w 76"/>
                <a:gd name="T11" fmla="*/ 59 h 76"/>
                <a:gd name="T12" fmla="*/ 51 w 76"/>
                <a:gd name="T13" fmla="*/ 59 h 76"/>
                <a:gd name="T14" fmla="*/ 59 w 76"/>
                <a:gd name="T15" fmla="*/ 59 h 76"/>
                <a:gd name="T16" fmla="*/ 68 w 76"/>
                <a:gd name="T17" fmla="*/ 59 h 76"/>
                <a:gd name="T18" fmla="*/ 76 w 76"/>
                <a:gd name="T19" fmla="*/ 51 h 76"/>
                <a:gd name="T20" fmla="*/ 68 w 76"/>
                <a:gd name="T21" fmla="*/ 51 h 76"/>
                <a:gd name="T22" fmla="*/ 76 w 76"/>
                <a:gd name="T23" fmla="*/ 42 h 76"/>
                <a:gd name="T24" fmla="*/ 76 w 76"/>
                <a:gd name="T25" fmla="*/ 34 h 76"/>
                <a:gd name="T26" fmla="*/ 68 w 76"/>
                <a:gd name="T27" fmla="*/ 34 h 76"/>
                <a:gd name="T28" fmla="*/ 68 w 76"/>
                <a:gd name="T29" fmla="*/ 26 h 76"/>
                <a:gd name="T30" fmla="*/ 68 w 76"/>
                <a:gd name="T31" fmla="*/ 17 h 76"/>
                <a:gd name="T32" fmla="*/ 68 w 76"/>
                <a:gd name="T33" fmla="*/ 9 h 76"/>
                <a:gd name="T34" fmla="*/ 68 w 76"/>
                <a:gd name="T35" fmla="*/ 9 h 76"/>
                <a:gd name="T36" fmla="*/ 76 w 76"/>
                <a:gd name="T37" fmla="*/ 0 h 76"/>
                <a:gd name="T38" fmla="*/ 59 w 76"/>
                <a:gd name="T39" fmla="*/ 0 h 76"/>
                <a:gd name="T40" fmla="*/ 51 w 76"/>
                <a:gd name="T41" fmla="*/ 0 h 76"/>
                <a:gd name="T42" fmla="*/ 42 w 76"/>
                <a:gd name="T43" fmla="*/ 0 h 76"/>
                <a:gd name="T44" fmla="*/ 34 w 76"/>
                <a:gd name="T45" fmla="*/ 0 h 76"/>
                <a:gd name="T46" fmla="*/ 17 w 76"/>
                <a:gd name="T47" fmla="*/ 0 h 76"/>
                <a:gd name="T48" fmla="*/ 17 w 76"/>
                <a:gd name="T49" fmla="*/ 0 h 76"/>
                <a:gd name="T50" fmla="*/ 17 w 76"/>
                <a:gd name="T51" fmla="*/ 9 h 76"/>
                <a:gd name="T52" fmla="*/ 9 w 76"/>
                <a:gd name="T53" fmla="*/ 17 h 76"/>
                <a:gd name="T54" fmla="*/ 9 w 76"/>
                <a:gd name="T55" fmla="*/ 17 h 76"/>
                <a:gd name="T56" fmla="*/ 0 w 76"/>
                <a:gd name="T57" fmla="*/ 34 h 76"/>
                <a:gd name="T58" fmla="*/ 9 w 76"/>
                <a:gd name="T59" fmla="*/ 34 h 76"/>
                <a:gd name="T60" fmla="*/ 9 w 76"/>
                <a:gd name="T61" fmla="*/ 34 h 76"/>
                <a:gd name="T62" fmla="*/ 9 w 76"/>
                <a:gd name="T63" fmla="*/ 42 h 76"/>
                <a:gd name="T64" fmla="*/ 17 w 76"/>
                <a:gd name="T65" fmla="*/ 42 h 76"/>
                <a:gd name="T66" fmla="*/ 17 w 76"/>
                <a:gd name="T67" fmla="*/ 51 h 76"/>
                <a:gd name="T68" fmla="*/ 17 w 76"/>
                <a:gd name="T69" fmla="*/ 59 h 76"/>
                <a:gd name="T70" fmla="*/ 26 w 76"/>
                <a:gd name="T71" fmla="*/ 59 h 76"/>
                <a:gd name="T72" fmla="*/ 26 w 76"/>
                <a:gd name="T73" fmla="*/ 68 h 76"/>
                <a:gd name="T74" fmla="*/ 26 w 76"/>
                <a:gd name="T75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6" h="76">
                  <a:moveTo>
                    <a:pt x="34" y="76"/>
                  </a:move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34" y="68"/>
                  </a:lnTo>
                  <a:lnTo>
                    <a:pt x="34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76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6" y="59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34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9" name="Freeform 189">
              <a:extLst>
                <a:ext uri="{FF2B5EF4-FFF2-40B4-BE49-F238E27FC236}">
                  <a16:creationId xmlns:a16="http://schemas.microsoft.com/office/drawing/2014/main" id="{D75909CB-C9BC-41C3-BD5A-EF327DB7F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202" y="4849321"/>
              <a:ext cx="107720" cy="156896"/>
            </a:xfrm>
            <a:custGeom>
              <a:avLst/>
              <a:gdLst>
                <a:gd name="T0" fmla="*/ 16 w 92"/>
                <a:gd name="T1" fmla="*/ 59 h 134"/>
                <a:gd name="T2" fmla="*/ 16 w 92"/>
                <a:gd name="T3" fmla="*/ 59 h 134"/>
                <a:gd name="T4" fmla="*/ 25 w 92"/>
                <a:gd name="T5" fmla="*/ 67 h 134"/>
                <a:gd name="T6" fmla="*/ 25 w 92"/>
                <a:gd name="T7" fmla="*/ 76 h 134"/>
                <a:gd name="T8" fmla="*/ 25 w 92"/>
                <a:gd name="T9" fmla="*/ 76 h 134"/>
                <a:gd name="T10" fmla="*/ 33 w 92"/>
                <a:gd name="T11" fmla="*/ 84 h 134"/>
                <a:gd name="T12" fmla="*/ 33 w 92"/>
                <a:gd name="T13" fmla="*/ 84 h 134"/>
                <a:gd name="T14" fmla="*/ 33 w 92"/>
                <a:gd name="T15" fmla="*/ 92 h 134"/>
                <a:gd name="T16" fmla="*/ 25 w 92"/>
                <a:gd name="T17" fmla="*/ 101 h 134"/>
                <a:gd name="T18" fmla="*/ 25 w 92"/>
                <a:gd name="T19" fmla="*/ 109 h 134"/>
                <a:gd name="T20" fmla="*/ 25 w 92"/>
                <a:gd name="T21" fmla="*/ 109 h 134"/>
                <a:gd name="T22" fmla="*/ 25 w 92"/>
                <a:gd name="T23" fmla="*/ 118 h 134"/>
                <a:gd name="T24" fmla="*/ 33 w 92"/>
                <a:gd name="T25" fmla="*/ 126 h 134"/>
                <a:gd name="T26" fmla="*/ 33 w 92"/>
                <a:gd name="T27" fmla="*/ 126 h 134"/>
                <a:gd name="T28" fmla="*/ 42 w 92"/>
                <a:gd name="T29" fmla="*/ 134 h 134"/>
                <a:gd name="T30" fmla="*/ 50 w 92"/>
                <a:gd name="T31" fmla="*/ 134 h 134"/>
                <a:gd name="T32" fmla="*/ 50 w 92"/>
                <a:gd name="T33" fmla="*/ 134 h 134"/>
                <a:gd name="T34" fmla="*/ 58 w 92"/>
                <a:gd name="T35" fmla="*/ 126 h 134"/>
                <a:gd name="T36" fmla="*/ 67 w 92"/>
                <a:gd name="T37" fmla="*/ 126 h 134"/>
                <a:gd name="T38" fmla="*/ 75 w 92"/>
                <a:gd name="T39" fmla="*/ 118 h 134"/>
                <a:gd name="T40" fmla="*/ 84 w 92"/>
                <a:gd name="T41" fmla="*/ 126 h 134"/>
                <a:gd name="T42" fmla="*/ 92 w 92"/>
                <a:gd name="T43" fmla="*/ 126 h 134"/>
                <a:gd name="T44" fmla="*/ 84 w 92"/>
                <a:gd name="T45" fmla="*/ 118 h 134"/>
                <a:gd name="T46" fmla="*/ 84 w 92"/>
                <a:gd name="T47" fmla="*/ 118 h 134"/>
                <a:gd name="T48" fmla="*/ 75 w 92"/>
                <a:gd name="T49" fmla="*/ 109 h 134"/>
                <a:gd name="T50" fmla="*/ 75 w 92"/>
                <a:gd name="T51" fmla="*/ 101 h 134"/>
                <a:gd name="T52" fmla="*/ 75 w 92"/>
                <a:gd name="T53" fmla="*/ 92 h 134"/>
                <a:gd name="T54" fmla="*/ 75 w 92"/>
                <a:gd name="T55" fmla="*/ 92 h 134"/>
                <a:gd name="T56" fmla="*/ 67 w 92"/>
                <a:gd name="T57" fmla="*/ 92 h 134"/>
                <a:gd name="T58" fmla="*/ 67 w 92"/>
                <a:gd name="T59" fmla="*/ 84 h 134"/>
                <a:gd name="T60" fmla="*/ 58 w 92"/>
                <a:gd name="T61" fmla="*/ 84 h 134"/>
                <a:gd name="T62" fmla="*/ 67 w 92"/>
                <a:gd name="T63" fmla="*/ 76 h 134"/>
                <a:gd name="T64" fmla="*/ 67 w 92"/>
                <a:gd name="T65" fmla="*/ 67 h 134"/>
                <a:gd name="T66" fmla="*/ 75 w 92"/>
                <a:gd name="T67" fmla="*/ 59 h 134"/>
                <a:gd name="T68" fmla="*/ 75 w 92"/>
                <a:gd name="T69" fmla="*/ 59 h 134"/>
                <a:gd name="T70" fmla="*/ 75 w 92"/>
                <a:gd name="T71" fmla="*/ 50 h 134"/>
                <a:gd name="T72" fmla="*/ 75 w 92"/>
                <a:gd name="T73" fmla="*/ 50 h 134"/>
                <a:gd name="T74" fmla="*/ 75 w 92"/>
                <a:gd name="T75" fmla="*/ 42 h 134"/>
                <a:gd name="T76" fmla="*/ 58 w 92"/>
                <a:gd name="T77" fmla="*/ 34 h 134"/>
                <a:gd name="T78" fmla="*/ 58 w 92"/>
                <a:gd name="T79" fmla="*/ 34 h 134"/>
                <a:gd name="T80" fmla="*/ 50 w 92"/>
                <a:gd name="T81" fmla="*/ 34 h 134"/>
                <a:gd name="T82" fmla="*/ 50 w 92"/>
                <a:gd name="T83" fmla="*/ 34 h 134"/>
                <a:gd name="T84" fmla="*/ 50 w 92"/>
                <a:gd name="T85" fmla="*/ 25 h 134"/>
                <a:gd name="T86" fmla="*/ 50 w 92"/>
                <a:gd name="T87" fmla="*/ 17 h 134"/>
                <a:gd name="T88" fmla="*/ 33 w 92"/>
                <a:gd name="T89" fmla="*/ 8 h 134"/>
                <a:gd name="T90" fmla="*/ 33 w 92"/>
                <a:gd name="T91" fmla="*/ 8 h 134"/>
                <a:gd name="T92" fmla="*/ 25 w 92"/>
                <a:gd name="T93" fmla="*/ 0 h 134"/>
                <a:gd name="T94" fmla="*/ 25 w 92"/>
                <a:gd name="T95" fmla="*/ 8 h 134"/>
                <a:gd name="T96" fmla="*/ 16 w 92"/>
                <a:gd name="T97" fmla="*/ 17 h 134"/>
                <a:gd name="T98" fmla="*/ 8 w 92"/>
                <a:gd name="T99" fmla="*/ 25 h 134"/>
                <a:gd name="T100" fmla="*/ 16 w 92"/>
                <a:gd name="T101" fmla="*/ 25 h 134"/>
                <a:gd name="T102" fmla="*/ 25 w 92"/>
                <a:gd name="T103" fmla="*/ 34 h 134"/>
                <a:gd name="T104" fmla="*/ 8 w 92"/>
                <a:gd name="T105" fmla="*/ 34 h 134"/>
                <a:gd name="T106" fmla="*/ 8 w 92"/>
                <a:gd name="T107" fmla="*/ 34 h 134"/>
                <a:gd name="T108" fmla="*/ 8 w 92"/>
                <a:gd name="T109" fmla="*/ 42 h 134"/>
                <a:gd name="T110" fmla="*/ 0 w 92"/>
                <a:gd name="T111" fmla="*/ 50 h 134"/>
                <a:gd name="T112" fmla="*/ 16 w 92"/>
                <a:gd name="T113" fmla="*/ 5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2" h="134">
                  <a:moveTo>
                    <a:pt x="16" y="59"/>
                  </a:moveTo>
                  <a:lnTo>
                    <a:pt x="16" y="59"/>
                  </a:lnTo>
                  <a:lnTo>
                    <a:pt x="16" y="67"/>
                  </a:lnTo>
                  <a:lnTo>
                    <a:pt x="16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8" y="134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92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7" y="7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42" y="17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8" y="59"/>
                  </a:lnTo>
                  <a:lnTo>
                    <a:pt x="16" y="59"/>
                  </a:lnTo>
                  <a:lnTo>
                    <a:pt x="16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Freeform 190">
              <a:extLst>
                <a:ext uri="{FF2B5EF4-FFF2-40B4-BE49-F238E27FC236}">
                  <a16:creationId xmlns:a16="http://schemas.microsoft.com/office/drawing/2014/main" id="{28523D5C-E6FB-41C7-8ECB-35CA53695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2320" y="4770873"/>
              <a:ext cx="275153" cy="245882"/>
            </a:xfrm>
            <a:custGeom>
              <a:avLst/>
              <a:gdLst>
                <a:gd name="T0" fmla="*/ 16 w 28"/>
                <a:gd name="T1" fmla="*/ 25 h 25"/>
                <a:gd name="T2" fmla="*/ 19 w 28"/>
                <a:gd name="T3" fmla="*/ 23 h 25"/>
                <a:gd name="T4" fmla="*/ 20 w 28"/>
                <a:gd name="T5" fmla="*/ 21 h 25"/>
                <a:gd name="T6" fmla="*/ 19 w 28"/>
                <a:gd name="T7" fmla="*/ 19 h 25"/>
                <a:gd name="T8" fmla="*/ 18 w 28"/>
                <a:gd name="T9" fmla="*/ 18 h 25"/>
                <a:gd name="T10" fmla="*/ 21 w 28"/>
                <a:gd name="T11" fmla="*/ 18 h 25"/>
                <a:gd name="T12" fmla="*/ 25 w 28"/>
                <a:gd name="T13" fmla="*/ 17 h 25"/>
                <a:gd name="T14" fmla="*/ 26 w 28"/>
                <a:gd name="T15" fmla="*/ 15 h 25"/>
                <a:gd name="T16" fmla="*/ 26 w 28"/>
                <a:gd name="T17" fmla="*/ 12 h 25"/>
                <a:gd name="T18" fmla="*/ 28 w 28"/>
                <a:gd name="T19" fmla="*/ 11 h 25"/>
                <a:gd name="T20" fmla="*/ 27 w 28"/>
                <a:gd name="T21" fmla="*/ 10 h 25"/>
                <a:gd name="T22" fmla="*/ 28 w 28"/>
                <a:gd name="T23" fmla="*/ 8 h 25"/>
                <a:gd name="T24" fmla="*/ 26 w 28"/>
                <a:gd name="T25" fmla="*/ 8 h 25"/>
                <a:gd name="T26" fmla="*/ 25 w 28"/>
                <a:gd name="T27" fmla="*/ 8 h 25"/>
                <a:gd name="T28" fmla="*/ 26 w 28"/>
                <a:gd name="T29" fmla="*/ 7 h 25"/>
                <a:gd name="T30" fmla="*/ 24 w 28"/>
                <a:gd name="T31" fmla="*/ 6 h 25"/>
                <a:gd name="T32" fmla="*/ 23 w 28"/>
                <a:gd name="T33" fmla="*/ 5 h 25"/>
                <a:gd name="T34" fmla="*/ 22 w 28"/>
                <a:gd name="T35" fmla="*/ 5 h 25"/>
                <a:gd name="T36" fmla="*/ 24 w 28"/>
                <a:gd name="T37" fmla="*/ 4 h 25"/>
                <a:gd name="T38" fmla="*/ 21 w 28"/>
                <a:gd name="T39" fmla="*/ 3 h 25"/>
                <a:gd name="T40" fmla="*/ 19 w 28"/>
                <a:gd name="T41" fmla="*/ 4 h 25"/>
                <a:gd name="T42" fmla="*/ 17 w 28"/>
                <a:gd name="T43" fmla="*/ 5 h 25"/>
                <a:gd name="T44" fmla="*/ 12 w 28"/>
                <a:gd name="T45" fmla="*/ 4 h 25"/>
                <a:gd name="T46" fmla="*/ 11 w 28"/>
                <a:gd name="T47" fmla="*/ 3 h 25"/>
                <a:gd name="T48" fmla="*/ 9 w 28"/>
                <a:gd name="T49" fmla="*/ 2 h 25"/>
                <a:gd name="T50" fmla="*/ 8 w 28"/>
                <a:gd name="T51" fmla="*/ 0 h 25"/>
                <a:gd name="T52" fmla="*/ 7 w 28"/>
                <a:gd name="T53" fmla="*/ 2 h 25"/>
                <a:gd name="T54" fmla="*/ 7 w 28"/>
                <a:gd name="T55" fmla="*/ 2 h 25"/>
                <a:gd name="T56" fmla="*/ 6 w 28"/>
                <a:gd name="T57" fmla="*/ 3 h 25"/>
                <a:gd name="T58" fmla="*/ 4 w 28"/>
                <a:gd name="T59" fmla="*/ 4 h 25"/>
                <a:gd name="T60" fmla="*/ 4 w 28"/>
                <a:gd name="T61" fmla="*/ 7 h 25"/>
                <a:gd name="T62" fmla="*/ 3 w 28"/>
                <a:gd name="T63" fmla="*/ 5 h 25"/>
                <a:gd name="T64" fmla="*/ 4 w 28"/>
                <a:gd name="T65" fmla="*/ 3 h 25"/>
                <a:gd name="T66" fmla="*/ 4 w 28"/>
                <a:gd name="T67" fmla="*/ 2 h 25"/>
                <a:gd name="T68" fmla="*/ 3 w 28"/>
                <a:gd name="T69" fmla="*/ 2 h 25"/>
                <a:gd name="T70" fmla="*/ 1 w 28"/>
                <a:gd name="T71" fmla="*/ 4 h 25"/>
                <a:gd name="T72" fmla="*/ 0 w 28"/>
                <a:gd name="T73" fmla="*/ 7 h 25"/>
                <a:gd name="T74" fmla="*/ 2 w 28"/>
                <a:gd name="T75" fmla="*/ 9 h 25"/>
                <a:gd name="T76" fmla="*/ 2 w 28"/>
                <a:gd name="T77" fmla="*/ 11 h 25"/>
                <a:gd name="T78" fmla="*/ 4 w 28"/>
                <a:gd name="T79" fmla="*/ 11 h 25"/>
                <a:gd name="T80" fmla="*/ 7 w 28"/>
                <a:gd name="T81" fmla="*/ 11 h 25"/>
                <a:gd name="T82" fmla="*/ 10 w 28"/>
                <a:gd name="T83" fmla="*/ 13 h 25"/>
                <a:gd name="T84" fmla="*/ 12 w 28"/>
                <a:gd name="T85" fmla="*/ 13 h 25"/>
                <a:gd name="T86" fmla="*/ 12 w 28"/>
                <a:gd name="T87" fmla="*/ 14 h 25"/>
                <a:gd name="T88" fmla="*/ 12 w 28"/>
                <a:gd name="T89" fmla="*/ 16 h 25"/>
                <a:gd name="T90" fmla="*/ 12 w 28"/>
                <a:gd name="T91" fmla="*/ 18 h 25"/>
                <a:gd name="T92" fmla="*/ 12 w 28"/>
                <a:gd name="T93" fmla="*/ 21 h 25"/>
                <a:gd name="T94" fmla="*/ 13 w 28"/>
                <a:gd name="T95" fmla="*/ 22 h 25"/>
                <a:gd name="T96" fmla="*/ 10 w 28"/>
                <a:gd name="T97" fmla="*/ 0 h 25"/>
                <a:gd name="T98" fmla="*/ 11 w 28"/>
                <a:gd name="T99" fmla="*/ 1 h 25"/>
                <a:gd name="T100" fmla="*/ 10 w 28"/>
                <a:gd name="T101" fmla="*/ 1 h 25"/>
                <a:gd name="T102" fmla="*/ 7 w 28"/>
                <a:gd name="T103" fmla="*/ 0 h 25"/>
                <a:gd name="T104" fmla="*/ 19 w 28"/>
                <a:gd name="T105" fmla="*/ 3 h 25"/>
                <a:gd name="T106" fmla="*/ 20 w 28"/>
                <a:gd name="T10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" h="25">
                  <a:moveTo>
                    <a:pt x="13" y="24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1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0"/>
                  </a:cubicBezTo>
                  <a:close/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19" y="3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1" name="Freeform 191">
              <a:extLst>
                <a:ext uri="{FF2B5EF4-FFF2-40B4-BE49-F238E27FC236}">
                  <a16:creationId xmlns:a16="http://schemas.microsoft.com/office/drawing/2014/main" id="{30603841-B9AB-4743-8C2C-1DDC4A8D8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063" y="4770873"/>
              <a:ext cx="245882" cy="353602"/>
            </a:xfrm>
            <a:custGeom>
              <a:avLst/>
              <a:gdLst>
                <a:gd name="T0" fmla="*/ 176 w 210"/>
                <a:gd name="T1" fmla="*/ 244 h 302"/>
                <a:gd name="T2" fmla="*/ 168 w 210"/>
                <a:gd name="T3" fmla="*/ 218 h 302"/>
                <a:gd name="T4" fmla="*/ 168 w 210"/>
                <a:gd name="T5" fmla="*/ 201 h 302"/>
                <a:gd name="T6" fmla="*/ 185 w 210"/>
                <a:gd name="T7" fmla="*/ 193 h 302"/>
                <a:gd name="T8" fmla="*/ 201 w 210"/>
                <a:gd name="T9" fmla="*/ 185 h 302"/>
                <a:gd name="T10" fmla="*/ 210 w 210"/>
                <a:gd name="T11" fmla="*/ 201 h 302"/>
                <a:gd name="T12" fmla="*/ 201 w 210"/>
                <a:gd name="T13" fmla="*/ 176 h 302"/>
                <a:gd name="T14" fmla="*/ 201 w 210"/>
                <a:gd name="T15" fmla="*/ 176 h 302"/>
                <a:gd name="T16" fmla="*/ 201 w 210"/>
                <a:gd name="T17" fmla="*/ 151 h 302"/>
                <a:gd name="T18" fmla="*/ 201 w 210"/>
                <a:gd name="T19" fmla="*/ 126 h 302"/>
                <a:gd name="T20" fmla="*/ 201 w 210"/>
                <a:gd name="T21" fmla="*/ 109 h 302"/>
                <a:gd name="T22" fmla="*/ 193 w 210"/>
                <a:gd name="T23" fmla="*/ 109 h 302"/>
                <a:gd name="T24" fmla="*/ 176 w 210"/>
                <a:gd name="T25" fmla="*/ 109 h 302"/>
                <a:gd name="T26" fmla="*/ 143 w 210"/>
                <a:gd name="T27" fmla="*/ 92 h 302"/>
                <a:gd name="T28" fmla="*/ 126 w 210"/>
                <a:gd name="T29" fmla="*/ 92 h 302"/>
                <a:gd name="T30" fmla="*/ 117 w 210"/>
                <a:gd name="T31" fmla="*/ 84 h 302"/>
                <a:gd name="T32" fmla="*/ 109 w 210"/>
                <a:gd name="T33" fmla="*/ 58 h 302"/>
                <a:gd name="T34" fmla="*/ 109 w 210"/>
                <a:gd name="T35" fmla="*/ 42 h 302"/>
                <a:gd name="T36" fmla="*/ 117 w 210"/>
                <a:gd name="T37" fmla="*/ 25 h 302"/>
                <a:gd name="T38" fmla="*/ 134 w 210"/>
                <a:gd name="T39" fmla="*/ 8 h 302"/>
                <a:gd name="T40" fmla="*/ 143 w 210"/>
                <a:gd name="T41" fmla="*/ 0 h 302"/>
                <a:gd name="T42" fmla="*/ 126 w 210"/>
                <a:gd name="T43" fmla="*/ 0 h 302"/>
                <a:gd name="T44" fmla="*/ 126 w 210"/>
                <a:gd name="T45" fmla="*/ 8 h 302"/>
                <a:gd name="T46" fmla="*/ 101 w 210"/>
                <a:gd name="T47" fmla="*/ 16 h 302"/>
                <a:gd name="T48" fmla="*/ 92 w 210"/>
                <a:gd name="T49" fmla="*/ 25 h 302"/>
                <a:gd name="T50" fmla="*/ 84 w 210"/>
                <a:gd name="T51" fmla="*/ 25 h 302"/>
                <a:gd name="T52" fmla="*/ 67 w 210"/>
                <a:gd name="T53" fmla="*/ 25 h 302"/>
                <a:gd name="T54" fmla="*/ 59 w 210"/>
                <a:gd name="T55" fmla="*/ 42 h 302"/>
                <a:gd name="T56" fmla="*/ 59 w 210"/>
                <a:gd name="T57" fmla="*/ 50 h 302"/>
                <a:gd name="T58" fmla="*/ 42 w 210"/>
                <a:gd name="T59" fmla="*/ 67 h 302"/>
                <a:gd name="T60" fmla="*/ 42 w 210"/>
                <a:gd name="T61" fmla="*/ 84 h 302"/>
                <a:gd name="T62" fmla="*/ 33 w 210"/>
                <a:gd name="T63" fmla="*/ 75 h 302"/>
                <a:gd name="T64" fmla="*/ 33 w 210"/>
                <a:gd name="T65" fmla="*/ 75 h 302"/>
                <a:gd name="T66" fmla="*/ 25 w 210"/>
                <a:gd name="T67" fmla="*/ 92 h 302"/>
                <a:gd name="T68" fmla="*/ 25 w 210"/>
                <a:gd name="T69" fmla="*/ 109 h 302"/>
                <a:gd name="T70" fmla="*/ 25 w 210"/>
                <a:gd name="T71" fmla="*/ 117 h 302"/>
                <a:gd name="T72" fmla="*/ 25 w 210"/>
                <a:gd name="T73" fmla="*/ 126 h 302"/>
                <a:gd name="T74" fmla="*/ 25 w 210"/>
                <a:gd name="T75" fmla="*/ 151 h 302"/>
                <a:gd name="T76" fmla="*/ 33 w 210"/>
                <a:gd name="T77" fmla="*/ 151 h 302"/>
                <a:gd name="T78" fmla="*/ 25 w 210"/>
                <a:gd name="T79" fmla="*/ 176 h 302"/>
                <a:gd name="T80" fmla="*/ 0 w 210"/>
                <a:gd name="T81" fmla="*/ 193 h 302"/>
                <a:gd name="T82" fmla="*/ 25 w 210"/>
                <a:gd name="T83" fmla="*/ 210 h 302"/>
                <a:gd name="T84" fmla="*/ 42 w 210"/>
                <a:gd name="T85" fmla="*/ 227 h 302"/>
                <a:gd name="T86" fmla="*/ 50 w 210"/>
                <a:gd name="T87" fmla="*/ 218 h 302"/>
                <a:gd name="T88" fmla="*/ 67 w 210"/>
                <a:gd name="T89" fmla="*/ 227 h 302"/>
                <a:gd name="T90" fmla="*/ 75 w 210"/>
                <a:gd name="T91" fmla="*/ 227 h 302"/>
                <a:gd name="T92" fmla="*/ 84 w 210"/>
                <a:gd name="T93" fmla="*/ 244 h 302"/>
                <a:gd name="T94" fmla="*/ 101 w 210"/>
                <a:gd name="T95" fmla="*/ 260 h 302"/>
                <a:gd name="T96" fmla="*/ 109 w 210"/>
                <a:gd name="T97" fmla="*/ 269 h 302"/>
                <a:gd name="T98" fmla="*/ 134 w 210"/>
                <a:gd name="T99" fmla="*/ 269 h 302"/>
                <a:gd name="T100" fmla="*/ 151 w 210"/>
                <a:gd name="T101" fmla="*/ 269 h 302"/>
                <a:gd name="T102" fmla="*/ 143 w 210"/>
                <a:gd name="T103" fmla="*/ 294 h 302"/>
                <a:gd name="T104" fmla="*/ 159 w 210"/>
                <a:gd name="T10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302">
                  <a:moveTo>
                    <a:pt x="159" y="302"/>
                  </a:moveTo>
                  <a:lnTo>
                    <a:pt x="159" y="294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76" y="244"/>
                  </a:lnTo>
                  <a:lnTo>
                    <a:pt x="168" y="235"/>
                  </a:lnTo>
                  <a:lnTo>
                    <a:pt x="159" y="235"/>
                  </a:lnTo>
                  <a:lnTo>
                    <a:pt x="159" y="227"/>
                  </a:lnTo>
                  <a:lnTo>
                    <a:pt x="159" y="218"/>
                  </a:lnTo>
                  <a:lnTo>
                    <a:pt x="168" y="218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76" y="210"/>
                  </a:lnTo>
                  <a:lnTo>
                    <a:pt x="176" y="210"/>
                  </a:lnTo>
                  <a:lnTo>
                    <a:pt x="168" y="201"/>
                  </a:lnTo>
                  <a:lnTo>
                    <a:pt x="168" y="201"/>
                  </a:lnTo>
                  <a:lnTo>
                    <a:pt x="159" y="201"/>
                  </a:lnTo>
                  <a:lnTo>
                    <a:pt x="168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201" y="193"/>
                  </a:lnTo>
                  <a:lnTo>
                    <a:pt x="201" y="185"/>
                  </a:lnTo>
                  <a:lnTo>
                    <a:pt x="201" y="193"/>
                  </a:lnTo>
                  <a:lnTo>
                    <a:pt x="210" y="193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193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59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201" y="134"/>
                  </a:lnTo>
                  <a:lnTo>
                    <a:pt x="201" y="134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17"/>
                  </a:lnTo>
                  <a:lnTo>
                    <a:pt x="210" y="117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59" y="101"/>
                  </a:lnTo>
                  <a:lnTo>
                    <a:pt x="159" y="92"/>
                  </a:lnTo>
                  <a:lnTo>
                    <a:pt x="151" y="92"/>
                  </a:lnTo>
                  <a:lnTo>
                    <a:pt x="143" y="92"/>
                  </a:lnTo>
                  <a:lnTo>
                    <a:pt x="143" y="101"/>
                  </a:lnTo>
                  <a:lnTo>
                    <a:pt x="143" y="92"/>
                  </a:lnTo>
                  <a:lnTo>
                    <a:pt x="134" y="92"/>
                  </a:lnTo>
                  <a:lnTo>
                    <a:pt x="134" y="101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17" y="92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67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9" y="50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33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26" y="25"/>
                  </a:lnTo>
                  <a:lnTo>
                    <a:pt x="126" y="16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3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3" y="101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25" y="109"/>
                  </a:lnTo>
                  <a:lnTo>
                    <a:pt x="25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34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25" y="168"/>
                  </a:lnTo>
                  <a:lnTo>
                    <a:pt x="25" y="176"/>
                  </a:lnTo>
                  <a:lnTo>
                    <a:pt x="17" y="176"/>
                  </a:lnTo>
                  <a:lnTo>
                    <a:pt x="8" y="176"/>
                  </a:lnTo>
                  <a:lnTo>
                    <a:pt x="8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8" y="201"/>
                  </a:lnTo>
                  <a:lnTo>
                    <a:pt x="17" y="210"/>
                  </a:lnTo>
                  <a:lnTo>
                    <a:pt x="25" y="210"/>
                  </a:lnTo>
                  <a:lnTo>
                    <a:pt x="25" y="218"/>
                  </a:lnTo>
                  <a:lnTo>
                    <a:pt x="25" y="218"/>
                  </a:lnTo>
                  <a:lnTo>
                    <a:pt x="25" y="218"/>
                  </a:lnTo>
                  <a:lnTo>
                    <a:pt x="33" y="218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9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5"/>
                  </a:lnTo>
                  <a:lnTo>
                    <a:pt x="84" y="235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92" y="252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0"/>
                  </a:lnTo>
                  <a:lnTo>
                    <a:pt x="101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9" y="269"/>
                  </a:lnTo>
                  <a:lnTo>
                    <a:pt x="159" y="269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9" y="294"/>
                  </a:lnTo>
                  <a:lnTo>
                    <a:pt x="159" y="294"/>
                  </a:lnTo>
                  <a:lnTo>
                    <a:pt x="159" y="3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Freeform 192">
              <a:extLst>
                <a:ext uri="{FF2B5EF4-FFF2-40B4-BE49-F238E27FC236}">
                  <a16:creationId xmlns:a16="http://schemas.microsoft.com/office/drawing/2014/main" id="{AF45676C-1D9A-4032-93EE-284E6C2556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4253" y="5006217"/>
              <a:ext cx="118257" cy="128795"/>
            </a:xfrm>
            <a:custGeom>
              <a:avLst/>
              <a:gdLst>
                <a:gd name="T0" fmla="*/ 101 w 101"/>
                <a:gd name="T1" fmla="*/ 26 h 110"/>
                <a:gd name="T2" fmla="*/ 93 w 101"/>
                <a:gd name="T3" fmla="*/ 17 h 110"/>
                <a:gd name="T4" fmla="*/ 84 w 101"/>
                <a:gd name="T5" fmla="*/ 17 h 110"/>
                <a:gd name="T6" fmla="*/ 84 w 101"/>
                <a:gd name="T7" fmla="*/ 17 h 110"/>
                <a:gd name="T8" fmla="*/ 84 w 101"/>
                <a:gd name="T9" fmla="*/ 26 h 110"/>
                <a:gd name="T10" fmla="*/ 76 w 101"/>
                <a:gd name="T11" fmla="*/ 26 h 110"/>
                <a:gd name="T12" fmla="*/ 59 w 101"/>
                <a:gd name="T13" fmla="*/ 17 h 110"/>
                <a:gd name="T14" fmla="*/ 59 w 101"/>
                <a:gd name="T15" fmla="*/ 17 h 110"/>
                <a:gd name="T16" fmla="*/ 51 w 101"/>
                <a:gd name="T17" fmla="*/ 9 h 110"/>
                <a:gd name="T18" fmla="*/ 42 w 101"/>
                <a:gd name="T19" fmla="*/ 0 h 110"/>
                <a:gd name="T20" fmla="*/ 34 w 101"/>
                <a:gd name="T21" fmla="*/ 0 h 110"/>
                <a:gd name="T22" fmla="*/ 17 w 101"/>
                <a:gd name="T23" fmla="*/ 9 h 110"/>
                <a:gd name="T24" fmla="*/ 9 w 101"/>
                <a:gd name="T25" fmla="*/ 9 h 110"/>
                <a:gd name="T26" fmla="*/ 17 w 101"/>
                <a:gd name="T27" fmla="*/ 17 h 110"/>
                <a:gd name="T28" fmla="*/ 17 w 101"/>
                <a:gd name="T29" fmla="*/ 26 h 110"/>
                <a:gd name="T30" fmla="*/ 9 w 101"/>
                <a:gd name="T31" fmla="*/ 34 h 110"/>
                <a:gd name="T32" fmla="*/ 9 w 101"/>
                <a:gd name="T33" fmla="*/ 43 h 110"/>
                <a:gd name="T34" fmla="*/ 0 w 101"/>
                <a:gd name="T35" fmla="*/ 43 h 110"/>
                <a:gd name="T36" fmla="*/ 0 w 101"/>
                <a:gd name="T37" fmla="*/ 51 h 110"/>
                <a:gd name="T38" fmla="*/ 0 w 101"/>
                <a:gd name="T39" fmla="*/ 59 h 110"/>
                <a:gd name="T40" fmla="*/ 0 w 101"/>
                <a:gd name="T41" fmla="*/ 68 h 110"/>
                <a:gd name="T42" fmla="*/ 0 w 101"/>
                <a:gd name="T43" fmla="*/ 68 h 110"/>
                <a:gd name="T44" fmla="*/ 9 w 101"/>
                <a:gd name="T45" fmla="*/ 76 h 110"/>
                <a:gd name="T46" fmla="*/ 17 w 101"/>
                <a:gd name="T47" fmla="*/ 68 h 110"/>
                <a:gd name="T48" fmla="*/ 17 w 101"/>
                <a:gd name="T49" fmla="*/ 68 h 110"/>
                <a:gd name="T50" fmla="*/ 17 w 101"/>
                <a:gd name="T51" fmla="*/ 68 h 110"/>
                <a:gd name="T52" fmla="*/ 17 w 101"/>
                <a:gd name="T53" fmla="*/ 68 h 110"/>
                <a:gd name="T54" fmla="*/ 17 w 101"/>
                <a:gd name="T55" fmla="*/ 68 h 110"/>
                <a:gd name="T56" fmla="*/ 17 w 101"/>
                <a:gd name="T57" fmla="*/ 76 h 110"/>
                <a:gd name="T58" fmla="*/ 17 w 101"/>
                <a:gd name="T59" fmla="*/ 85 h 110"/>
                <a:gd name="T60" fmla="*/ 17 w 101"/>
                <a:gd name="T61" fmla="*/ 93 h 110"/>
                <a:gd name="T62" fmla="*/ 9 w 101"/>
                <a:gd name="T63" fmla="*/ 101 h 110"/>
                <a:gd name="T64" fmla="*/ 17 w 101"/>
                <a:gd name="T65" fmla="*/ 101 h 110"/>
                <a:gd name="T66" fmla="*/ 17 w 101"/>
                <a:gd name="T67" fmla="*/ 101 h 110"/>
                <a:gd name="T68" fmla="*/ 25 w 101"/>
                <a:gd name="T69" fmla="*/ 101 h 110"/>
                <a:gd name="T70" fmla="*/ 34 w 101"/>
                <a:gd name="T71" fmla="*/ 110 h 110"/>
                <a:gd name="T72" fmla="*/ 51 w 101"/>
                <a:gd name="T73" fmla="*/ 85 h 110"/>
                <a:gd name="T74" fmla="*/ 76 w 101"/>
                <a:gd name="T75" fmla="*/ 76 h 110"/>
                <a:gd name="T76" fmla="*/ 93 w 101"/>
                <a:gd name="T77" fmla="*/ 59 h 110"/>
                <a:gd name="T78" fmla="*/ 101 w 101"/>
                <a:gd name="T79" fmla="*/ 43 h 110"/>
                <a:gd name="T80" fmla="*/ 101 w 101"/>
                <a:gd name="T81" fmla="*/ 43 h 110"/>
                <a:gd name="T82" fmla="*/ 101 w 101"/>
                <a:gd name="T83" fmla="*/ 26 h 110"/>
                <a:gd name="T84" fmla="*/ 101 w 101"/>
                <a:gd name="T85" fmla="*/ 26 h 110"/>
                <a:gd name="T86" fmla="*/ 101 w 101"/>
                <a:gd name="T87" fmla="*/ 26 h 110"/>
                <a:gd name="T88" fmla="*/ 9 w 101"/>
                <a:gd name="T89" fmla="*/ 76 h 110"/>
                <a:gd name="T90" fmla="*/ 17 w 101"/>
                <a:gd name="T91" fmla="*/ 76 h 110"/>
                <a:gd name="T92" fmla="*/ 17 w 101"/>
                <a:gd name="T93" fmla="*/ 76 h 110"/>
                <a:gd name="T94" fmla="*/ 17 w 101"/>
                <a:gd name="T95" fmla="*/ 85 h 110"/>
                <a:gd name="T96" fmla="*/ 9 w 101"/>
                <a:gd name="T97" fmla="*/ 8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1" h="110">
                  <a:moveTo>
                    <a:pt x="101" y="26"/>
                  </a:moveTo>
                  <a:lnTo>
                    <a:pt x="101" y="26"/>
                  </a:lnTo>
                  <a:lnTo>
                    <a:pt x="93" y="26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67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51" y="9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93"/>
                  </a:lnTo>
                  <a:lnTo>
                    <a:pt x="9" y="93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42" y="110"/>
                  </a:lnTo>
                  <a:lnTo>
                    <a:pt x="51" y="85"/>
                  </a:lnTo>
                  <a:lnTo>
                    <a:pt x="51" y="76"/>
                  </a:lnTo>
                  <a:lnTo>
                    <a:pt x="76" y="76"/>
                  </a:lnTo>
                  <a:lnTo>
                    <a:pt x="84" y="68"/>
                  </a:lnTo>
                  <a:lnTo>
                    <a:pt x="93" y="59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3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close/>
                  <a:moveTo>
                    <a:pt x="9" y="85"/>
                  </a:moveTo>
                  <a:lnTo>
                    <a:pt x="9" y="76"/>
                  </a:lnTo>
                  <a:lnTo>
                    <a:pt x="9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85"/>
                  </a:lnTo>
                  <a:lnTo>
                    <a:pt x="9" y="85"/>
                  </a:lnTo>
                  <a:lnTo>
                    <a:pt x="9" y="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Freeform 193">
              <a:extLst>
                <a:ext uri="{FF2B5EF4-FFF2-40B4-BE49-F238E27FC236}">
                  <a16:creationId xmlns:a16="http://schemas.microsoft.com/office/drawing/2014/main" id="{C854758E-F53A-4B72-9189-D38088FDD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886" y="5036660"/>
              <a:ext cx="265787" cy="393412"/>
            </a:xfrm>
            <a:custGeom>
              <a:avLst/>
              <a:gdLst>
                <a:gd name="T0" fmla="*/ 210 w 227"/>
                <a:gd name="T1" fmla="*/ 193 h 336"/>
                <a:gd name="T2" fmla="*/ 193 w 227"/>
                <a:gd name="T3" fmla="*/ 193 h 336"/>
                <a:gd name="T4" fmla="*/ 193 w 227"/>
                <a:gd name="T5" fmla="*/ 176 h 336"/>
                <a:gd name="T6" fmla="*/ 176 w 227"/>
                <a:gd name="T7" fmla="*/ 176 h 336"/>
                <a:gd name="T8" fmla="*/ 159 w 227"/>
                <a:gd name="T9" fmla="*/ 168 h 336"/>
                <a:gd name="T10" fmla="*/ 143 w 227"/>
                <a:gd name="T11" fmla="*/ 143 h 336"/>
                <a:gd name="T12" fmla="*/ 134 w 227"/>
                <a:gd name="T13" fmla="*/ 134 h 336"/>
                <a:gd name="T14" fmla="*/ 134 w 227"/>
                <a:gd name="T15" fmla="*/ 117 h 336"/>
                <a:gd name="T16" fmla="*/ 143 w 227"/>
                <a:gd name="T17" fmla="*/ 109 h 336"/>
                <a:gd name="T18" fmla="*/ 151 w 227"/>
                <a:gd name="T19" fmla="*/ 92 h 336"/>
                <a:gd name="T20" fmla="*/ 159 w 227"/>
                <a:gd name="T21" fmla="*/ 84 h 336"/>
                <a:gd name="T22" fmla="*/ 185 w 227"/>
                <a:gd name="T23" fmla="*/ 75 h 336"/>
                <a:gd name="T24" fmla="*/ 193 w 227"/>
                <a:gd name="T25" fmla="*/ 75 h 336"/>
                <a:gd name="T26" fmla="*/ 201 w 227"/>
                <a:gd name="T27" fmla="*/ 75 h 336"/>
                <a:gd name="T28" fmla="*/ 193 w 227"/>
                <a:gd name="T29" fmla="*/ 67 h 336"/>
                <a:gd name="T30" fmla="*/ 193 w 227"/>
                <a:gd name="T31" fmla="*/ 42 h 336"/>
                <a:gd name="T32" fmla="*/ 185 w 227"/>
                <a:gd name="T33" fmla="*/ 42 h 336"/>
                <a:gd name="T34" fmla="*/ 168 w 227"/>
                <a:gd name="T35" fmla="*/ 42 h 336"/>
                <a:gd name="T36" fmla="*/ 151 w 227"/>
                <a:gd name="T37" fmla="*/ 42 h 336"/>
                <a:gd name="T38" fmla="*/ 151 w 227"/>
                <a:gd name="T39" fmla="*/ 33 h 336"/>
                <a:gd name="T40" fmla="*/ 143 w 227"/>
                <a:gd name="T41" fmla="*/ 25 h 336"/>
                <a:gd name="T42" fmla="*/ 126 w 227"/>
                <a:gd name="T43" fmla="*/ 17 h 336"/>
                <a:gd name="T44" fmla="*/ 117 w 227"/>
                <a:gd name="T45" fmla="*/ 0 h 336"/>
                <a:gd name="T46" fmla="*/ 109 w 227"/>
                <a:gd name="T47" fmla="*/ 0 h 336"/>
                <a:gd name="T48" fmla="*/ 109 w 227"/>
                <a:gd name="T49" fmla="*/ 17 h 336"/>
                <a:gd name="T50" fmla="*/ 92 w 227"/>
                <a:gd name="T51" fmla="*/ 42 h 336"/>
                <a:gd name="T52" fmla="*/ 50 w 227"/>
                <a:gd name="T53" fmla="*/ 84 h 336"/>
                <a:gd name="T54" fmla="*/ 33 w 227"/>
                <a:gd name="T55" fmla="*/ 75 h 336"/>
                <a:gd name="T56" fmla="*/ 17 w 227"/>
                <a:gd name="T57" fmla="*/ 75 h 336"/>
                <a:gd name="T58" fmla="*/ 25 w 227"/>
                <a:gd name="T59" fmla="*/ 59 h 336"/>
                <a:gd name="T60" fmla="*/ 8 w 227"/>
                <a:gd name="T61" fmla="*/ 67 h 336"/>
                <a:gd name="T62" fmla="*/ 0 w 227"/>
                <a:gd name="T63" fmla="*/ 84 h 336"/>
                <a:gd name="T64" fmla="*/ 0 w 227"/>
                <a:gd name="T65" fmla="*/ 92 h 336"/>
                <a:gd name="T66" fmla="*/ 8 w 227"/>
                <a:gd name="T67" fmla="*/ 101 h 336"/>
                <a:gd name="T68" fmla="*/ 8 w 227"/>
                <a:gd name="T69" fmla="*/ 109 h 336"/>
                <a:gd name="T70" fmla="*/ 25 w 227"/>
                <a:gd name="T71" fmla="*/ 126 h 336"/>
                <a:gd name="T72" fmla="*/ 33 w 227"/>
                <a:gd name="T73" fmla="*/ 143 h 336"/>
                <a:gd name="T74" fmla="*/ 50 w 227"/>
                <a:gd name="T75" fmla="*/ 160 h 336"/>
                <a:gd name="T76" fmla="*/ 59 w 227"/>
                <a:gd name="T77" fmla="*/ 176 h 336"/>
                <a:gd name="T78" fmla="*/ 67 w 227"/>
                <a:gd name="T79" fmla="*/ 193 h 336"/>
                <a:gd name="T80" fmla="*/ 67 w 227"/>
                <a:gd name="T81" fmla="*/ 202 h 336"/>
                <a:gd name="T82" fmla="*/ 84 w 227"/>
                <a:gd name="T83" fmla="*/ 218 h 336"/>
                <a:gd name="T84" fmla="*/ 92 w 227"/>
                <a:gd name="T85" fmla="*/ 235 h 336"/>
                <a:gd name="T86" fmla="*/ 92 w 227"/>
                <a:gd name="T87" fmla="*/ 244 h 336"/>
                <a:gd name="T88" fmla="*/ 101 w 227"/>
                <a:gd name="T89" fmla="*/ 252 h 336"/>
                <a:gd name="T90" fmla="*/ 109 w 227"/>
                <a:gd name="T91" fmla="*/ 260 h 336"/>
                <a:gd name="T92" fmla="*/ 117 w 227"/>
                <a:gd name="T93" fmla="*/ 269 h 336"/>
                <a:gd name="T94" fmla="*/ 126 w 227"/>
                <a:gd name="T95" fmla="*/ 277 h 336"/>
                <a:gd name="T96" fmla="*/ 134 w 227"/>
                <a:gd name="T97" fmla="*/ 286 h 336"/>
                <a:gd name="T98" fmla="*/ 143 w 227"/>
                <a:gd name="T99" fmla="*/ 294 h 336"/>
                <a:gd name="T100" fmla="*/ 159 w 227"/>
                <a:gd name="T101" fmla="*/ 303 h 336"/>
                <a:gd name="T102" fmla="*/ 176 w 227"/>
                <a:gd name="T103" fmla="*/ 311 h 336"/>
                <a:gd name="T104" fmla="*/ 185 w 227"/>
                <a:gd name="T105" fmla="*/ 319 h 336"/>
                <a:gd name="T106" fmla="*/ 193 w 227"/>
                <a:gd name="T107" fmla="*/ 319 h 336"/>
                <a:gd name="T108" fmla="*/ 201 w 227"/>
                <a:gd name="T109" fmla="*/ 336 h 336"/>
                <a:gd name="T110" fmla="*/ 218 w 227"/>
                <a:gd name="T111" fmla="*/ 328 h 336"/>
                <a:gd name="T112" fmla="*/ 218 w 227"/>
                <a:gd name="T113" fmla="*/ 311 h 336"/>
                <a:gd name="T114" fmla="*/ 218 w 227"/>
                <a:gd name="T115" fmla="*/ 311 h 336"/>
                <a:gd name="T116" fmla="*/ 227 w 227"/>
                <a:gd name="T117" fmla="*/ 294 h 336"/>
                <a:gd name="T118" fmla="*/ 227 w 227"/>
                <a:gd name="T119" fmla="*/ 269 h 336"/>
                <a:gd name="T120" fmla="*/ 227 w 227"/>
                <a:gd name="T121" fmla="*/ 252 h 336"/>
                <a:gd name="T122" fmla="*/ 227 w 227"/>
                <a:gd name="T123" fmla="*/ 21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7" h="336">
                  <a:moveTo>
                    <a:pt x="210" y="193"/>
                  </a:moveTo>
                  <a:lnTo>
                    <a:pt x="210" y="193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01" y="193"/>
                  </a:lnTo>
                  <a:lnTo>
                    <a:pt x="201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85" y="168"/>
                  </a:lnTo>
                  <a:lnTo>
                    <a:pt x="176" y="176"/>
                  </a:lnTo>
                  <a:lnTo>
                    <a:pt x="168" y="176"/>
                  </a:lnTo>
                  <a:lnTo>
                    <a:pt x="168" y="176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1" y="168"/>
                  </a:lnTo>
                  <a:lnTo>
                    <a:pt x="143" y="168"/>
                  </a:lnTo>
                  <a:lnTo>
                    <a:pt x="151" y="160"/>
                  </a:lnTo>
                  <a:lnTo>
                    <a:pt x="143" y="143"/>
                  </a:lnTo>
                  <a:lnTo>
                    <a:pt x="134" y="143"/>
                  </a:lnTo>
                  <a:lnTo>
                    <a:pt x="134" y="143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51" y="101"/>
                  </a:lnTo>
                  <a:lnTo>
                    <a:pt x="151" y="101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68" y="84"/>
                  </a:lnTo>
                  <a:lnTo>
                    <a:pt x="176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85" y="67"/>
                  </a:lnTo>
                  <a:lnTo>
                    <a:pt x="201" y="42"/>
                  </a:lnTo>
                  <a:lnTo>
                    <a:pt x="201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43" y="42"/>
                  </a:lnTo>
                  <a:lnTo>
                    <a:pt x="151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8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33"/>
                  </a:lnTo>
                  <a:lnTo>
                    <a:pt x="92" y="42"/>
                  </a:lnTo>
                  <a:lnTo>
                    <a:pt x="84" y="50"/>
                  </a:lnTo>
                  <a:lnTo>
                    <a:pt x="59" y="50"/>
                  </a:lnTo>
                  <a:lnTo>
                    <a:pt x="59" y="59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67"/>
                  </a:lnTo>
                  <a:lnTo>
                    <a:pt x="8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8" y="92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43"/>
                  </a:lnTo>
                  <a:lnTo>
                    <a:pt x="42" y="143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68"/>
                  </a:lnTo>
                  <a:lnTo>
                    <a:pt x="59" y="168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85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27"/>
                  </a:lnTo>
                  <a:lnTo>
                    <a:pt x="92" y="235"/>
                  </a:lnTo>
                  <a:lnTo>
                    <a:pt x="92" y="235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92" y="252"/>
                  </a:lnTo>
                  <a:lnTo>
                    <a:pt x="92" y="244"/>
                  </a:lnTo>
                  <a:lnTo>
                    <a:pt x="92" y="252"/>
                  </a:lnTo>
                  <a:lnTo>
                    <a:pt x="92" y="252"/>
                  </a:lnTo>
                  <a:lnTo>
                    <a:pt x="92" y="252"/>
                  </a:lnTo>
                  <a:lnTo>
                    <a:pt x="101" y="252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0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34" y="286"/>
                  </a:lnTo>
                  <a:lnTo>
                    <a:pt x="134" y="286"/>
                  </a:lnTo>
                  <a:lnTo>
                    <a:pt x="143" y="286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9" y="303"/>
                  </a:lnTo>
                  <a:lnTo>
                    <a:pt x="159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85" y="311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93" y="319"/>
                  </a:lnTo>
                  <a:lnTo>
                    <a:pt x="193" y="328"/>
                  </a:lnTo>
                  <a:lnTo>
                    <a:pt x="201" y="328"/>
                  </a:lnTo>
                  <a:lnTo>
                    <a:pt x="201" y="336"/>
                  </a:lnTo>
                  <a:lnTo>
                    <a:pt x="201" y="336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8" y="328"/>
                  </a:lnTo>
                  <a:lnTo>
                    <a:pt x="218" y="328"/>
                  </a:lnTo>
                  <a:lnTo>
                    <a:pt x="218" y="319"/>
                  </a:lnTo>
                  <a:lnTo>
                    <a:pt x="218" y="319"/>
                  </a:lnTo>
                  <a:lnTo>
                    <a:pt x="218" y="311"/>
                  </a:lnTo>
                  <a:lnTo>
                    <a:pt x="218" y="319"/>
                  </a:lnTo>
                  <a:lnTo>
                    <a:pt x="218" y="311"/>
                  </a:lnTo>
                  <a:lnTo>
                    <a:pt x="218" y="311"/>
                  </a:lnTo>
                  <a:lnTo>
                    <a:pt x="218" y="311"/>
                  </a:lnTo>
                  <a:lnTo>
                    <a:pt x="218" y="303"/>
                  </a:lnTo>
                  <a:lnTo>
                    <a:pt x="227" y="303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18" y="286"/>
                  </a:lnTo>
                  <a:lnTo>
                    <a:pt x="227" y="277"/>
                  </a:lnTo>
                  <a:lnTo>
                    <a:pt x="227" y="277"/>
                  </a:lnTo>
                  <a:lnTo>
                    <a:pt x="227" y="269"/>
                  </a:lnTo>
                  <a:lnTo>
                    <a:pt x="218" y="269"/>
                  </a:lnTo>
                  <a:lnTo>
                    <a:pt x="227" y="269"/>
                  </a:lnTo>
                  <a:lnTo>
                    <a:pt x="227" y="260"/>
                  </a:lnTo>
                  <a:lnTo>
                    <a:pt x="227" y="252"/>
                  </a:lnTo>
                  <a:lnTo>
                    <a:pt x="227" y="244"/>
                  </a:lnTo>
                  <a:lnTo>
                    <a:pt x="227" y="235"/>
                  </a:lnTo>
                  <a:lnTo>
                    <a:pt x="227" y="227"/>
                  </a:lnTo>
                  <a:lnTo>
                    <a:pt x="227" y="218"/>
                  </a:lnTo>
                  <a:lnTo>
                    <a:pt x="227" y="218"/>
                  </a:lnTo>
                  <a:lnTo>
                    <a:pt x="210" y="1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Freeform 194">
              <a:extLst>
                <a:ext uri="{FF2B5EF4-FFF2-40B4-BE49-F238E27FC236}">
                  <a16:creationId xmlns:a16="http://schemas.microsoft.com/office/drawing/2014/main" id="{77762BCC-A6D2-4031-B314-7BA8C7761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0768" y="5233366"/>
              <a:ext cx="255249" cy="295059"/>
            </a:xfrm>
            <a:custGeom>
              <a:avLst/>
              <a:gdLst>
                <a:gd name="T0" fmla="*/ 210 w 218"/>
                <a:gd name="T1" fmla="*/ 185 h 252"/>
                <a:gd name="T2" fmla="*/ 210 w 218"/>
                <a:gd name="T3" fmla="*/ 143 h 252"/>
                <a:gd name="T4" fmla="*/ 201 w 218"/>
                <a:gd name="T5" fmla="*/ 118 h 252"/>
                <a:gd name="T6" fmla="*/ 168 w 218"/>
                <a:gd name="T7" fmla="*/ 101 h 252"/>
                <a:gd name="T8" fmla="*/ 168 w 218"/>
                <a:gd name="T9" fmla="*/ 84 h 252"/>
                <a:gd name="T10" fmla="*/ 143 w 218"/>
                <a:gd name="T11" fmla="*/ 76 h 252"/>
                <a:gd name="T12" fmla="*/ 134 w 218"/>
                <a:gd name="T13" fmla="*/ 67 h 252"/>
                <a:gd name="T14" fmla="*/ 126 w 218"/>
                <a:gd name="T15" fmla="*/ 67 h 252"/>
                <a:gd name="T16" fmla="*/ 109 w 218"/>
                <a:gd name="T17" fmla="*/ 50 h 252"/>
                <a:gd name="T18" fmla="*/ 92 w 218"/>
                <a:gd name="T19" fmla="*/ 50 h 252"/>
                <a:gd name="T20" fmla="*/ 84 w 218"/>
                <a:gd name="T21" fmla="*/ 42 h 252"/>
                <a:gd name="T22" fmla="*/ 75 w 218"/>
                <a:gd name="T23" fmla="*/ 25 h 252"/>
                <a:gd name="T24" fmla="*/ 75 w 218"/>
                <a:gd name="T25" fmla="*/ 8 h 252"/>
                <a:gd name="T26" fmla="*/ 67 w 218"/>
                <a:gd name="T27" fmla="*/ 8 h 252"/>
                <a:gd name="T28" fmla="*/ 59 w 218"/>
                <a:gd name="T29" fmla="*/ 8 h 252"/>
                <a:gd name="T30" fmla="*/ 42 w 218"/>
                <a:gd name="T31" fmla="*/ 25 h 252"/>
                <a:gd name="T32" fmla="*/ 25 w 218"/>
                <a:gd name="T33" fmla="*/ 25 h 252"/>
                <a:gd name="T34" fmla="*/ 17 w 218"/>
                <a:gd name="T35" fmla="*/ 25 h 252"/>
                <a:gd name="T36" fmla="*/ 17 w 218"/>
                <a:gd name="T37" fmla="*/ 50 h 252"/>
                <a:gd name="T38" fmla="*/ 17 w 218"/>
                <a:gd name="T39" fmla="*/ 76 h 252"/>
                <a:gd name="T40" fmla="*/ 17 w 218"/>
                <a:gd name="T41" fmla="*/ 101 h 252"/>
                <a:gd name="T42" fmla="*/ 17 w 218"/>
                <a:gd name="T43" fmla="*/ 109 h 252"/>
                <a:gd name="T44" fmla="*/ 17 w 218"/>
                <a:gd name="T45" fmla="*/ 126 h 252"/>
                <a:gd name="T46" fmla="*/ 8 w 218"/>
                <a:gd name="T47" fmla="*/ 135 h 252"/>
                <a:gd name="T48" fmla="*/ 8 w 218"/>
                <a:gd name="T49" fmla="*/ 143 h 252"/>
                <a:gd name="T50" fmla="*/ 8 w 218"/>
                <a:gd name="T51" fmla="*/ 151 h 252"/>
                <a:gd name="T52" fmla="*/ 17 w 218"/>
                <a:gd name="T53" fmla="*/ 160 h 252"/>
                <a:gd name="T54" fmla="*/ 17 w 218"/>
                <a:gd name="T55" fmla="*/ 168 h 252"/>
                <a:gd name="T56" fmla="*/ 33 w 218"/>
                <a:gd name="T57" fmla="*/ 185 h 252"/>
                <a:gd name="T58" fmla="*/ 25 w 218"/>
                <a:gd name="T59" fmla="*/ 202 h 252"/>
                <a:gd name="T60" fmla="*/ 50 w 218"/>
                <a:gd name="T61" fmla="*/ 252 h 252"/>
                <a:gd name="T62" fmla="*/ 59 w 218"/>
                <a:gd name="T63" fmla="*/ 244 h 252"/>
                <a:gd name="T64" fmla="*/ 67 w 218"/>
                <a:gd name="T65" fmla="*/ 235 h 252"/>
                <a:gd name="T66" fmla="*/ 75 w 218"/>
                <a:gd name="T67" fmla="*/ 235 h 252"/>
                <a:gd name="T68" fmla="*/ 92 w 218"/>
                <a:gd name="T69" fmla="*/ 235 h 252"/>
                <a:gd name="T70" fmla="*/ 101 w 218"/>
                <a:gd name="T71" fmla="*/ 235 h 252"/>
                <a:gd name="T72" fmla="*/ 109 w 218"/>
                <a:gd name="T73" fmla="*/ 244 h 252"/>
                <a:gd name="T74" fmla="*/ 109 w 218"/>
                <a:gd name="T75" fmla="*/ 235 h 252"/>
                <a:gd name="T76" fmla="*/ 134 w 218"/>
                <a:gd name="T77" fmla="*/ 227 h 252"/>
                <a:gd name="T78" fmla="*/ 143 w 218"/>
                <a:gd name="T79" fmla="*/ 219 h 252"/>
                <a:gd name="T80" fmla="*/ 134 w 218"/>
                <a:gd name="T81" fmla="*/ 202 h 252"/>
                <a:gd name="T82" fmla="*/ 143 w 218"/>
                <a:gd name="T83" fmla="*/ 185 h 252"/>
                <a:gd name="T84" fmla="*/ 193 w 218"/>
                <a:gd name="T85" fmla="*/ 177 h 252"/>
                <a:gd name="T86" fmla="*/ 210 w 218"/>
                <a:gd name="T87" fmla="*/ 19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8" h="252">
                  <a:moveTo>
                    <a:pt x="210" y="193"/>
                  </a:moveTo>
                  <a:lnTo>
                    <a:pt x="210" y="185"/>
                  </a:lnTo>
                  <a:lnTo>
                    <a:pt x="210" y="185"/>
                  </a:lnTo>
                  <a:lnTo>
                    <a:pt x="218" y="168"/>
                  </a:lnTo>
                  <a:lnTo>
                    <a:pt x="218" y="160"/>
                  </a:lnTo>
                  <a:lnTo>
                    <a:pt x="210" y="143"/>
                  </a:lnTo>
                  <a:lnTo>
                    <a:pt x="201" y="143"/>
                  </a:lnTo>
                  <a:lnTo>
                    <a:pt x="201" y="135"/>
                  </a:lnTo>
                  <a:lnTo>
                    <a:pt x="201" y="118"/>
                  </a:lnTo>
                  <a:lnTo>
                    <a:pt x="168" y="118"/>
                  </a:lnTo>
                  <a:lnTo>
                    <a:pt x="168" y="109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2"/>
                  </a:lnTo>
                  <a:lnTo>
                    <a:pt x="168" y="84"/>
                  </a:lnTo>
                  <a:lnTo>
                    <a:pt x="168" y="76"/>
                  </a:lnTo>
                  <a:lnTo>
                    <a:pt x="159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17" y="59"/>
                  </a:lnTo>
                  <a:lnTo>
                    <a:pt x="109" y="59"/>
                  </a:lnTo>
                  <a:lnTo>
                    <a:pt x="109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92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75" y="42"/>
                  </a:lnTo>
                  <a:lnTo>
                    <a:pt x="75" y="34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17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9" y="8"/>
                  </a:lnTo>
                  <a:lnTo>
                    <a:pt x="50" y="8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0" y="25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7" y="76"/>
                  </a:lnTo>
                  <a:lnTo>
                    <a:pt x="17" y="84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8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8" y="118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35"/>
                  </a:lnTo>
                  <a:lnTo>
                    <a:pt x="8" y="135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7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25" y="177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25" y="193"/>
                  </a:lnTo>
                  <a:lnTo>
                    <a:pt x="33" y="193"/>
                  </a:lnTo>
                  <a:lnTo>
                    <a:pt x="25" y="202"/>
                  </a:lnTo>
                  <a:lnTo>
                    <a:pt x="25" y="210"/>
                  </a:lnTo>
                  <a:lnTo>
                    <a:pt x="33" y="219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67" y="235"/>
                  </a:lnTo>
                  <a:lnTo>
                    <a:pt x="67" y="227"/>
                  </a:lnTo>
                  <a:lnTo>
                    <a:pt x="75" y="227"/>
                  </a:lnTo>
                  <a:lnTo>
                    <a:pt x="75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92" y="235"/>
                  </a:lnTo>
                  <a:lnTo>
                    <a:pt x="101" y="227"/>
                  </a:lnTo>
                  <a:lnTo>
                    <a:pt x="101" y="235"/>
                  </a:lnTo>
                  <a:lnTo>
                    <a:pt x="101" y="235"/>
                  </a:lnTo>
                  <a:lnTo>
                    <a:pt x="101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35"/>
                  </a:lnTo>
                  <a:lnTo>
                    <a:pt x="109" y="235"/>
                  </a:lnTo>
                  <a:lnTo>
                    <a:pt x="109" y="227"/>
                  </a:lnTo>
                  <a:lnTo>
                    <a:pt x="117" y="227"/>
                  </a:lnTo>
                  <a:lnTo>
                    <a:pt x="134" y="227"/>
                  </a:lnTo>
                  <a:lnTo>
                    <a:pt x="134" y="235"/>
                  </a:lnTo>
                  <a:lnTo>
                    <a:pt x="134" y="227"/>
                  </a:lnTo>
                  <a:lnTo>
                    <a:pt x="143" y="219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34" y="202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85"/>
                  </a:lnTo>
                  <a:lnTo>
                    <a:pt x="151" y="185"/>
                  </a:lnTo>
                  <a:lnTo>
                    <a:pt x="176" y="177"/>
                  </a:lnTo>
                  <a:lnTo>
                    <a:pt x="193" y="177"/>
                  </a:lnTo>
                  <a:lnTo>
                    <a:pt x="201" y="185"/>
                  </a:lnTo>
                  <a:lnTo>
                    <a:pt x="210" y="185"/>
                  </a:lnTo>
                  <a:lnTo>
                    <a:pt x="210" y="1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5" name="Freeform 195">
              <a:extLst>
                <a:ext uri="{FF2B5EF4-FFF2-40B4-BE49-F238E27FC236}">
                  <a16:creationId xmlns:a16="http://schemas.microsoft.com/office/drawing/2014/main" id="{BB745472-E571-4207-9ECF-C73087EAC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7664" y="5440609"/>
              <a:ext cx="176801" cy="186168"/>
            </a:xfrm>
            <a:custGeom>
              <a:avLst/>
              <a:gdLst>
                <a:gd name="T0" fmla="*/ 0 w 151"/>
                <a:gd name="T1" fmla="*/ 50 h 159"/>
                <a:gd name="T2" fmla="*/ 9 w 151"/>
                <a:gd name="T3" fmla="*/ 33 h 159"/>
                <a:gd name="T4" fmla="*/ 0 w 151"/>
                <a:gd name="T5" fmla="*/ 25 h 159"/>
                <a:gd name="T6" fmla="*/ 9 w 151"/>
                <a:gd name="T7" fmla="*/ 16 h 159"/>
                <a:gd name="T8" fmla="*/ 17 w 151"/>
                <a:gd name="T9" fmla="*/ 8 h 159"/>
                <a:gd name="T10" fmla="*/ 59 w 151"/>
                <a:gd name="T11" fmla="*/ 0 h 159"/>
                <a:gd name="T12" fmla="*/ 76 w 151"/>
                <a:gd name="T13" fmla="*/ 8 h 159"/>
                <a:gd name="T14" fmla="*/ 76 w 151"/>
                <a:gd name="T15" fmla="*/ 16 h 159"/>
                <a:gd name="T16" fmla="*/ 84 w 151"/>
                <a:gd name="T17" fmla="*/ 25 h 159"/>
                <a:gd name="T18" fmla="*/ 84 w 151"/>
                <a:gd name="T19" fmla="*/ 42 h 159"/>
                <a:gd name="T20" fmla="*/ 84 w 151"/>
                <a:gd name="T21" fmla="*/ 50 h 159"/>
                <a:gd name="T22" fmla="*/ 93 w 151"/>
                <a:gd name="T23" fmla="*/ 58 h 159"/>
                <a:gd name="T24" fmla="*/ 101 w 151"/>
                <a:gd name="T25" fmla="*/ 58 h 159"/>
                <a:gd name="T26" fmla="*/ 118 w 151"/>
                <a:gd name="T27" fmla="*/ 50 h 159"/>
                <a:gd name="T28" fmla="*/ 126 w 151"/>
                <a:gd name="T29" fmla="*/ 58 h 159"/>
                <a:gd name="T30" fmla="*/ 126 w 151"/>
                <a:gd name="T31" fmla="*/ 84 h 159"/>
                <a:gd name="T32" fmla="*/ 135 w 151"/>
                <a:gd name="T33" fmla="*/ 92 h 159"/>
                <a:gd name="T34" fmla="*/ 143 w 151"/>
                <a:gd name="T35" fmla="*/ 84 h 159"/>
                <a:gd name="T36" fmla="*/ 151 w 151"/>
                <a:gd name="T37" fmla="*/ 92 h 159"/>
                <a:gd name="T38" fmla="*/ 151 w 151"/>
                <a:gd name="T39" fmla="*/ 109 h 159"/>
                <a:gd name="T40" fmla="*/ 143 w 151"/>
                <a:gd name="T41" fmla="*/ 109 h 159"/>
                <a:gd name="T42" fmla="*/ 143 w 151"/>
                <a:gd name="T43" fmla="*/ 117 h 159"/>
                <a:gd name="T44" fmla="*/ 143 w 151"/>
                <a:gd name="T45" fmla="*/ 117 h 159"/>
                <a:gd name="T46" fmla="*/ 143 w 151"/>
                <a:gd name="T47" fmla="*/ 126 h 159"/>
                <a:gd name="T48" fmla="*/ 143 w 151"/>
                <a:gd name="T49" fmla="*/ 134 h 159"/>
                <a:gd name="T50" fmla="*/ 135 w 151"/>
                <a:gd name="T51" fmla="*/ 143 h 159"/>
                <a:gd name="T52" fmla="*/ 126 w 151"/>
                <a:gd name="T53" fmla="*/ 151 h 159"/>
                <a:gd name="T54" fmla="*/ 126 w 151"/>
                <a:gd name="T55" fmla="*/ 151 h 159"/>
                <a:gd name="T56" fmla="*/ 118 w 151"/>
                <a:gd name="T57" fmla="*/ 159 h 159"/>
                <a:gd name="T58" fmla="*/ 109 w 151"/>
                <a:gd name="T59" fmla="*/ 159 h 159"/>
                <a:gd name="T60" fmla="*/ 101 w 151"/>
                <a:gd name="T61" fmla="*/ 159 h 159"/>
                <a:gd name="T62" fmla="*/ 76 w 151"/>
                <a:gd name="T63" fmla="*/ 151 h 159"/>
                <a:gd name="T64" fmla="*/ 76 w 151"/>
                <a:gd name="T65" fmla="*/ 151 h 159"/>
                <a:gd name="T66" fmla="*/ 84 w 151"/>
                <a:gd name="T67" fmla="*/ 134 h 159"/>
                <a:gd name="T68" fmla="*/ 84 w 151"/>
                <a:gd name="T69" fmla="*/ 134 h 159"/>
                <a:gd name="T70" fmla="*/ 93 w 151"/>
                <a:gd name="T71" fmla="*/ 126 h 159"/>
                <a:gd name="T72" fmla="*/ 93 w 151"/>
                <a:gd name="T73" fmla="*/ 117 h 159"/>
                <a:gd name="T74" fmla="*/ 84 w 151"/>
                <a:gd name="T75" fmla="*/ 109 h 159"/>
                <a:gd name="T76" fmla="*/ 59 w 151"/>
                <a:gd name="T77" fmla="*/ 100 h 159"/>
                <a:gd name="T78" fmla="*/ 51 w 151"/>
                <a:gd name="T79" fmla="*/ 92 h 159"/>
                <a:gd name="T80" fmla="*/ 34 w 151"/>
                <a:gd name="T81" fmla="*/ 92 h 159"/>
                <a:gd name="T82" fmla="*/ 25 w 151"/>
                <a:gd name="T83" fmla="*/ 84 h 159"/>
                <a:gd name="T84" fmla="*/ 9 w 151"/>
                <a:gd name="T85" fmla="*/ 67 h 159"/>
                <a:gd name="T86" fmla="*/ 0 w 151"/>
                <a:gd name="T87" fmla="*/ 58 h 159"/>
                <a:gd name="T88" fmla="*/ 0 w 151"/>
                <a:gd name="T89" fmla="*/ 5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1" h="159">
                  <a:moveTo>
                    <a:pt x="0" y="58"/>
                  </a:moveTo>
                  <a:lnTo>
                    <a:pt x="0" y="50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0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8"/>
                  </a:lnTo>
                  <a:lnTo>
                    <a:pt x="17" y="8"/>
                  </a:lnTo>
                  <a:lnTo>
                    <a:pt x="42" y="0"/>
                  </a:lnTo>
                  <a:lnTo>
                    <a:pt x="59" y="0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33"/>
                  </a:lnTo>
                  <a:lnTo>
                    <a:pt x="84" y="42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101" y="58"/>
                  </a:lnTo>
                  <a:lnTo>
                    <a:pt x="109" y="58"/>
                  </a:lnTo>
                  <a:lnTo>
                    <a:pt x="118" y="50"/>
                  </a:lnTo>
                  <a:lnTo>
                    <a:pt x="118" y="58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6" y="84"/>
                  </a:lnTo>
                  <a:lnTo>
                    <a:pt x="135" y="84"/>
                  </a:lnTo>
                  <a:lnTo>
                    <a:pt x="135" y="92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3" y="109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35" y="143"/>
                  </a:lnTo>
                  <a:lnTo>
                    <a:pt x="135" y="151"/>
                  </a:lnTo>
                  <a:lnTo>
                    <a:pt x="126" y="151"/>
                  </a:lnTo>
                  <a:lnTo>
                    <a:pt x="126" y="159"/>
                  </a:lnTo>
                  <a:lnTo>
                    <a:pt x="126" y="151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09" y="159"/>
                  </a:lnTo>
                  <a:lnTo>
                    <a:pt x="109" y="159"/>
                  </a:lnTo>
                  <a:lnTo>
                    <a:pt x="101" y="159"/>
                  </a:lnTo>
                  <a:lnTo>
                    <a:pt x="93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4" y="143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67" y="109"/>
                  </a:lnTo>
                  <a:lnTo>
                    <a:pt x="59" y="100"/>
                  </a:lnTo>
                  <a:lnTo>
                    <a:pt x="59" y="92"/>
                  </a:lnTo>
                  <a:lnTo>
                    <a:pt x="51" y="92"/>
                  </a:lnTo>
                  <a:lnTo>
                    <a:pt x="42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9" y="67"/>
                  </a:lnTo>
                  <a:lnTo>
                    <a:pt x="9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6" name="Freeform 196">
              <a:extLst>
                <a:ext uri="{FF2B5EF4-FFF2-40B4-BE49-F238E27FC236}">
                  <a16:creationId xmlns:a16="http://schemas.microsoft.com/office/drawing/2014/main" id="{D6782530-6A0A-4445-A52D-6405F4648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6555" y="5686492"/>
              <a:ext cx="107720" cy="118258"/>
            </a:xfrm>
            <a:custGeom>
              <a:avLst/>
              <a:gdLst>
                <a:gd name="T0" fmla="*/ 8 w 92"/>
                <a:gd name="T1" fmla="*/ 0 h 101"/>
                <a:gd name="T2" fmla="*/ 25 w 92"/>
                <a:gd name="T3" fmla="*/ 0 h 101"/>
                <a:gd name="T4" fmla="*/ 33 w 92"/>
                <a:gd name="T5" fmla="*/ 8 h 101"/>
                <a:gd name="T6" fmla="*/ 33 w 92"/>
                <a:gd name="T7" fmla="*/ 8 h 101"/>
                <a:gd name="T8" fmla="*/ 42 w 92"/>
                <a:gd name="T9" fmla="*/ 17 h 101"/>
                <a:gd name="T10" fmla="*/ 50 w 92"/>
                <a:gd name="T11" fmla="*/ 17 h 101"/>
                <a:gd name="T12" fmla="*/ 58 w 92"/>
                <a:gd name="T13" fmla="*/ 25 h 101"/>
                <a:gd name="T14" fmla="*/ 67 w 92"/>
                <a:gd name="T15" fmla="*/ 25 h 101"/>
                <a:gd name="T16" fmla="*/ 67 w 92"/>
                <a:gd name="T17" fmla="*/ 33 h 101"/>
                <a:gd name="T18" fmla="*/ 75 w 92"/>
                <a:gd name="T19" fmla="*/ 42 h 101"/>
                <a:gd name="T20" fmla="*/ 84 w 92"/>
                <a:gd name="T21" fmla="*/ 50 h 101"/>
                <a:gd name="T22" fmla="*/ 84 w 92"/>
                <a:gd name="T23" fmla="*/ 59 h 101"/>
                <a:gd name="T24" fmla="*/ 84 w 92"/>
                <a:gd name="T25" fmla="*/ 67 h 101"/>
                <a:gd name="T26" fmla="*/ 84 w 92"/>
                <a:gd name="T27" fmla="*/ 67 h 101"/>
                <a:gd name="T28" fmla="*/ 84 w 92"/>
                <a:gd name="T29" fmla="*/ 76 h 101"/>
                <a:gd name="T30" fmla="*/ 84 w 92"/>
                <a:gd name="T31" fmla="*/ 84 h 101"/>
                <a:gd name="T32" fmla="*/ 75 w 92"/>
                <a:gd name="T33" fmla="*/ 84 h 101"/>
                <a:gd name="T34" fmla="*/ 75 w 92"/>
                <a:gd name="T35" fmla="*/ 92 h 101"/>
                <a:gd name="T36" fmla="*/ 67 w 92"/>
                <a:gd name="T37" fmla="*/ 92 h 101"/>
                <a:gd name="T38" fmla="*/ 67 w 92"/>
                <a:gd name="T39" fmla="*/ 92 h 101"/>
                <a:gd name="T40" fmla="*/ 67 w 92"/>
                <a:gd name="T41" fmla="*/ 101 h 101"/>
                <a:gd name="T42" fmla="*/ 58 w 92"/>
                <a:gd name="T43" fmla="*/ 101 h 101"/>
                <a:gd name="T44" fmla="*/ 50 w 92"/>
                <a:gd name="T45" fmla="*/ 92 h 101"/>
                <a:gd name="T46" fmla="*/ 42 w 92"/>
                <a:gd name="T47" fmla="*/ 92 h 101"/>
                <a:gd name="T48" fmla="*/ 42 w 92"/>
                <a:gd name="T49" fmla="*/ 101 h 101"/>
                <a:gd name="T50" fmla="*/ 42 w 92"/>
                <a:gd name="T51" fmla="*/ 92 h 101"/>
                <a:gd name="T52" fmla="*/ 33 w 92"/>
                <a:gd name="T53" fmla="*/ 92 h 101"/>
                <a:gd name="T54" fmla="*/ 25 w 92"/>
                <a:gd name="T55" fmla="*/ 92 h 101"/>
                <a:gd name="T56" fmla="*/ 16 w 92"/>
                <a:gd name="T57" fmla="*/ 92 h 101"/>
                <a:gd name="T58" fmla="*/ 8 w 92"/>
                <a:gd name="T59" fmla="*/ 84 h 101"/>
                <a:gd name="T60" fmla="*/ 0 w 92"/>
                <a:gd name="T61" fmla="*/ 76 h 101"/>
                <a:gd name="T62" fmla="*/ 0 w 92"/>
                <a:gd name="T63" fmla="*/ 67 h 101"/>
                <a:gd name="T64" fmla="*/ 0 w 92"/>
                <a:gd name="T65" fmla="*/ 59 h 101"/>
                <a:gd name="T66" fmla="*/ 0 w 92"/>
                <a:gd name="T67" fmla="*/ 59 h 101"/>
                <a:gd name="T68" fmla="*/ 0 w 92"/>
                <a:gd name="T69" fmla="*/ 42 h 101"/>
                <a:gd name="T70" fmla="*/ 0 w 92"/>
                <a:gd name="T71" fmla="*/ 33 h 101"/>
                <a:gd name="T72" fmla="*/ 0 w 92"/>
                <a:gd name="T73" fmla="*/ 33 h 101"/>
                <a:gd name="T74" fmla="*/ 0 w 92"/>
                <a:gd name="T75" fmla="*/ 17 h 101"/>
                <a:gd name="T76" fmla="*/ 8 w 92"/>
                <a:gd name="T77" fmla="*/ 17 h 101"/>
                <a:gd name="T78" fmla="*/ 8 w 92"/>
                <a:gd name="T79" fmla="*/ 0 h 101"/>
                <a:gd name="T80" fmla="*/ 8 w 92"/>
                <a:gd name="T8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2" h="101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67" y="25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5" y="33"/>
                  </a:lnTo>
                  <a:lnTo>
                    <a:pt x="75" y="42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92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2" y="92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7" name="Freeform 197">
              <a:extLst>
                <a:ext uri="{FF2B5EF4-FFF2-40B4-BE49-F238E27FC236}">
                  <a16:creationId xmlns:a16="http://schemas.microsoft.com/office/drawing/2014/main" id="{9DEF569D-A31B-49BC-86C9-0A7597A2C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673" y="5499153"/>
              <a:ext cx="324330" cy="857075"/>
            </a:xfrm>
            <a:custGeom>
              <a:avLst/>
              <a:gdLst>
                <a:gd name="T0" fmla="*/ 67 w 277"/>
                <a:gd name="T1" fmla="*/ 8 h 732"/>
                <a:gd name="T2" fmla="*/ 92 w 277"/>
                <a:gd name="T3" fmla="*/ 17 h 732"/>
                <a:gd name="T4" fmla="*/ 126 w 277"/>
                <a:gd name="T5" fmla="*/ 8 h 732"/>
                <a:gd name="T6" fmla="*/ 176 w 277"/>
                <a:gd name="T7" fmla="*/ 42 h 732"/>
                <a:gd name="T8" fmla="*/ 210 w 277"/>
                <a:gd name="T9" fmla="*/ 76 h 732"/>
                <a:gd name="T10" fmla="*/ 210 w 277"/>
                <a:gd name="T11" fmla="*/ 101 h 732"/>
                <a:gd name="T12" fmla="*/ 243 w 277"/>
                <a:gd name="T13" fmla="*/ 109 h 732"/>
                <a:gd name="T14" fmla="*/ 260 w 277"/>
                <a:gd name="T15" fmla="*/ 76 h 732"/>
                <a:gd name="T16" fmla="*/ 277 w 277"/>
                <a:gd name="T17" fmla="*/ 93 h 732"/>
                <a:gd name="T18" fmla="*/ 260 w 277"/>
                <a:gd name="T19" fmla="*/ 109 h 732"/>
                <a:gd name="T20" fmla="*/ 235 w 277"/>
                <a:gd name="T21" fmla="*/ 135 h 732"/>
                <a:gd name="T22" fmla="*/ 218 w 277"/>
                <a:gd name="T23" fmla="*/ 160 h 732"/>
                <a:gd name="T24" fmla="*/ 210 w 277"/>
                <a:gd name="T25" fmla="*/ 193 h 732"/>
                <a:gd name="T26" fmla="*/ 210 w 277"/>
                <a:gd name="T27" fmla="*/ 219 h 732"/>
                <a:gd name="T28" fmla="*/ 210 w 277"/>
                <a:gd name="T29" fmla="*/ 244 h 732"/>
                <a:gd name="T30" fmla="*/ 235 w 277"/>
                <a:gd name="T31" fmla="*/ 278 h 732"/>
                <a:gd name="T32" fmla="*/ 243 w 277"/>
                <a:gd name="T33" fmla="*/ 294 h 732"/>
                <a:gd name="T34" fmla="*/ 235 w 277"/>
                <a:gd name="T35" fmla="*/ 320 h 732"/>
                <a:gd name="T36" fmla="*/ 184 w 277"/>
                <a:gd name="T37" fmla="*/ 345 h 732"/>
                <a:gd name="T38" fmla="*/ 159 w 277"/>
                <a:gd name="T39" fmla="*/ 336 h 732"/>
                <a:gd name="T40" fmla="*/ 168 w 277"/>
                <a:gd name="T41" fmla="*/ 362 h 732"/>
                <a:gd name="T42" fmla="*/ 168 w 277"/>
                <a:gd name="T43" fmla="*/ 379 h 732"/>
                <a:gd name="T44" fmla="*/ 142 w 277"/>
                <a:gd name="T45" fmla="*/ 395 h 732"/>
                <a:gd name="T46" fmla="*/ 117 w 277"/>
                <a:gd name="T47" fmla="*/ 387 h 732"/>
                <a:gd name="T48" fmla="*/ 134 w 277"/>
                <a:gd name="T49" fmla="*/ 421 h 732"/>
                <a:gd name="T50" fmla="*/ 134 w 277"/>
                <a:gd name="T51" fmla="*/ 412 h 732"/>
                <a:gd name="T52" fmla="*/ 151 w 277"/>
                <a:gd name="T53" fmla="*/ 429 h 732"/>
                <a:gd name="T54" fmla="*/ 126 w 277"/>
                <a:gd name="T55" fmla="*/ 429 h 732"/>
                <a:gd name="T56" fmla="*/ 126 w 277"/>
                <a:gd name="T57" fmla="*/ 446 h 732"/>
                <a:gd name="T58" fmla="*/ 126 w 277"/>
                <a:gd name="T59" fmla="*/ 463 h 732"/>
                <a:gd name="T60" fmla="*/ 126 w 277"/>
                <a:gd name="T61" fmla="*/ 479 h 732"/>
                <a:gd name="T62" fmla="*/ 100 w 277"/>
                <a:gd name="T63" fmla="*/ 496 h 732"/>
                <a:gd name="T64" fmla="*/ 100 w 277"/>
                <a:gd name="T65" fmla="*/ 522 h 732"/>
                <a:gd name="T66" fmla="*/ 126 w 277"/>
                <a:gd name="T67" fmla="*/ 530 h 732"/>
                <a:gd name="T68" fmla="*/ 134 w 277"/>
                <a:gd name="T69" fmla="*/ 555 h 732"/>
                <a:gd name="T70" fmla="*/ 117 w 277"/>
                <a:gd name="T71" fmla="*/ 572 h 732"/>
                <a:gd name="T72" fmla="*/ 109 w 277"/>
                <a:gd name="T73" fmla="*/ 589 h 732"/>
                <a:gd name="T74" fmla="*/ 100 w 277"/>
                <a:gd name="T75" fmla="*/ 606 h 732"/>
                <a:gd name="T76" fmla="*/ 92 w 277"/>
                <a:gd name="T77" fmla="*/ 622 h 732"/>
                <a:gd name="T78" fmla="*/ 100 w 277"/>
                <a:gd name="T79" fmla="*/ 648 h 732"/>
                <a:gd name="T80" fmla="*/ 100 w 277"/>
                <a:gd name="T81" fmla="*/ 656 h 732"/>
                <a:gd name="T82" fmla="*/ 42 w 277"/>
                <a:gd name="T83" fmla="*/ 639 h 732"/>
                <a:gd name="T84" fmla="*/ 16 w 277"/>
                <a:gd name="T85" fmla="*/ 614 h 732"/>
                <a:gd name="T86" fmla="*/ 25 w 277"/>
                <a:gd name="T87" fmla="*/ 547 h 732"/>
                <a:gd name="T88" fmla="*/ 25 w 277"/>
                <a:gd name="T89" fmla="*/ 505 h 732"/>
                <a:gd name="T90" fmla="*/ 16 w 277"/>
                <a:gd name="T91" fmla="*/ 479 h 732"/>
                <a:gd name="T92" fmla="*/ 16 w 277"/>
                <a:gd name="T93" fmla="*/ 454 h 732"/>
                <a:gd name="T94" fmla="*/ 8 w 277"/>
                <a:gd name="T95" fmla="*/ 412 h 732"/>
                <a:gd name="T96" fmla="*/ 8 w 277"/>
                <a:gd name="T97" fmla="*/ 353 h 732"/>
                <a:gd name="T98" fmla="*/ 16 w 277"/>
                <a:gd name="T99" fmla="*/ 286 h 732"/>
                <a:gd name="T100" fmla="*/ 16 w 277"/>
                <a:gd name="T101" fmla="*/ 244 h 732"/>
                <a:gd name="T102" fmla="*/ 0 w 277"/>
                <a:gd name="T103" fmla="*/ 193 h 732"/>
                <a:gd name="T104" fmla="*/ 8 w 277"/>
                <a:gd name="T105" fmla="*/ 143 h 732"/>
                <a:gd name="T106" fmla="*/ 25 w 277"/>
                <a:gd name="T107" fmla="*/ 93 h 732"/>
                <a:gd name="T108" fmla="*/ 25 w 277"/>
                <a:gd name="T109" fmla="*/ 67 h 732"/>
                <a:gd name="T110" fmla="*/ 184 w 277"/>
                <a:gd name="T111" fmla="*/ 723 h 732"/>
                <a:gd name="T112" fmla="*/ 184 w 277"/>
                <a:gd name="T113" fmla="*/ 723 h 732"/>
                <a:gd name="T114" fmla="*/ 117 w 277"/>
                <a:gd name="T115" fmla="*/ 681 h 732"/>
                <a:gd name="T116" fmla="*/ 126 w 277"/>
                <a:gd name="T117" fmla="*/ 698 h 732"/>
                <a:gd name="T118" fmla="*/ 159 w 277"/>
                <a:gd name="T119" fmla="*/ 715 h 732"/>
                <a:gd name="T120" fmla="*/ 168 w 277"/>
                <a:gd name="T121" fmla="*/ 723 h 732"/>
                <a:gd name="T122" fmla="*/ 126 w 277"/>
                <a:gd name="T123" fmla="*/ 732 h 732"/>
                <a:gd name="T124" fmla="*/ 126 w 277"/>
                <a:gd name="T125" fmla="*/ 723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732">
                  <a:moveTo>
                    <a:pt x="42" y="17"/>
                  </a:moveTo>
                  <a:lnTo>
                    <a:pt x="42" y="17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58" y="0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5" y="8"/>
                  </a:lnTo>
                  <a:lnTo>
                    <a:pt x="84" y="0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17" y="0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26" y="17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51" y="34"/>
                  </a:lnTo>
                  <a:lnTo>
                    <a:pt x="151" y="42"/>
                  </a:lnTo>
                  <a:lnTo>
                    <a:pt x="159" y="42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76" y="50"/>
                  </a:lnTo>
                  <a:lnTo>
                    <a:pt x="184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10" y="67"/>
                  </a:lnTo>
                  <a:lnTo>
                    <a:pt x="210" y="67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93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210" y="101"/>
                  </a:lnTo>
                  <a:lnTo>
                    <a:pt x="218" y="109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43" y="101"/>
                  </a:lnTo>
                  <a:lnTo>
                    <a:pt x="243" y="109"/>
                  </a:lnTo>
                  <a:lnTo>
                    <a:pt x="243" y="101"/>
                  </a:lnTo>
                  <a:lnTo>
                    <a:pt x="252" y="101"/>
                  </a:lnTo>
                  <a:lnTo>
                    <a:pt x="252" y="93"/>
                  </a:lnTo>
                  <a:lnTo>
                    <a:pt x="260" y="84"/>
                  </a:lnTo>
                  <a:lnTo>
                    <a:pt x="260" y="84"/>
                  </a:lnTo>
                  <a:lnTo>
                    <a:pt x="260" y="84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67"/>
                  </a:lnTo>
                  <a:lnTo>
                    <a:pt x="268" y="67"/>
                  </a:lnTo>
                  <a:lnTo>
                    <a:pt x="277" y="67"/>
                  </a:lnTo>
                  <a:lnTo>
                    <a:pt x="277" y="67"/>
                  </a:lnTo>
                  <a:lnTo>
                    <a:pt x="277" y="76"/>
                  </a:lnTo>
                  <a:lnTo>
                    <a:pt x="277" y="84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0" y="109"/>
                  </a:lnTo>
                  <a:lnTo>
                    <a:pt x="260" y="109"/>
                  </a:lnTo>
                  <a:lnTo>
                    <a:pt x="252" y="109"/>
                  </a:lnTo>
                  <a:lnTo>
                    <a:pt x="252" y="118"/>
                  </a:lnTo>
                  <a:lnTo>
                    <a:pt x="243" y="118"/>
                  </a:lnTo>
                  <a:lnTo>
                    <a:pt x="243" y="126"/>
                  </a:lnTo>
                  <a:lnTo>
                    <a:pt x="243" y="126"/>
                  </a:lnTo>
                  <a:lnTo>
                    <a:pt x="243" y="126"/>
                  </a:lnTo>
                  <a:lnTo>
                    <a:pt x="235" y="126"/>
                  </a:lnTo>
                  <a:lnTo>
                    <a:pt x="235" y="135"/>
                  </a:lnTo>
                  <a:lnTo>
                    <a:pt x="235" y="135"/>
                  </a:lnTo>
                  <a:lnTo>
                    <a:pt x="235" y="135"/>
                  </a:lnTo>
                  <a:lnTo>
                    <a:pt x="235" y="143"/>
                  </a:lnTo>
                  <a:lnTo>
                    <a:pt x="226" y="143"/>
                  </a:lnTo>
                  <a:lnTo>
                    <a:pt x="226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0" y="168"/>
                  </a:lnTo>
                  <a:lnTo>
                    <a:pt x="218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85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10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36"/>
                  </a:lnTo>
                  <a:lnTo>
                    <a:pt x="210" y="236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52"/>
                  </a:lnTo>
                  <a:lnTo>
                    <a:pt x="218" y="252"/>
                  </a:lnTo>
                  <a:lnTo>
                    <a:pt x="226" y="261"/>
                  </a:lnTo>
                  <a:lnTo>
                    <a:pt x="235" y="261"/>
                  </a:lnTo>
                  <a:lnTo>
                    <a:pt x="235" y="269"/>
                  </a:lnTo>
                  <a:lnTo>
                    <a:pt x="235" y="269"/>
                  </a:lnTo>
                  <a:lnTo>
                    <a:pt x="235" y="278"/>
                  </a:lnTo>
                  <a:lnTo>
                    <a:pt x="235" y="286"/>
                  </a:lnTo>
                  <a:lnTo>
                    <a:pt x="235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94"/>
                  </a:lnTo>
                  <a:lnTo>
                    <a:pt x="243" y="294"/>
                  </a:lnTo>
                  <a:lnTo>
                    <a:pt x="243" y="303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35" y="311"/>
                  </a:lnTo>
                  <a:lnTo>
                    <a:pt x="235" y="320"/>
                  </a:lnTo>
                  <a:lnTo>
                    <a:pt x="235" y="320"/>
                  </a:lnTo>
                  <a:lnTo>
                    <a:pt x="235" y="328"/>
                  </a:lnTo>
                  <a:lnTo>
                    <a:pt x="226" y="336"/>
                  </a:lnTo>
                  <a:lnTo>
                    <a:pt x="218" y="336"/>
                  </a:lnTo>
                  <a:lnTo>
                    <a:pt x="218" y="336"/>
                  </a:lnTo>
                  <a:lnTo>
                    <a:pt x="218" y="336"/>
                  </a:lnTo>
                  <a:lnTo>
                    <a:pt x="210" y="336"/>
                  </a:lnTo>
                  <a:lnTo>
                    <a:pt x="193" y="345"/>
                  </a:lnTo>
                  <a:lnTo>
                    <a:pt x="184" y="345"/>
                  </a:lnTo>
                  <a:lnTo>
                    <a:pt x="184" y="345"/>
                  </a:lnTo>
                  <a:lnTo>
                    <a:pt x="176" y="345"/>
                  </a:lnTo>
                  <a:lnTo>
                    <a:pt x="176" y="345"/>
                  </a:lnTo>
                  <a:lnTo>
                    <a:pt x="168" y="345"/>
                  </a:lnTo>
                  <a:lnTo>
                    <a:pt x="168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45"/>
                  </a:lnTo>
                  <a:lnTo>
                    <a:pt x="159" y="345"/>
                  </a:lnTo>
                  <a:lnTo>
                    <a:pt x="159" y="353"/>
                  </a:lnTo>
                  <a:lnTo>
                    <a:pt x="159" y="353"/>
                  </a:lnTo>
                  <a:lnTo>
                    <a:pt x="159" y="353"/>
                  </a:lnTo>
                  <a:lnTo>
                    <a:pt x="168" y="353"/>
                  </a:lnTo>
                  <a:lnTo>
                    <a:pt x="168" y="353"/>
                  </a:lnTo>
                  <a:lnTo>
                    <a:pt x="168" y="362"/>
                  </a:lnTo>
                  <a:lnTo>
                    <a:pt x="159" y="362"/>
                  </a:lnTo>
                  <a:lnTo>
                    <a:pt x="159" y="362"/>
                  </a:lnTo>
                  <a:lnTo>
                    <a:pt x="159" y="362"/>
                  </a:lnTo>
                  <a:lnTo>
                    <a:pt x="159" y="370"/>
                  </a:lnTo>
                  <a:lnTo>
                    <a:pt x="159" y="370"/>
                  </a:lnTo>
                  <a:lnTo>
                    <a:pt x="159" y="370"/>
                  </a:lnTo>
                  <a:lnTo>
                    <a:pt x="159" y="379"/>
                  </a:lnTo>
                  <a:lnTo>
                    <a:pt x="168" y="379"/>
                  </a:lnTo>
                  <a:lnTo>
                    <a:pt x="159" y="379"/>
                  </a:lnTo>
                  <a:lnTo>
                    <a:pt x="159" y="379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1" y="395"/>
                  </a:lnTo>
                  <a:lnTo>
                    <a:pt x="142" y="395"/>
                  </a:lnTo>
                  <a:lnTo>
                    <a:pt x="134" y="395"/>
                  </a:lnTo>
                  <a:lnTo>
                    <a:pt x="134" y="387"/>
                  </a:lnTo>
                  <a:lnTo>
                    <a:pt x="126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95"/>
                  </a:lnTo>
                  <a:lnTo>
                    <a:pt x="117" y="395"/>
                  </a:lnTo>
                  <a:lnTo>
                    <a:pt x="117" y="404"/>
                  </a:lnTo>
                  <a:lnTo>
                    <a:pt x="117" y="412"/>
                  </a:lnTo>
                  <a:lnTo>
                    <a:pt x="117" y="412"/>
                  </a:lnTo>
                  <a:lnTo>
                    <a:pt x="126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26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12"/>
                  </a:lnTo>
                  <a:lnTo>
                    <a:pt x="134" y="412"/>
                  </a:lnTo>
                  <a:lnTo>
                    <a:pt x="142" y="412"/>
                  </a:lnTo>
                  <a:lnTo>
                    <a:pt x="142" y="412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51" y="429"/>
                  </a:lnTo>
                  <a:lnTo>
                    <a:pt x="151" y="429"/>
                  </a:lnTo>
                  <a:lnTo>
                    <a:pt x="142" y="437"/>
                  </a:lnTo>
                  <a:lnTo>
                    <a:pt x="134" y="437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26" y="429"/>
                  </a:lnTo>
                  <a:lnTo>
                    <a:pt x="126" y="429"/>
                  </a:lnTo>
                  <a:lnTo>
                    <a:pt x="126" y="429"/>
                  </a:lnTo>
                  <a:lnTo>
                    <a:pt x="126" y="437"/>
                  </a:lnTo>
                  <a:lnTo>
                    <a:pt x="126" y="437"/>
                  </a:lnTo>
                  <a:lnTo>
                    <a:pt x="134" y="437"/>
                  </a:lnTo>
                  <a:lnTo>
                    <a:pt x="134" y="437"/>
                  </a:lnTo>
                  <a:lnTo>
                    <a:pt x="134" y="437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17" y="454"/>
                  </a:lnTo>
                  <a:lnTo>
                    <a:pt x="117" y="454"/>
                  </a:lnTo>
                  <a:lnTo>
                    <a:pt x="126" y="463"/>
                  </a:lnTo>
                  <a:lnTo>
                    <a:pt x="126" y="463"/>
                  </a:lnTo>
                  <a:lnTo>
                    <a:pt x="126" y="463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17" y="479"/>
                  </a:lnTo>
                  <a:lnTo>
                    <a:pt x="117" y="479"/>
                  </a:lnTo>
                  <a:lnTo>
                    <a:pt x="117" y="479"/>
                  </a:lnTo>
                  <a:lnTo>
                    <a:pt x="126" y="479"/>
                  </a:lnTo>
                  <a:lnTo>
                    <a:pt x="126" y="479"/>
                  </a:lnTo>
                  <a:lnTo>
                    <a:pt x="126" y="488"/>
                  </a:lnTo>
                  <a:lnTo>
                    <a:pt x="117" y="488"/>
                  </a:lnTo>
                  <a:lnTo>
                    <a:pt x="117" y="488"/>
                  </a:lnTo>
                  <a:lnTo>
                    <a:pt x="109" y="488"/>
                  </a:lnTo>
                  <a:lnTo>
                    <a:pt x="109" y="488"/>
                  </a:lnTo>
                  <a:lnTo>
                    <a:pt x="100" y="488"/>
                  </a:lnTo>
                  <a:lnTo>
                    <a:pt x="100" y="496"/>
                  </a:lnTo>
                  <a:lnTo>
                    <a:pt x="100" y="496"/>
                  </a:lnTo>
                  <a:lnTo>
                    <a:pt x="100" y="496"/>
                  </a:lnTo>
                  <a:lnTo>
                    <a:pt x="92" y="505"/>
                  </a:lnTo>
                  <a:lnTo>
                    <a:pt x="92" y="505"/>
                  </a:lnTo>
                  <a:lnTo>
                    <a:pt x="92" y="505"/>
                  </a:lnTo>
                  <a:lnTo>
                    <a:pt x="92" y="513"/>
                  </a:lnTo>
                  <a:lnTo>
                    <a:pt x="92" y="513"/>
                  </a:lnTo>
                  <a:lnTo>
                    <a:pt x="100" y="522"/>
                  </a:lnTo>
                  <a:lnTo>
                    <a:pt x="100" y="522"/>
                  </a:lnTo>
                  <a:lnTo>
                    <a:pt x="100" y="522"/>
                  </a:lnTo>
                  <a:lnTo>
                    <a:pt x="109" y="530"/>
                  </a:lnTo>
                  <a:lnTo>
                    <a:pt x="117" y="530"/>
                  </a:lnTo>
                  <a:lnTo>
                    <a:pt x="117" y="530"/>
                  </a:lnTo>
                  <a:lnTo>
                    <a:pt x="126" y="530"/>
                  </a:lnTo>
                  <a:lnTo>
                    <a:pt x="126" y="530"/>
                  </a:lnTo>
                  <a:lnTo>
                    <a:pt x="126" y="530"/>
                  </a:lnTo>
                  <a:lnTo>
                    <a:pt x="126" y="538"/>
                  </a:lnTo>
                  <a:lnTo>
                    <a:pt x="126" y="538"/>
                  </a:lnTo>
                  <a:lnTo>
                    <a:pt x="126" y="538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34" y="555"/>
                  </a:lnTo>
                  <a:lnTo>
                    <a:pt x="126" y="555"/>
                  </a:lnTo>
                  <a:lnTo>
                    <a:pt x="126" y="555"/>
                  </a:lnTo>
                  <a:lnTo>
                    <a:pt x="134" y="555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17" y="572"/>
                  </a:lnTo>
                  <a:lnTo>
                    <a:pt x="117" y="572"/>
                  </a:lnTo>
                  <a:lnTo>
                    <a:pt x="117" y="572"/>
                  </a:lnTo>
                  <a:lnTo>
                    <a:pt x="109" y="572"/>
                  </a:lnTo>
                  <a:lnTo>
                    <a:pt x="109" y="580"/>
                  </a:lnTo>
                  <a:lnTo>
                    <a:pt x="109" y="580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97"/>
                  </a:lnTo>
                  <a:lnTo>
                    <a:pt x="109" y="597"/>
                  </a:lnTo>
                  <a:lnTo>
                    <a:pt x="109" y="597"/>
                  </a:lnTo>
                  <a:lnTo>
                    <a:pt x="109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92" y="597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92" y="614"/>
                  </a:lnTo>
                  <a:lnTo>
                    <a:pt x="92" y="614"/>
                  </a:lnTo>
                  <a:lnTo>
                    <a:pt x="92" y="622"/>
                  </a:lnTo>
                  <a:lnTo>
                    <a:pt x="92" y="622"/>
                  </a:lnTo>
                  <a:lnTo>
                    <a:pt x="92" y="631"/>
                  </a:lnTo>
                  <a:lnTo>
                    <a:pt x="100" y="639"/>
                  </a:lnTo>
                  <a:lnTo>
                    <a:pt x="100" y="639"/>
                  </a:lnTo>
                  <a:lnTo>
                    <a:pt x="100" y="639"/>
                  </a:lnTo>
                  <a:lnTo>
                    <a:pt x="100" y="648"/>
                  </a:lnTo>
                  <a:lnTo>
                    <a:pt x="92" y="648"/>
                  </a:lnTo>
                  <a:lnTo>
                    <a:pt x="100" y="648"/>
                  </a:lnTo>
                  <a:lnTo>
                    <a:pt x="100" y="648"/>
                  </a:lnTo>
                  <a:lnTo>
                    <a:pt x="100" y="648"/>
                  </a:lnTo>
                  <a:lnTo>
                    <a:pt x="100" y="656"/>
                  </a:lnTo>
                  <a:lnTo>
                    <a:pt x="109" y="656"/>
                  </a:lnTo>
                  <a:lnTo>
                    <a:pt x="109" y="656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0" y="656"/>
                  </a:lnTo>
                  <a:lnTo>
                    <a:pt x="100" y="656"/>
                  </a:lnTo>
                  <a:lnTo>
                    <a:pt x="100" y="656"/>
                  </a:lnTo>
                  <a:lnTo>
                    <a:pt x="75" y="656"/>
                  </a:lnTo>
                  <a:lnTo>
                    <a:pt x="58" y="656"/>
                  </a:lnTo>
                  <a:lnTo>
                    <a:pt x="58" y="656"/>
                  </a:lnTo>
                  <a:lnTo>
                    <a:pt x="50" y="656"/>
                  </a:lnTo>
                  <a:lnTo>
                    <a:pt x="50" y="648"/>
                  </a:lnTo>
                  <a:lnTo>
                    <a:pt x="42" y="639"/>
                  </a:lnTo>
                  <a:lnTo>
                    <a:pt x="42" y="639"/>
                  </a:lnTo>
                  <a:lnTo>
                    <a:pt x="42" y="631"/>
                  </a:lnTo>
                  <a:lnTo>
                    <a:pt x="42" y="622"/>
                  </a:lnTo>
                  <a:lnTo>
                    <a:pt x="33" y="622"/>
                  </a:lnTo>
                  <a:lnTo>
                    <a:pt x="33" y="622"/>
                  </a:lnTo>
                  <a:lnTo>
                    <a:pt x="25" y="631"/>
                  </a:lnTo>
                  <a:lnTo>
                    <a:pt x="25" y="631"/>
                  </a:lnTo>
                  <a:lnTo>
                    <a:pt x="16" y="614"/>
                  </a:lnTo>
                  <a:lnTo>
                    <a:pt x="16" y="606"/>
                  </a:lnTo>
                  <a:lnTo>
                    <a:pt x="16" y="589"/>
                  </a:lnTo>
                  <a:lnTo>
                    <a:pt x="25" y="589"/>
                  </a:lnTo>
                  <a:lnTo>
                    <a:pt x="25" y="580"/>
                  </a:lnTo>
                  <a:lnTo>
                    <a:pt x="33" y="572"/>
                  </a:lnTo>
                  <a:lnTo>
                    <a:pt x="25" y="564"/>
                  </a:lnTo>
                  <a:lnTo>
                    <a:pt x="25" y="555"/>
                  </a:lnTo>
                  <a:lnTo>
                    <a:pt x="25" y="547"/>
                  </a:lnTo>
                  <a:lnTo>
                    <a:pt x="33" y="547"/>
                  </a:lnTo>
                  <a:lnTo>
                    <a:pt x="25" y="538"/>
                  </a:lnTo>
                  <a:lnTo>
                    <a:pt x="25" y="530"/>
                  </a:lnTo>
                  <a:lnTo>
                    <a:pt x="33" y="530"/>
                  </a:lnTo>
                  <a:lnTo>
                    <a:pt x="25" y="522"/>
                  </a:lnTo>
                  <a:lnTo>
                    <a:pt x="25" y="513"/>
                  </a:lnTo>
                  <a:lnTo>
                    <a:pt x="25" y="505"/>
                  </a:lnTo>
                  <a:lnTo>
                    <a:pt x="25" y="505"/>
                  </a:lnTo>
                  <a:lnTo>
                    <a:pt x="33" y="496"/>
                  </a:lnTo>
                  <a:lnTo>
                    <a:pt x="33" y="496"/>
                  </a:lnTo>
                  <a:lnTo>
                    <a:pt x="25" y="488"/>
                  </a:lnTo>
                  <a:lnTo>
                    <a:pt x="16" y="488"/>
                  </a:lnTo>
                  <a:lnTo>
                    <a:pt x="16" y="488"/>
                  </a:lnTo>
                  <a:lnTo>
                    <a:pt x="16" y="488"/>
                  </a:lnTo>
                  <a:lnTo>
                    <a:pt x="16" y="479"/>
                  </a:lnTo>
                  <a:lnTo>
                    <a:pt x="16" y="479"/>
                  </a:lnTo>
                  <a:lnTo>
                    <a:pt x="25" y="479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16" y="471"/>
                  </a:lnTo>
                  <a:lnTo>
                    <a:pt x="16" y="463"/>
                  </a:lnTo>
                  <a:lnTo>
                    <a:pt x="16" y="454"/>
                  </a:lnTo>
                  <a:lnTo>
                    <a:pt x="16" y="454"/>
                  </a:lnTo>
                  <a:lnTo>
                    <a:pt x="16" y="446"/>
                  </a:lnTo>
                  <a:lnTo>
                    <a:pt x="8" y="446"/>
                  </a:lnTo>
                  <a:lnTo>
                    <a:pt x="8" y="437"/>
                  </a:lnTo>
                  <a:lnTo>
                    <a:pt x="8" y="421"/>
                  </a:lnTo>
                  <a:lnTo>
                    <a:pt x="8" y="421"/>
                  </a:lnTo>
                  <a:lnTo>
                    <a:pt x="8" y="421"/>
                  </a:lnTo>
                  <a:lnTo>
                    <a:pt x="8" y="412"/>
                  </a:lnTo>
                  <a:lnTo>
                    <a:pt x="8" y="412"/>
                  </a:lnTo>
                  <a:lnTo>
                    <a:pt x="0" y="404"/>
                  </a:lnTo>
                  <a:lnTo>
                    <a:pt x="0" y="395"/>
                  </a:lnTo>
                  <a:lnTo>
                    <a:pt x="0" y="379"/>
                  </a:lnTo>
                  <a:lnTo>
                    <a:pt x="0" y="370"/>
                  </a:lnTo>
                  <a:lnTo>
                    <a:pt x="0" y="370"/>
                  </a:lnTo>
                  <a:lnTo>
                    <a:pt x="8" y="362"/>
                  </a:lnTo>
                  <a:lnTo>
                    <a:pt x="8" y="353"/>
                  </a:lnTo>
                  <a:lnTo>
                    <a:pt x="8" y="345"/>
                  </a:lnTo>
                  <a:lnTo>
                    <a:pt x="16" y="345"/>
                  </a:lnTo>
                  <a:lnTo>
                    <a:pt x="0" y="320"/>
                  </a:lnTo>
                  <a:lnTo>
                    <a:pt x="8" y="320"/>
                  </a:lnTo>
                  <a:lnTo>
                    <a:pt x="8" y="311"/>
                  </a:lnTo>
                  <a:lnTo>
                    <a:pt x="8" y="303"/>
                  </a:lnTo>
                  <a:lnTo>
                    <a:pt x="8" y="294"/>
                  </a:lnTo>
                  <a:lnTo>
                    <a:pt x="16" y="286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8" y="269"/>
                  </a:lnTo>
                  <a:lnTo>
                    <a:pt x="8" y="269"/>
                  </a:lnTo>
                  <a:lnTo>
                    <a:pt x="8" y="261"/>
                  </a:lnTo>
                  <a:lnTo>
                    <a:pt x="8" y="252"/>
                  </a:lnTo>
                  <a:lnTo>
                    <a:pt x="16" y="252"/>
                  </a:lnTo>
                  <a:lnTo>
                    <a:pt x="16" y="244"/>
                  </a:lnTo>
                  <a:lnTo>
                    <a:pt x="16" y="227"/>
                  </a:lnTo>
                  <a:lnTo>
                    <a:pt x="8" y="227"/>
                  </a:lnTo>
                  <a:lnTo>
                    <a:pt x="8" y="219"/>
                  </a:lnTo>
                  <a:lnTo>
                    <a:pt x="8" y="210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77"/>
                  </a:lnTo>
                  <a:lnTo>
                    <a:pt x="0" y="168"/>
                  </a:lnTo>
                  <a:lnTo>
                    <a:pt x="8" y="168"/>
                  </a:lnTo>
                  <a:lnTo>
                    <a:pt x="8" y="160"/>
                  </a:lnTo>
                  <a:lnTo>
                    <a:pt x="0" y="151"/>
                  </a:lnTo>
                  <a:lnTo>
                    <a:pt x="0" y="143"/>
                  </a:lnTo>
                  <a:lnTo>
                    <a:pt x="8" y="143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16" y="93"/>
                  </a:lnTo>
                  <a:lnTo>
                    <a:pt x="16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16" y="76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42" y="42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184" y="723"/>
                  </a:moveTo>
                  <a:lnTo>
                    <a:pt x="184" y="723"/>
                  </a:lnTo>
                  <a:lnTo>
                    <a:pt x="193" y="723"/>
                  </a:lnTo>
                  <a:lnTo>
                    <a:pt x="193" y="723"/>
                  </a:lnTo>
                  <a:lnTo>
                    <a:pt x="201" y="715"/>
                  </a:lnTo>
                  <a:lnTo>
                    <a:pt x="193" y="715"/>
                  </a:lnTo>
                  <a:lnTo>
                    <a:pt x="193" y="723"/>
                  </a:lnTo>
                  <a:lnTo>
                    <a:pt x="184" y="723"/>
                  </a:lnTo>
                  <a:lnTo>
                    <a:pt x="184" y="723"/>
                  </a:lnTo>
                  <a:lnTo>
                    <a:pt x="184" y="723"/>
                  </a:lnTo>
                  <a:close/>
                  <a:moveTo>
                    <a:pt x="109" y="664"/>
                  </a:moveTo>
                  <a:lnTo>
                    <a:pt x="109" y="664"/>
                  </a:lnTo>
                  <a:lnTo>
                    <a:pt x="109" y="673"/>
                  </a:lnTo>
                  <a:lnTo>
                    <a:pt x="117" y="673"/>
                  </a:lnTo>
                  <a:lnTo>
                    <a:pt x="117" y="681"/>
                  </a:lnTo>
                  <a:lnTo>
                    <a:pt x="117" y="681"/>
                  </a:lnTo>
                  <a:lnTo>
                    <a:pt x="117" y="681"/>
                  </a:lnTo>
                  <a:lnTo>
                    <a:pt x="109" y="690"/>
                  </a:lnTo>
                  <a:lnTo>
                    <a:pt x="109" y="664"/>
                  </a:lnTo>
                  <a:lnTo>
                    <a:pt x="109" y="664"/>
                  </a:lnTo>
                  <a:close/>
                  <a:moveTo>
                    <a:pt x="109" y="690"/>
                  </a:moveTo>
                  <a:lnTo>
                    <a:pt x="117" y="690"/>
                  </a:lnTo>
                  <a:lnTo>
                    <a:pt x="117" y="690"/>
                  </a:lnTo>
                  <a:lnTo>
                    <a:pt x="126" y="690"/>
                  </a:lnTo>
                  <a:lnTo>
                    <a:pt x="126" y="698"/>
                  </a:lnTo>
                  <a:lnTo>
                    <a:pt x="126" y="698"/>
                  </a:lnTo>
                  <a:lnTo>
                    <a:pt x="134" y="698"/>
                  </a:lnTo>
                  <a:lnTo>
                    <a:pt x="134" y="707"/>
                  </a:lnTo>
                  <a:lnTo>
                    <a:pt x="134" y="707"/>
                  </a:lnTo>
                  <a:lnTo>
                    <a:pt x="151" y="715"/>
                  </a:lnTo>
                  <a:lnTo>
                    <a:pt x="151" y="715"/>
                  </a:lnTo>
                  <a:lnTo>
                    <a:pt x="159" y="715"/>
                  </a:lnTo>
                  <a:lnTo>
                    <a:pt x="159" y="715"/>
                  </a:lnTo>
                  <a:lnTo>
                    <a:pt x="168" y="723"/>
                  </a:lnTo>
                  <a:lnTo>
                    <a:pt x="176" y="715"/>
                  </a:lnTo>
                  <a:lnTo>
                    <a:pt x="176" y="715"/>
                  </a:lnTo>
                  <a:lnTo>
                    <a:pt x="176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59" y="732"/>
                  </a:lnTo>
                  <a:lnTo>
                    <a:pt x="159" y="732"/>
                  </a:lnTo>
                  <a:lnTo>
                    <a:pt x="151" y="732"/>
                  </a:lnTo>
                  <a:lnTo>
                    <a:pt x="151" y="732"/>
                  </a:lnTo>
                  <a:lnTo>
                    <a:pt x="142" y="723"/>
                  </a:lnTo>
                  <a:lnTo>
                    <a:pt x="134" y="732"/>
                  </a:lnTo>
                  <a:lnTo>
                    <a:pt x="134" y="723"/>
                  </a:lnTo>
                  <a:lnTo>
                    <a:pt x="126" y="732"/>
                  </a:lnTo>
                  <a:lnTo>
                    <a:pt x="126" y="732"/>
                  </a:lnTo>
                  <a:lnTo>
                    <a:pt x="117" y="723"/>
                  </a:lnTo>
                  <a:lnTo>
                    <a:pt x="126" y="723"/>
                  </a:lnTo>
                  <a:lnTo>
                    <a:pt x="134" y="723"/>
                  </a:lnTo>
                  <a:lnTo>
                    <a:pt x="134" y="723"/>
                  </a:lnTo>
                  <a:lnTo>
                    <a:pt x="134" y="715"/>
                  </a:lnTo>
                  <a:lnTo>
                    <a:pt x="134" y="723"/>
                  </a:lnTo>
                  <a:lnTo>
                    <a:pt x="126" y="723"/>
                  </a:lnTo>
                  <a:lnTo>
                    <a:pt x="126" y="723"/>
                  </a:lnTo>
                  <a:lnTo>
                    <a:pt x="117" y="723"/>
                  </a:lnTo>
                  <a:lnTo>
                    <a:pt x="109" y="69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Freeform 198">
              <a:extLst>
                <a:ext uri="{FF2B5EF4-FFF2-40B4-BE49-F238E27FC236}">
                  <a16:creationId xmlns:a16="http://schemas.microsoft.com/office/drawing/2014/main" id="{22F4FA26-4831-488E-8CC4-DDF404E5E1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496" y="5400800"/>
              <a:ext cx="225977" cy="984700"/>
            </a:xfrm>
            <a:custGeom>
              <a:avLst/>
              <a:gdLst>
                <a:gd name="T0" fmla="*/ 16 w 23"/>
                <a:gd name="T1" fmla="*/ 96 h 100"/>
                <a:gd name="T2" fmla="*/ 15 w 23"/>
                <a:gd name="T3" fmla="*/ 97 h 100"/>
                <a:gd name="T4" fmla="*/ 19 w 23"/>
                <a:gd name="T5" fmla="*/ 97 h 100"/>
                <a:gd name="T6" fmla="*/ 16 w 23"/>
                <a:gd name="T7" fmla="*/ 93 h 100"/>
                <a:gd name="T8" fmla="*/ 18 w 23"/>
                <a:gd name="T9" fmla="*/ 92 h 100"/>
                <a:gd name="T10" fmla="*/ 7 w 23"/>
                <a:gd name="T11" fmla="*/ 82 h 100"/>
                <a:gd name="T12" fmla="*/ 7 w 23"/>
                <a:gd name="T13" fmla="*/ 68 h 100"/>
                <a:gd name="T14" fmla="*/ 5 w 23"/>
                <a:gd name="T15" fmla="*/ 57 h 100"/>
                <a:gd name="T16" fmla="*/ 7 w 23"/>
                <a:gd name="T17" fmla="*/ 39 h 100"/>
                <a:gd name="T18" fmla="*/ 8 w 23"/>
                <a:gd name="T19" fmla="*/ 23 h 100"/>
                <a:gd name="T20" fmla="*/ 7 w 23"/>
                <a:gd name="T21" fmla="*/ 9 h 100"/>
                <a:gd name="T22" fmla="*/ 3 w 23"/>
                <a:gd name="T23" fmla="*/ 2 h 100"/>
                <a:gd name="T24" fmla="*/ 2 w 23"/>
                <a:gd name="T25" fmla="*/ 13 h 100"/>
                <a:gd name="T26" fmla="*/ 2 w 23"/>
                <a:gd name="T27" fmla="*/ 25 h 100"/>
                <a:gd name="T28" fmla="*/ 3 w 23"/>
                <a:gd name="T29" fmla="*/ 36 h 100"/>
                <a:gd name="T30" fmla="*/ 2 w 23"/>
                <a:gd name="T31" fmla="*/ 43 h 100"/>
                <a:gd name="T32" fmla="*/ 1 w 23"/>
                <a:gd name="T33" fmla="*/ 50 h 100"/>
                <a:gd name="T34" fmla="*/ 1 w 23"/>
                <a:gd name="T35" fmla="*/ 58 h 100"/>
                <a:gd name="T36" fmla="*/ 5 w 23"/>
                <a:gd name="T37" fmla="*/ 61 h 100"/>
                <a:gd name="T38" fmla="*/ 4 w 23"/>
                <a:gd name="T39" fmla="*/ 66 h 100"/>
                <a:gd name="T40" fmla="*/ 4 w 23"/>
                <a:gd name="T41" fmla="*/ 72 h 100"/>
                <a:gd name="T42" fmla="*/ 1 w 23"/>
                <a:gd name="T43" fmla="*/ 71 h 100"/>
                <a:gd name="T44" fmla="*/ 3 w 23"/>
                <a:gd name="T45" fmla="*/ 73 h 100"/>
                <a:gd name="T46" fmla="*/ 5 w 23"/>
                <a:gd name="T47" fmla="*/ 76 h 100"/>
                <a:gd name="T48" fmla="*/ 5 w 23"/>
                <a:gd name="T49" fmla="*/ 79 h 100"/>
                <a:gd name="T50" fmla="*/ 5 w 23"/>
                <a:gd name="T51" fmla="*/ 82 h 100"/>
                <a:gd name="T52" fmla="*/ 7 w 23"/>
                <a:gd name="T53" fmla="*/ 86 h 100"/>
                <a:gd name="T54" fmla="*/ 9 w 23"/>
                <a:gd name="T55" fmla="*/ 88 h 100"/>
                <a:gd name="T56" fmla="*/ 10 w 23"/>
                <a:gd name="T57" fmla="*/ 89 h 100"/>
                <a:gd name="T58" fmla="*/ 9 w 23"/>
                <a:gd name="T59" fmla="*/ 90 h 100"/>
                <a:gd name="T60" fmla="*/ 11 w 23"/>
                <a:gd name="T61" fmla="*/ 90 h 100"/>
                <a:gd name="T62" fmla="*/ 10 w 23"/>
                <a:gd name="T63" fmla="*/ 92 h 100"/>
                <a:gd name="T64" fmla="*/ 13 w 23"/>
                <a:gd name="T65" fmla="*/ 91 h 100"/>
                <a:gd name="T66" fmla="*/ 14 w 23"/>
                <a:gd name="T67" fmla="*/ 94 h 100"/>
                <a:gd name="T68" fmla="*/ 18 w 23"/>
                <a:gd name="T69" fmla="*/ 89 h 100"/>
                <a:gd name="T70" fmla="*/ 1 w 23"/>
                <a:gd name="T71" fmla="*/ 62 h 100"/>
                <a:gd name="T72" fmla="*/ 4 w 23"/>
                <a:gd name="T73" fmla="*/ 61 h 100"/>
                <a:gd name="T74" fmla="*/ 3 w 23"/>
                <a:gd name="T75" fmla="*/ 65 h 100"/>
                <a:gd name="T76" fmla="*/ 1 w 23"/>
                <a:gd name="T77" fmla="*/ 67 h 100"/>
                <a:gd name="T78" fmla="*/ 2 w 23"/>
                <a:gd name="T79" fmla="*/ 67 h 100"/>
                <a:gd name="T80" fmla="*/ 4 w 23"/>
                <a:gd name="T81" fmla="*/ 66 h 100"/>
                <a:gd name="T82" fmla="*/ 3 w 23"/>
                <a:gd name="T83" fmla="*/ 68 h 100"/>
                <a:gd name="T84" fmla="*/ 3 w 23"/>
                <a:gd name="T85" fmla="*/ 78 h 100"/>
                <a:gd name="T86" fmla="*/ 3 w 23"/>
                <a:gd name="T87" fmla="*/ 78 h 100"/>
                <a:gd name="T88" fmla="*/ 2 w 23"/>
                <a:gd name="T89" fmla="*/ 80 h 100"/>
                <a:gd name="T90" fmla="*/ 3 w 23"/>
                <a:gd name="T91" fmla="*/ 81 h 100"/>
                <a:gd name="T92" fmla="*/ 4 w 23"/>
                <a:gd name="T93" fmla="*/ 82 h 100"/>
                <a:gd name="T94" fmla="*/ 5 w 23"/>
                <a:gd name="T95" fmla="*/ 85 h 100"/>
                <a:gd name="T96" fmla="*/ 5 w 23"/>
                <a:gd name="T97" fmla="*/ 85 h 100"/>
                <a:gd name="T98" fmla="*/ 5 w 23"/>
                <a:gd name="T99" fmla="*/ 88 h 100"/>
                <a:gd name="T100" fmla="*/ 7 w 23"/>
                <a:gd name="T101" fmla="*/ 89 h 100"/>
                <a:gd name="T102" fmla="*/ 7 w 23"/>
                <a:gd name="T103" fmla="*/ 89 h 100"/>
                <a:gd name="T104" fmla="*/ 8 w 23"/>
                <a:gd name="T105" fmla="*/ 90 h 100"/>
                <a:gd name="T106" fmla="*/ 10 w 23"/>
                <a:gd name="T107" fmla="*/ 93 h 100"/>
                <a:gd name="T108" fmla="*/ 10 w 23"/>
                <a:gd name="T109" fmla="*/ 95 h 100"/>
                <a:gd name="T110" fmla="*/ 12 w 23"/>
                <a:gd name="T111" fmla="*/ 95 h 100"/>
                <a:gd name="T112" fmla="*/ 13 w 23"/>
                <a:gd name="T113" fmla="*/ 95 h 100"/>
                <a:gd name="T114" fmla="*/ 15 w 23"/>
                <a:gd name="T115" fmla="*/ 94 h 100"/>
                <a:gd name="T116" fmla="*/ 23 w 23"/>
                <a:gd name="T117" fmla="*/ 99 h 100"/>
                <a:gd name="T118" fmla="*/ 21 w 23"/>
                <a:gd name="T119" fmla="*/ 98 h 100"/>
                <a:gd name="T120" fmla="*/ 19 w 23"/>
                <a:gd name="T121" fmla="*/ 9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100">
                  <a:moveTo>
                    <a:pt x="20" y="97"/>
                  </a:move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0" y="97"/>
                    <a:pt x="20" y="97"/>
                    <a:pt x="20" y="97"/>
                  </a:cubicBezTo>
                  <a:close/>
                  <a:moveTo>
                    <a:pt x="19" y="96"/>
                  </a:moveTo>
                  <a:cubicBezTo>
                    <a:pt x="19" y="96"/>
                    <a:pt x="19" y="96"/>
                    <a:pt x="19" y="96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9" y="96"/>
                    <a:pt x="19" y="96"/>
                    <a:pt x="19" y="96"/>
                  </a:cubicBezTo>
                  <a:close/>
                  <a:moveTo>
                    <a:pt x="18" y="89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lose/>
                  <a:moveTo>
                    <a:pt x="22" y="100"/>
                  </a:move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lose/>
                  <a:moveTo>
                    <a:pt x="3" y="62"/>
                  </a:moveTo>
                  <a:cubicBezTo>
                    <a:pt x="3" y="62"/>
                    <a:pt x="3" y="62"/>
                    <a:pt x="3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lose/>
                  <a:moveTo>
                    <a:pt x="3" y="61"/>
                  </a:move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3" y="61"/>
                    <a:pt x="3" y="61"/>
                    <a:pt x="3" y="61"/>
                  </a:cubicBezTo>
                  <a:close/>
                  <a:moveTo>
                    <a:pt x="1" y="65"/>
                  </a:move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5"/>
                    <a:pt x="1" y="65"/>
                    <a:pt x="1" y="65"/>
                  </a:cubicBezTo>
                  <a:close/>
                  <a:moveTo>
                    <a:pt x="4" y="65"/>
                  </a:move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5"/>
                    <a:pt x="3" y="65"/>
                  </a:cubicBezTo>
                  <a:close/>
                  <a:moveTo>
                    <a:pt x="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lose/>
                  <a:moveTo>
                    <a:pt x="2" y="66"/>
                  </a:moveTo>
                  <a:cubicBezTo>
                    <a:pt x="2" y="66"/>
                    <a:pt x="2" y="66"/>
                    <a:pt x="2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lose/>
                  <a:moveTo>
                    <a:pt x="2" y="66"/>
                  </a:move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lose/>
                  <a:moveTo>
                    <a:pt x="1" y="67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7"/>
                    <a:pt x="1" y="67"/>
                    <a:pt x="1" y="67"/>
                  </a:cubicBezTo>
                  <a:close/>
                  <a:moveTo>
                    <a:pt x="3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lose/>
                  <a:moveTo>
                    <a:pt x="3" y="67"/>
                  </a:moveTo>
                  <a:cubicBezTo>
                    <a:pt x="3" y="66"/>
                    <a:pt x="3" y="66"/>
                    <a:pt x="3" y="66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lose/>
                  <a:moveTo>
                    <a:pt x="2" y="70"/>
                  </a:move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lose/>
                  <a:moveTo>
                    <a:pt x="2" y="67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lose/>
                  <a:moveTo>
                    <a:pt x="1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close/>
                  <a:moveTo>
                    <a:pt x="2" y="69"/>
                  </a:moveTo>
                  <a:cubicBezTo>
                    <a:pt x="3" y="69"/>
                    <a:pt x="3" y="69"/>
                    <a:pt x="3" y="69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2" y="69"/>
                    <a:pt x="2" y="69"/>
                    <a:pt x="2" y="69"/>
                  </a:cubicBezTo>
                  <a:close/>
                  <a:moveTo>
                    <a:pt x="3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lose/>
                  <a:moveTo>
                    <a:pt x="4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lose/>
                  <a:moveTo>
                    <a:pt x="4" y="66"/>
                  </a:move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6"/>
                    <a:pt x="4" y="66"/>
                    <a:pt x="4" y="66"/>
                  </a:cubicBezTo>
                  <a:close/>
                  <a:moveTo>
                    <a:pt x="2" y="68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lose/>
                  <a:moveTo>
                    <a:pt x="3" y="68"/>
                  </a:moveTo>
                  <a:cubicBezTo>
                    <a:pt x="2" y="68"/>
                    <a:pt x="2" y="68"/>
                    <a:pt x="2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3" y="69"/>
                  </a:moveTo>
                  <a:cubicBezTo>
                    <a:pt x="3" y="69"/>
                    <a:pt x="3" y="69"/>
                    <a:pt x="3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lose/>
                  <a:moveTo>
                    <a:pt x="2" y="70"/>
                  </a:move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2" y="70"/>
                    <a:pt x="2" y="70"/>
                    <a:pt x="2" y="70"/>
                  </a:cubicBezTo>
                  <a:close/>
                  <a:moveTo>
                    <a:pt x="3" y="78"/>
                  </a:move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lose/>
                  <a:moveTo>
                    <a:pt x="2" y="77"/>
                  </a:move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7"/>
                    <a:pt x="2" y="77"/>
                    <a:pt x="2" y="77"/>
                  </a:cubicBezTo>
                  <a:close/>
                  <a:moveTo>
                    <a:pt x="2" y="78"/>
                  </a:move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lose/>
                  <a:moveTo>
                    <a:pt x="3" y="80"/>
                  </a:moveTo>
                  <a:cubicBezTo>
                    <a:pt x="2" y="80"/>
                    <a:pt x="2" y="80"/>
                    <a:pt x="2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lose/>
                  <a:moveTo>
                    <a:pt x="3" y="82"/>
                  </a:move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lose/>
                  <a:moveTo>
                    <a:pt x="4" y="82"/>
                  </a:move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" y="82"/>
                    <a:pt x="4" y="82"/>
                  </a:cubicBezTo>
                  <a:close/>
                  <a:moveTo>
                    <a:pt x="4" y="84"/>
                  </a:moveTo>
                  <a:cubicBezTo>
                    <a:pt x="4" y="84"/>
                    <a:pt x="4" y="84"/>
                    <a:pt x="4" y="84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lose/>
                  <a:moveTo>
                    <a:pt x="4" y="85"/>
                  </a:move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5"/>
                    <a:pt x="4" y="85"/>
                    <a:pt x="4" y="85"/>
                  </a:cubicBezTo>
                  <a:close/>
                  <a:moveTo>
                    <a:pt x="4" y="84"/>
                  </a:move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4"/>
                    <a:pt x="4" y="84"/>
                    <a:pt x="4" y="84"/>
                  </a:cubicBezTo>
                  <a:close/>
                  <a:moveTo>
                    <a:pt x="5" y="84"/>
                  </a:move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4"/>
                    <a:pt x="5" y="84"/>
                    <a:pt x="5" y="84"/>
                  </a:cubicBezTo>
                  <a:close/>
                  <a:moveTo>
                    <a:pt x="5" y="85"/>
                  </a:move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lose/>
                  <a:moveTo>
                    <a:pt x="5" y="87"/>
                  </a:moveTo>
                  <a:cubicBezTo>
                    <a:pt x="5" y="87"/>
                    <a:pt x="5" y="87"/>
                    <a:pt x="5" y="8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5" y="87"/>
                    <a:pt x="5" y="87"/>
                    <a:pt x="5" y="87"/>
                  </a:cubicBezTo>
                  <a:close/>
                  <a:moveTo>
                    <a:pt x="6" y="89"/>
                  </a:moveTo>
                  <a:cubicBezTo>
                    <a:pt x="5" y="89"/>
                    <a:pt x="5" y="89"/>
                    <a:pt x="5" y="89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6" y="89"/>
                    <a:pt x="6" y="89"/>
                    <a:pt x="6" y="89"/>
                  </a:cubicBezTo>
                  <a:close/>
                  <a:moveTo>
                    <a:pt x="6" y="88"/>
                  </a:move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lose/>
                  <a:moveTo>
                    <a:pt x="6" y="88"/>
                  </a:moveTo>
                  <a:cubicBezTo>
                    <a:pt x="7" y="88"/>
                    <a:pt x="7" y="88"/>
                    <a:pt x="7" y="88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0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7" y="88"/>
                  </a:move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lose/>
                  <a:moveTo>
                    <a:pt x="7" y="89"/>
                  </a:move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7" y="89"/>
                    <a:pt x="7" y="89"/>
                    <a:pt x="7" y="89"/>
                  </a:cubicBezTo>
                  <a:close/>
                  <a:moveTo>
                    <a:pt x="8" y="90"/>
                  </a:move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8" y="91"/>
                  </a:move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1"/>
                    <a:pt x="8" y="91"/>
                    <a:pt x="8" y="91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11" y="95"/>
                  </a:move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12" y="95"/>
                  </a:move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lose/>
                  <a:moveTo>
                    <a:pt x="12" y="95"/>
                  </a:move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lose/>
                  <a:moveTo>
                    <a:pt x="15" y="95"/>
                  </a:move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lose/>
                  <a:moveTo>
                    <a:pt x="16" y="95"/>
                  </a:moveTo>
                  <a:cubicBezTo>
                    <a:pt x="15" y="94"/>
                    <a:pt x="15" y="94"/>
                    <a:pt x="15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4" y="98"/>
                  </a:move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4" y="98"/>
                    <a:pt x="14" y="98"/>
                    <a:pt x="14" y="98"/>
                  </a:cubicBezTo>
                  <a:close/>
                  <a:moveTo>
                    <a:pt x="14" y="97"/>
                  </a:move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4" y="97"/>
                    <a:pt x="14" y="97"/>
                  </a:cubicBezTo>
                  <a:close/>
                  <a:moveTo>
                    <a:pt x="23" y="99"/>
                  </a:moveTo>
                  <a:cubicBezTo>
                    <a:pt x="22" y="99"/>
                    <a:pt x="22" y="99"/>
                    <a:pt x="22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100"/>
                    <a:pt x="23" y="100"/>
                    <a:pt x="23" y="100"/>
                  </a:cubicBezTo>
                  <a:cubicBezTo>
                    <a:pt x="23" y="99"/>
                    <a:pt x="23" y="99"/>
                    <a:pt x="23" y="99"/>
                  </a:cubicBezTo>
                  <a:close/>
                  <a:moveTo>
                    <a:pt x="17" y="97"/>
                  </a:move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8"/>
                    <a:pt x="18" y="98"/>
                  </a:cubicBezTo>
                  <a:lnTo>
                    <a:pt x="17" y="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9" name="Rectangle 199">
              <a:extLst>
                <a:ext uri="{FF2B5EF4-FFF2-40B4-BE49-F238E27FC236}">
                  <a16:creationId xmlns:a16="http://schemas.microsoft.com/office/drawing/2014/main" id="{0C0AF50D-5B00-4D8A-9D72-CED2DA2D6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7664" y="4671349"/>
              <a:ext cx="1171" cy="10538"/>
            </a:xfrm>
            <a:prstGeom prst="rect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0" name="Freeform 200">
              <a:extLst>
                <a:ext uri="{FF2B5EF4-FFF2-40B4-BE49-F238E27FC236}">
                  <a16:creationId xmlns:a16="http://schemas.microsoft.com/office/drawing/2014/main" id="{8B7734A3-CC3A-4B1C-9391-FC841DBFD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8202" y="4681887"/>
              <a:ext cx="9367" cy="19905"/>
            </a:xfrm>
            <a:custGeom>
              <a:avLst/>
              <a:gdLst>
                <a:gd name="T0" fmla="*/ 8 w 8"/>
                <a:gd name="T1" fmla="*/ 8 h 17"/>
                <a:gd name="T2" fmla="*/ 8 w 8"/>
                <a:gd name="T3" fmla="*/ 8 h 17"/>
                <a:gd name="T4" fmla="*/ 8 w 8"/>
                <a:gd name="T5" fmla="*/ 17 h 17"/>
                <a:gd name="T6" fmla="*/ 8 w 8"/>
                <a:gd name="T7" fmla="*/ 8 h 17"/>
                <a:gd name="T8" fmla="*/ 8 w 8"/>
                <a:gd name="T9" fmla="*/ 8 h 17"/>
                <a:gd name="T10" fmla="*/ 8 w 8"/>
                <a:gd name="T11" fmla="*/ 0 h 17"/>
                <a:gd name="T12" fmla="*/ 0 w 8"/>
                <a:gd name="T13" fmla="*/ 0 h 17"/>
                <a:gd name="T14" fmla="*/ 8 w 8"/>
                <a:gd name="T15" fmla="*/ 8 h 17"/>
                <a:gd name="T16" fmla="*/ 8 w 8"/>
                <a:gd name="T17" fmla="*/ 8 h 17"/>
                <a:gd name="T18" fmla="*/ 8 w 8"/>
                <a:gd name="T19" fmla="*/ 0 h 17"/>
                <a:gd name="T20" fmla="*/ 8 w 8"/>
                <a:gd name="T21" fmla="*/ 0 h 17"/>
                <a:gd name="T22" fmla="*/ 0 w 8"/>
                <a:gd name="T23" fmla="*/ 0 h 17"/>
                <a:gd name="T24" fmla="*/ 0 w 8"/>
                <a:gd name="T25" fmla="*/ 8 h 17"/>
                <a:gd name="T26" fmla="*/ 0 w 8"/>
                <a:gd name="T27" fmla="*/ 8 h 17"/>
                <a:gd name="T28" fmla="*/ 0 w 8"/>
                <a:gd name="T29" fmla="*/ 8 h 17"/>
                <a:gd name="T30" fmla="*/ 0 w 8"/>
                <a:gd name="T31" fmla="*/ 0 h 17"/>
                <a:gd name="T32" fmla="*/ 0 w 8"/>
                <a:gd name="T3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17">
                  <a:moveTo>
                    <a:pt x="8" y="8"/>
                  </a:moveTo>
                  <a:lnTo>
                    <a:pt x="8" y="8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close/>
                  <a:moveTo>
                    <a:pt x="8" y="0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1" name="Freeform 201">
              <a:extLst>
                <a:ext uri="{FF2B5EF4-FFF2-40B4-BE49-F238E27FC236}">
                  <a16:creationId xmlns:a16="http://schemas.microsoft.com/office/drawing/2014/main" id="{BBBA7D8B-8286-4E7A-84C0-F01329CF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202" y="4701792"/>
              <a:ext cx="9367" cy="9367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0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0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Freeform 202">
              <a:extLst>
                <a:ext uri="{FF2B5EF4-FFF2-40B4-BE49-F238E27FC236}">
                  <a16:creationId xmlns:a16="http://schemas.microsoft.com/office/drawing/2014/main" id="{0F07C2CF-38DF-4738-9652-564C88A184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8202" y="4721697"/>
              <a:ext cx="18734" cy="29272"/>
            </a:xfrm>
            <a:custGeom>
              <a:avLst/>
              <a:gdLst>
                <a:gd name="T0" fmla="*/ 8 w 16"/>
                <a:gd name="T1" fmla="*/ 8 h 25"/>
                <a:gd name="T2" fmla="*/ 8 w 16"/>
                <a:gd name="T3" fmla="*/ 16 h 25"/>
                <a:gd name="T4" fmla="*/ 8 w 16"/>
                <a:gd name="T5" fmla="*/ 16 h 25"/>
                <a:gd name="T6" fmla="*/ 8 w 16"/>
                <a:gd name="T7" fmla="*/ 25 h 25"/>
                <a:gd name="T8" fmla="*/ 8 w 16"/>
                <a:gd name="T9" fmla="*/ 16 h 25"/>
                <a:gd name="T10" fmla="*/ 8 w 16"/>
                <a:gd name="T11" fmla="*/ 8 h 25"/>
                <a:gd name="T12" fmla="*/ 8 w 16"/>
                <a:gd name="T13" fmla="*/ 8 h 25"/>
                <a:gd name="T14" fmla="*/ 0 w 16"/>
                <a:gd name="T15" fmla="*/ 0 h 25"/>
                <a:gd name="T16" fmla="*/ 8 w 16"/>
                <a:gd name="T17" fmla="*/ 0 h 25"/>
                <a:gd name="T18" fmla="*/ 16 w 16"/>
                <a:gd name="T19" fmla="*/ 8 h 25"/>
                <a:gd name="T20" fmla="*/ 8 w 16"/>
                <a:gd name="T21" fmla="*/ 8 h 25"/>
                <a:gd name="T22" fmla="*/ 8 w 16"/>
                <a:gd name="T23" fmla="*/ 8 h 25"/>
                <a:gd name="T24" fmla="*/ 8 w 16"/>
                <a:gd name="T25" fmla="*/ 8 h 25"/>
                <a:gd name="T26" fmla="*/ 8 w 16"/>
                <a:gd name="T27" fmla="*/ 0 h 25"/>
                <a:gd name="T28" fmla="*/ 0 w 16"/>
                <a:gd name="T29" fmla="*/ 0 h 25"/>
                <a:gd name="T30" fmla="*/ 0 w 16"/>
                <a:gd name="T3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25">
                  <a:moveTo>
                    <a:pt x="8" y="8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close/>
                  <a:moveTo>
                    <a:pt x="0" y="0"/>
                  </a:moveTo>
                  <a:lnTo>
                    <a:pt x="8" y="0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Freeform 203">
              <a:extLst>
                <a:ext uri="{FF2B5EF4-FFF2-40B4-BE49-F238E27FC236}">
                  <a16:creationId xmlns:a16="http://schemas.microsoft.com/office/drawing/2014/main" id="{066AA9BC-AB8F-4F59-BAD8-5E42ECA7F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6840" y="4750968"/>
              <a:ext cx="10538" cy="9367"/>
            </a:xfrm>
            <a:custGeom>
              <a:avLst/>
              <a:gdLst>
                <a:gd name="T0" fmla="*/ 0 w 9"/>
                <a:gd name="T1" fmla="*/ 0 h 8"/>
                <a:gd name="T2" fmla="*/ 0 w 9"/>
                <a:gd name="T3" fmla="*/ 0 h 8"/>
                <a:gd name="T4" fmla="*/ 0 w 9"/>
                <a:gd name="T5" fmla="*/ 8 h 8"/>
                <a:gd name="T6" fmla="*/ 9 w 9"/>
                <a:gd name="T7" fmla="*/ 8 h 8"/>
                <a:gd name="T8" fmla="*/ 9 w 9"/>
                <a:gd name="T9" fmla="*/ 0 h 8"/>
                <a:gd name="T10" fmla="*/ 0 w 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Freeform 204">
              <a:extLst>
                <a:ext uri="{FF2B5EF4-FFF2-40B4-BE49-F238E27FC236}">
                  <a16:creationId xmlns:a16="http://schemas.microsoft.com/office/drawing/2014/main" id="{A3583B6D-B9A8-481D-AAA2-8D1A6C72C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7664" y="4750968"/>
              <a:ext cx="19905" cy="29272"/>
            </a:xfrm>
            <a:custGeom>
              <a:avLst/>
              <a:gdLst>
                <a:gd name="T0" fmla="*/ 1 w 2"/>
                <a:gd name="T1" fmla="*/ 3 h 3"/>
                <a:gd name="T2" fmla="*/ 1 w 2"/>
                <a:gd name="T3" fmla="*/ 2 h 3"/>
                <a:gd name="T4" fmla="*/ 1 w 2"/>
                <a:gd name="T5" fmla="*/ 2 h 3"/>
                <a:gd name="T6" fmla="*/ 0 w 2"/>
                <a:gd name="T7" fmla="*/ 3 h 3"/>
                <a:gd name="T8" fmla="*/ 1 w 2"/>
                <a:gd name="T9" fmla="*/ 3 h 3"/>
                <a:gd name="T10" fmla="*/ 1 w 2"/>
                <a:gd name="T11" fmla="*/ 3 h 3"/>
                <a:gd name="T12" fmla="*/ 1 w 2"/>
                <a:gd name="T13" fmla="*/ 2 h 3"/>
                <a:gd name="T14" fmla="*/ 2 w 2"/>
                <a:gd name="T15" fmla="*/ 2 h 3"/>
                <a:gd name="T16" fmla="*/ 1 w 2"/>
                <a:gd name="T17" fmla="*/ 2 h 3"/>
                <a:gd name="T18" fmla="*/ 1 w 2"/>
                <a:gd name="T19" fmla="*/ 2 h 3"/>
                <a:gd name="T20" fmla="*/ 2 w 2"/>
                <a:gd name="T21" fmla="*/ 0 h 3"/>
                <a:gd name="T22" fmla="*/ 2 w 2"/>
                <a:gd name="T23" fmla="*/ 0 h 3"/>
                <a:gd name="T24" fmla="*/ 2 w 2"/>
                <a:gd name="T25" fmla="*/ 1 h 3"/>
                <a:gd name="T26" fmla="*/ 2 w 2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05" name="Oval 204"/>
          <p:cNvSpPr/>
          <p:nvPr userDrawn="1"/>
        </p:nvSpPr>
        <p:spPr>
          <a:xfrm>
            <a:off x="7530117" y="2001988"/>
            <a:ext cx="1340332" cy="129689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IN" sz="26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06" name="Oval 205"/>
          <p:cNvSpPr/>
          <p:nvPr userDrawn="1"/>
        </p:nvSpPr>
        <p:spPr>
          <a:xfrm>
            <a:off x="6410313" y="3617459"/>
            <a:ext cx="1329419" cy="128633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IN" sz="26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07" name="Oval 206"/>
          <p:cNvSpPr/>
          <p:nvPr userDrawn="1"/>
        </p:nvSpPr>
        <p:spPr>
          <a:xfrm>
            <a:off x="9201846" y="2929465"/>
            <a:ext cx="1483591" cy="14355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IN" sz="26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17" name="Text Placeholder 216"/>
          <p:cNvSpPr>
            <a:spLocks noGrp="1"/>
          </p:cNvSpPr>
          <p:nvPr>
            <p:ph type="body" sz="quarter" idx="10" hasCustomPrompt="1"/>
          </p:nvPr>
        </p:nvSpPr>
        <p:spPr>
          <a:xfrm>
            <a:off x="1616398" y="1615877"/>
            <a:ext cx="2645833" cy="63923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/>
              <a:t>You can edit this</a:t>
            </a:r>
            <a:endParaRPr lang="en-IN" dirty="0"/>
          </a:p>
        </p:txBody>
      </p:sp>
      <p:sp>
        <p:nvSpPr>
          <p:cNvPr id="218" name="Text Placeholder 216"/>
          <p:cNvSpPr>
            <a:spLocks noGrp="1"/>
          </p:cNvSpPr>
          <p:nvPr>
            <p:ph type="body" sz="quarter" idx="11" hasCustomPrompt="1"/>
          </p:nvPr>
        </p:nvSpPr>
        <p:spPr>
          <a:xfrm>
            <a:off x="7604428" y="1162726"/>
            <a:ext cx="2645833" cy="63923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/>
              <a:t>You can edit this</a:t>
            </a:r>
            <a:endParaRPr lang="en-IN" dirty="0"/>
          </a:p>
        </p:txBody>
      </p:sp>
      <p:sp>
        <p:nvSpPr>
          <p:cNvPr id="229" name="Content Placeholder 3"/>
          <p:cNvSpPr>
            <a:spLocks noGrp="1"/>
          </p:cNvSpPr>
          <p:nvPr>
            <p:ph sz="half" idx="2"/>
          </p:nvPr>
        </p:nvSpPr>
        <p:spPr>
          <a:xfrm>
            <a:off x="592868" y="2311275"/>
            <a:ext cx="4817272" cy="3712155"/>
          </a:xfrm>
        </p:spPr>
        <p:txBody>
          <a:bodyPr/>
          <a:lstStyle>
            <a:lvl1pPr marL="0" indent="0">
              <a:buNone/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endParaRPr lang="en-US" dirty="0"/>
          </a:p>
        </p:txBody>
      </p:sp>
      <p:sp>
        <p:nvSpPr>
          <p:cNvPr id="230" name="Text Placeholder 216"/>
          <p:cNvSpPr>
            <a:spLocks noGrp="1"/>
          </p:cNvSpPr>
          <p:nvPr>
            <p:ph type="body" sz="quarter" idx="12" hasCustomPrompt="1"/>
          </p:nvPr>
        </p:nvSpPr>
        <p:spPr>
          <a:xfrm>
            <a:off x="7734463" y="2336268"/>
            <a:ext cx="927348" cy="63923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 baseline="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$99M</a:t>
            </a:r>
            <a:endParaRPr lang="en-IN" dirty="0"/>
          </a:p>
        </p:txBody>
      </p:sp>
      <p:sp>
        <p:nvSpPr>
          <p:cNvPr id="231" name="Text Placeholder 216"/>
          <p:cNvSpPr>
            <a:spLocks noGrp="1"/>
          </p:cNvSpPr>
          <p:nvPr>
            <p:ph type="body" sz="quarter" idx="13" hasCustomPrompt="1"/>
          </p:nvPr>
        </p:nvSpPr>
        <p:spPr>
          <a:xfrm>
            <a:off x="9503542" y="3308880"/>
            <a:ext cx="927348" cy="63923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$99M</a:t>
            </a:r>
            <a:endParaRPr lang="en-IN" dirty="0"/>
          </a:p>
        </p:txBody>
      </p:sp>
      <p:sp>
        <p:nvSpPr>
          <p:cNvPr id="232" name="Text Placeholder 216"/>
          <p:cNvSpPr>
            <a:spLocks noGrp="1"/>
          </p:cNvSpPr>
          <p:nvPr>
            <p:ph type="body" sz="quarter" idx="14" hasCustomPrompt="1"/>
          </p:nvPr>
        </p:nvSpPr>
        <p:spPr>
          <a:xfrm>
            <a:off x="6616949" y="3959794"/>
            <a:ext cx="927348" cy="63923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$99M</a:t>
            </a:r>
            <a:endParaRPr lang="en-IN" dirty="0"/>
          </a:p>
        </p:txBody>
      </p:sp>
      <p:sp>
        <p:nvSpPr>
          <p:cNvPr id="233" name="Text Placeholder 216"/>
          <p:cNvSpPr>
            <a:spLocks noGrp="1"/>
          </p:cNvSpPr>
          <p:nvPr>
            <p:ph type="body" sz="quarter" idx="15" hasCustomPrompt="1"/>
          </p:nvPr>
        </p:nvSpPr>
        <p:spPr>
          <a:xfrm>
            <a:off x="6833649" y="5587721"/>
            <a:ext cx="4187391" cy="639233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dirty="0"/>
              <a:t>You can edit thi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64900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et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16FA52DE-5FDC-4DE5-A503-D33F586DFF5C}"/>
              </a:ext>
            </a:extLst>
          </p:cNvPr>
          <p:cNvSpPr/>
          <p:nvPr userDrawn="1"/>
        </p:nvSpPr>
        <p:spPr>
          <a:xfrm>
            <a:off x="1888285" y="1879337"/>
            <a:ext cx="7939456" cy="419046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16" name="Straight Connector 215"/>
          <p:cNvCxnSpPr/>
          <p:nvPr userDrawn="1"/>
        </p:nvCxnSpPr>
        <p:spPr>
          <a:xfrm>
            <a:off x="1888285" y="3974568"/>
            <a:ext cx="793945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 userDrawn="1"/>
        </p:nvCxnSpPr>
        <p:spPr>
          <a:xfrm>
            <a:off x="5858013" y="1879336"/>
            <a:ext cx="0" cy="4190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Rounded Rectangle 217"/>
          <p:cNvSpPr/>
          <p:nvPr userDrawn="1"/>
        </p:nvSpPr>
        <p:spPr>
          <a:xfrm>
            <a:off x="4561247" y="1565850"/>
            <a:ext cx="2593535" cy="57456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19" name="Rounded Rectangle 218"/>
          <p:cNvSpPr/>
          <p:nvPr userDrawn="1"/>
        </p:nvSpPr>
        <p:spPr>
          <a:xfrm>
            <a:off x="4561247" y="5776195"/>
            <a:ext cx="2593535" cy="57456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20" name="Rounded Rectangle 219"/>
          <p:cNvSpPr/>
          <p:nvPr userDrawn="1"/>
        </p:nvSpPr>
        <p:spPr>
          <a:xfrm>
            <a:off x="593002" y="3678409"/>
            <a:ext cx="2593535" cy="5745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21" name="Rounded Rectangle 220"/>
          <p:cNvSpPr/>
          <p:nvPr userDrawn="1"/>
        </p:nvSpPr>
        <p:spPr>
          <a:xfrm>
            <a:off x="8543039" y="3678409"/>
            <a:ext cx="2593535" cy="57456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67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223" name="Rounded Rectangle 11">
            <a:extLst>
              <a:ext uri="{FF2B5EF4-FFF2-40B4-BE49-F238E27FC236}">
                <a16:creationId xmlns:a16="http://schemas.microsoft.com/office/drawing/2014/main" id="{C70DAAC2-F78B-4A1F-8B97-C57329E2A27D}"/>
              </a:ext>
            </a:extLst>
          </p:cNvPr>
          <p:cNvSpPr>
            <a:spLocks noChangeAspect="1"/>
          </p:cNvSpPr>
          <p:nvPr/>
        </p:nvSpPr>
        <p:spPr>
          <a:xfrm>
            <a:off x="7222515" y="2762184"/>
            <a:ext cx="272407" cy="297139"/>
          </a:xfrm>
          <a:prstGeom prst="flowChartConnecto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prstClr val="white"/>
              </a:solidFill>
              <a:latin typeface="Segoe UI" panose="020B0502040204020203" pitchFamily="34" charset="0"/>
              <a:ea typeface="Open Sans" pitchFamily="34" charset="0"/>
              <a:cs typeface="Segoe UI" panose="020B0502040204020203" pitchFamily="34" charset="0"/>
            </a:endParaRPr>
          </a:p>
        </p:txBody>
      </p:sp>
      <p:sp>
        <p:nvSpPr>
          <p:cNvPr id="226" name="Rounded Rectangle 11">
            <a:extLst>
              <a:ext uri="{FF2B5EF4-FFF2-40B4-BE49-F238E27FC236}">
                <a16:creationId xmlns:a16="http://schemas.microsoft.com/office/drawing/2014/main" id="{A0060E36-1468-49DF-B435-2E4D67869415}"/>
              </a:ext>
            </a:extLst>
          </p:cNvPr>
          <p:cNvSpPr>
            <a:spLocks noChangeAspect="1"/>
          </p:cNvSpPr>
          <p:nvPr/>
        </p:nvSpPr>
        <p:spPr>
          <a:xfrm>
            <a:off x="3172990" y="4925449"/>
            <a:ext cx="272407" cy="297139"/>
          </a:xfrm>
          <a:prstGeom prst="flowChart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prstClr val="white"/>
              </a:solidFill>
              <a:latin typeface="Segoe UI" panose="020B0502040204020203" pitchFamily="34" charset="0"/>
              <a:ea typeface="Open Sans" pitchFamily="34" charset="0"/>
              <a:cs typeface="Segoe UI" panose="020B0502040204020203" pitchFamily="34" charset="0"/>
            </a:endParaRPr>
          </a:p>
        </p:txBody>
      </p:sp>
      <p:sp>
        <p:nvSpPr>
          <p:cNvPr id="229" name="Rounded Rectangle 11">
            <a:extLst>
              <a:ext uri="{FF2B5EF4-FFF2-40B4-BE49-F238E27FC236}">
                <a16:creationId xmlns:a16="http://schemas.microsoft.com/office/drawing/2014/main" id="{FFAD3325-1908-43CE-BC89-D6A5C0B42527}"/>
              </a:ext>
            </a:extLst>
          </p:cNvPr>
          <p:cNvSpPr>
            <a:spLocks noChangeAspect="1"/>
          </p:cNvSpPr>
          <p:nvPr/>
        </p:nvSpPr>
        <p:spPr>
          <a:xfrm>
            <a:off x="3642257" y="3076413"/>
            <a:ext cx="272407" cy="297139"/>
          </a:xfrm>
          <a:prstGeom prst="flowChart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prstClr val="white"/>
              </a:solidFill>
              <a:latin typeface="Segoe UI" panose="020B0502040204020203" pitchFamily="34" charset="0"/>
              <a:ea typeface="Open Sans" pitchFamily="34" charset="0"/>
              <a:cs typeface="Segoe UI" panose="020B0502040204020203" pitchFamily="34" charset="0"/>
            </a:endParaRPr>
          </a:p>
        </p:txBody>
      </p:sp>
      <p:sp>
        <p:nvSpPr>
          <p:cNvPr id="232" name="Rounded Rectangle 11">
            <a:extLst>
              <a:ext uri="{FF2B5EF4-FFF2-40B4-BE49-F238E27FC236}">
                <a16:creationId xmlns:a16="http://schemas.microsoft.com/office/drawing/2014/main" id="{3F5CE5FE-7546-45A9-AB52-48BC710ACB79}"/>
              </a:ext>
            </a:extLst>
          </p:cNvPr>
          <p:cNvSpPr>
            <a:spLocks noChangeAspect="1"/>
          </p:cNvSpPr>
          <p:nvPr userDrawn="1"/>
        </p:nvSpPr>
        <p:spPr>
          <a:xfrm>
            <a:off x="6805473" y="4940025"/>
            <a:ext cx="272407" cy="297139"/>
          </a:xfrm>
          <a:prstGeom prst="flowChart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prstClr val="white"/>
              </a:solidFill>
              <a:latin typeface="Segoe UI" panose="020B0502040204020203" pitchFamily="34" charset="0"/>
              <a:ea typeface="Open Sans" pitchFamily="34" charset="0"/>
              <a:cs typeface="Segoe UI" panose="020B0502040204020203" pitchFamily="34" charset="0"/>
            </a:endParaRPr>
          </a:p>
        </p:txBody>
      </p:sp>
      <p:sp>
        <p:nvSpPr>
          <p:cNvPr id="235" name="Rounded Rectangle 11">
            <a:extLst>
              <a:ext uri="{FF2B5EF4-FFF2-40B4-BE49-F238E27FC236}">
                <a16:creationId xmlns:a16="http://schemas.microsoft.com/office/drawing/2014/main" id="{A1C38560-B06A-4D06-9301-9C718F068A86}"/>
              </a:ext>
            </a:extLst>
          </p:cNvPr>
          <p:cNvSpPr>
            <a:spLocks noChangeAspect="1"/>
          </p:cNvSpPr>
          <p:nvPr userDrawn="1"/>
        </p:nvSpPr>
        <p:spPr>
          <a:xfrm>
            <a:off x="2467325" y="2175733"/>
            <a:ext cx="272407" cy="297139"/>
          </a:xfrm>
          <a:prstGeom prst="flowChartConnector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00" dirty="0">
              <a:solidFill>
                <a:prstClr val="white"/>
              </a:solidFill>
              <a:latin typeface="Segoe UI" panose="020B0502040204020203" pitchFamily="34" charset="0"/>
              <a:ea typeface="Open Sans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554" y="1660596"/>
            <a:ext cx="2566903" cy="406200"/>
          </a:xfrm>
        </p:spPr>
        <p:txBody>
          <a:bodyPr>
            <a:no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29" name="Text Placehold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6087" y="3762589"/>
            <a:ext cx="2566903" cy="406200"/>
          </a:xfrm>
        </p:spPr>
        <p:txBody>
          <a:bodyPr>
            <a:no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0" name="Text Placeholder 5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569671" y="3762589"/>
            <a:ext cx="2566903" cy="406200"/>
          </a:xfrm>
        </p:spPr>
        <p:txBody>
          <a:bodyPr>
            <a:no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1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4562" y="5860376"/>
            <a:ext cx="2566903" cy="406200"/>
          </a:xfrm>
        </p:spPr>
        <p:txBody>
          <a:bodyPr>
            <a:noAutofit/>
          </a:bodyPr>
          <a:lstStyle>
            <a:lvl1pPr marL="0" indent="0" algn="ct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730103" y="2118703"/>
            <a:ext cx="2566903" cy="406200"/>
          </a:xfrm>
        </p:spPr>
        <p:txBody>
          <a:bodyPr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926495" y="3019515"/>
            <a:ext cx="1931519" cy="406200"/>
          </a:xfrm>
        </p:spPr>
        <p:txBody>
          <a:bodyPr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501883" y="2712952"/>
            <a:ext cx="2198128" cy="406200"/>
          </a:xfrm>
        </p:spPr>
        <p:txBody>
          <a:bodyPr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444144" y="4883013"/>
            <a:ext cx="2263321" cy="406200"/>
          </a:xfrm>
        </p:spPr>
        <p:txBody>
          <a:bodyPr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7108422" y="4866501"/>
            <a:ext cx="2566903" cy="406200"/>
          </a:xfrm>
        </p:spPr>
        <p:txBody>
          <a:bodyPr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98442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graphicFrame>
        <p:nvGraphicFramePr>
          <p:cNvPr id="54" name="Table 53"/>
          <p:cNvGraphicFramePr>
            <a:graphicFrameLocks noGrp="1"/>
          </p:cNvGraphicFramePr>
          <p:nvPr userDrawn="1"/>
        </p:nvGraphicFramePr>
        <p:xfrm>
          <a:off x="570803" y="1905193"/>
          <a:ext cx="11043692" cy="4623408"/>
        </p:xfrm>
        <a:graphic>
          <a:graphicData uri="http://schemas.openxmlformats.org/drawingml/2006/table">
            <a:tbl>
              <a:tblPr firstRow="1" bandRow="1"/>
              <a:tblGrid>
                <a:gridCol w="3025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6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54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861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28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C5F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endParaRPr lang="en-IN" sz="24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656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IN" sz="19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110400" marB="110400" anchor="ctr">
                    <a:lnL w="12700" cmpd="sng">
                      <a:solidFill>
                        <a:sysClr val="window" lastClr="FFFFFF"/>
                      </a:solidFill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IN" sz="24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IN" sz="24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IN" sz="24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21920" marR="121920" marT="110400" marB="11040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0381" y="1243509"/>
            <a:ext cx="1892756" cy="611716"/>
          </a:xfrm>
        </p:spPr>
        <p:txBody>
          <a:bodyPr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819743" y="1225273"/>
            <a:ext cx="1892756" cy="611716"/>
          </a:xfrm>
        </p:spPr>
        <p:txBody>
          <a:bodyPr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421150" y="1225271"/>
            <a:ext cx="1892756" cy="611716"/>
          </a:xfrm>
        </p:spPr>
        <p:txBody>
          <a:bodyPr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97170" y="1940550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97170" y="2597853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97170" y="3301195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97170" y="3963183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97170" y="4601710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7170" y="5300571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97170" y="5910171"/>
            <a:ext cx="2953675" cy="61171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631741" y="5951373"/>
            <a:ext cx="2771184" cy="556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457027" y="5965782"/>
            <a:ext cx="2771184" cy="556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9252130" y="5951373"/>
            <a:ext cx="2362365" cy="556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You can replace this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3577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composi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73" name="Oval 172"/>
          <p:cNvSpPr/>
          <p:nvPr userDrawn="1"/>
        </p:nvSpPr>
        <p:spPr>
          <a:xfrm>
            <a:off x="4045067" y="4031313"/>
            <a:ext cx="3878877" cy="445041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85000"/>
                  <a:lumOff val="15000"/>
                </a:sys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804">
              <a:defRPr/>
            </a:pPr>
            <a:endParaRPr lang="en-US" sz="2399" kern="0" dirty="0">
              <a:solidFill>
                <a:sysClr val="window" lastClr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4" name="Oval 173"/>
          <p:cNvSpPr/>
          <p:nvPr userDrawn="1"/>
        </p:nvSpPr>
        <p:spPr>
          <a:xfrm>
            <a:off x="8183081" y="3523692"/>
            <a:ext cx="2914257" cy="367803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85000"/>
                  <a:lumOff val="15000"/>
                </a:sys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804">
              <a:defRPr/>
            </a:pPr>
            <a:endParaRPr lang="en-US" sz="2399" kern="0" dirty="0">
              <a:solidFill>
                <a:sysClr val="window" lastClr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Oval 174"/>
          <p:cNvSpPr/>
          <p:nvPr userDrawn="1"/>
        </p:nvSpPr>
        <p:spPr>
          <a:xfrm>
            <a:off x="722906" y="3523692"/>
            <a:ext cx="2914257" cy="367803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85000"/>
                  <a:lumOff val="15000"/>
                </a:sys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804">
              <a:defRPr/>
            </a:pPr>
            <a:endParaRPr lang="en-US" sz="2399" kern="0" dirty="0">
              <a:solidFill>
                <a:sysClr val="window" lastClr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6" name="Group 43"/>
          <p:cNvGrpSpPr/>
          <p:nvPr userDrawn="1"/>
        </p:nvGrpSpPr>
        <p:grpSpPr>
          <a:xfrm>
            <a:off x="8159241" y="2000824"/>
            <a:ext cx="2968572" cy="2660632"/>
            <a:chOff x="2683249" y="1825999"/>
            <a:chExt cx="2181785" cy="2181785"/>
          </a:xfrm>
          <a:scene3d>
            <a:camera prst="perspectiveRelaxed">
              <a:rot lat="16800000" lon="0" rev="0"/>
            </a:camera>
            <a:lightRig rig="balanced" dir="t">
              <a:rot lat="0" lon="0" rev="4200000"/>
            </a:lightRig>
          </a:scene3d>
        </p:grpSpPr>
        <p:sp>
          <p:nvSpPr>
            <p:cNvPr id="177" name="Oval 176"/>
            <p:cNvSpPr/>
            <p:nvPr/>
          </p:nvSpPr>
          <p:spPr>
            <a:xfrm>
              <a:off x="2683249" y="1825999"/>
              <a:ext cx="2181785" cy="2181785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8" name="Oval 177"/>
            <p:cNvSpPr/>
            <p:nvPr/>
          </p:nvSpPr>
          <p:spPr>
            <a:xfrm>
              <a:off x="2892519" y="2035269"/>
              <a:ext cx="1763245" cy="1763245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9" name="Oval 178"/>
            <p:cNvSpPr/>
            <p:nvPr/>
          </p:nvSpPr>
          <p:spPr>
            <a:xfrm>
              <a:off x="3140169" y="2282919"/>
              <a:ext cx="1267945" cy="1267945"/>
            </a:xfrm>
            <a:prstGeom prst="ellipse">
              <a:avLst/>
            </a:prstGeom>
            <a:solidFill>
              <a:srgbClr val="0779B7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0" name="Oval 179"/>
            <p:cNvSpPr/>
            <p:nvPr/>
          </p:nvSpPr>
          <p:spPr>
            <a:xfrm>
              <a:off x="3355041" y="2497791"/>
              <a:ext cx="838200" cy="838200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1" name="Oval 180"/>
            <p:cNvSpPr/>
            <p:nvPr/>
          </p:nvSpPr>
          <p:spPr>
            <a:xfrm>
              <a:off x="3545541" y="2688291"/>
              <a:ext cx="457200" cy="457200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85" name="Group 15"/>
          <p:cNvGrpSpPr/>
          <p:nvPr userDrawn="1"/>
        </p:nvGrpSpPr>
        <p:grpSpPr>
          <a:xfrm>
            <a:off x="9353716" y="1514775"/>
            <a:ext cx="579619" cy="1890181"/>
            <a:chOff x="1536700" y="927100"/>
            <a:chExt cx="939800" cy="3419475"/>
          </a:xfrm>
          <a:solidFill>
            <a:srgbClr val="000000">
              <a:alpha val="65000"/>
            </a:srgbClr>
          </a:solidFill>
          <a:effectLst/>
        </p:grpSpPr>
        <p:sp>
          <p:nvSpPr>
            <p:cNvPr id="186" name="Freeform 8"/>
            <p:cNvSpPr>
              <a:spLocks/>
            </p:cNvSpPr>
            <p:nvPr/>
          </p:nvSpPr>
          <p:spPr bwMode="auto">
            <a:xfrm>
              <a:off x="1897063" y="927100"/>
              <a:ext cx="322263" cy="546100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39" y="5"/>
                </a:cxn>
                <a:cxn ang="0">
                  <a:pos x="169" y="21"/>
                </a:cxn>
                <a:cxn ang="0">
                  <a:pos x="189" y="49"/>
                </a:cxn>
                <a:cxn ang="0">
                  <a:pos x="198" y="82"/>
                </a:cxn>
                <a:cxn ang="0">
                  <a:pos x="198" y="116"/>
                </a:cxn>
                <a:cxn ang="0">
                  <a:pos x="194" y="141"/>
                </a:cxn>
                <a:cxn ang="0">
                  <a:pos x="197" y="139"/>
                </a:cxn>
                <a:cxn ang="0">
                  <a:pos x="202" y="141"/>
                </a:cxn>
                <a:cxn ang="0">
                  <a:pos x="203" y="151"/>
                </a:cxn>
                <a:cxn ang="0">
                  <a:pos x="202" y="156"/>
                </a:cxn>
                <a:cxn ang="0">
                  <a:pos x="198" y="174"/>
                </a:cxn>
                <a:cxn ang="0">
                  <a:pos x="196" y="191"/>
                </a:cxn>
                <a:cxn ang="0">
                  <a:pos x="193" y="206"/>
                </a:cxn>
                <a:cxn ang="0">
                  <a:pos x="188" y="212"/>
                </a:cxn>
                <a:cxn ang="0">
                  <a:pos x="183" y="210"/>
                </a:cxn>
                <a:cxn ang="0">
                  <a:pos x="181" y="210"/>
                </a:cxn>
                <a:cxn ang="0">
                  <a:pos x="179" y="222"/>
                </a:cxn>
                <a:cxn ang="0">
                  <a:pos x="176" y="232"/>
                </a:cxn>
                <a:cxn ang="0">
                  <a:pos x="164" y="256"/>
                </a:cxn>
                <a:cxn ang="0">
                  <a:pos x="159" y="271"/>
                </a:cxn>
                <a:cxn ang="0">
                  <a:pos x="160" y="284"/>
                </a:cxn>
                <a:cxn ang="0">
                  <a:pos x="168" y="312"/>
                </a:cxn>
                <a:cxn ang="0">
                  <a:pos x="162" y="316"/>
                </a:cxn>
                <a:cxn ang="0">
                  <a:pos x="146" y="329"/>
                </a:cxn>
                <a:cxn ang="0">
                  <a:pos x="142" y="334"/>
                </a:cxn>
                <a:cxn ang="0">
                  <a:pos x="123" y="338"/>
                </a:cxn>
                <a:cxn ang="0">
                  <a:pos x="106" y="343"/>
                </a:cxn>
                <a:cxn ang="0">
                  <a:pos x="100" y="343"/>
                </a:cxn>
                <a:cxn ang="0">
                  <a:pos x="81" y="338"/>
                </a:cxn>
                <a:cxn ang="0">
                  <a:pos x="60" y="332"/>
                </a:cxn>
                <a:cxn ang="0">
                  <a:pos x="48" y="329"/>
                </a:cxn>
                <a:cxn ang="0">
                  <a:pos x="40" y="323"/>
                </a:cxn>
                <a:cxn ang="0">
                  <a:pos x="26" y="313"/>
                </a:cxn>
                <a:cxn ang="0">
                  <a:pos x="18" y="307"/>
                </a:cxn>
                <a:cxn ang="0">
                  <a:pos x="20" y="300"/>
                </a:cxn>
                <a:cxn ang="0">
                  <a:pos x="23" y="287"/>
                </a:cxn>
                <a:cxn ang="0">
                  <a:pos x="25" y="280"/>
                </a:cxn>
                <a:cxn ang="0">
                  <a:pos x="26" y="262"/>
                </a:cxn>
                <a:cxn ang="0">
                  <a:pos x="27" y="249"/>
                </a:cxn>
                <a:cxn ang="0">
                  <a:pos x="19" y="222"/>
                </a:cxn>
                <a:cxn ang="0">
                  <a:pos x="15" y="209"/>
                </a:cxn>
                <a:cxn ang="0">
                  <a:pos x="7" y="203"/>
                </a:cxn>
                <a:cxn ang="0">
                  <a:pos x="2" y="191"/>
                </a:cxn>
                <a:cxn ang="0">
                  <a:pos x="0" y="150"/>
                </a:cxn>
                <a:cxn ang="0">
                  <a:pos x="2" y="136"/>
                </a:cxn>
                <a:cxn ang="0">
                  <a:pos x="6" y="134"/>
                </a:cxn>
                <a:cxn ang="0">
                  <a:pos x="12" y="128"/>
                </a:cxn>
                <a:cxn ang="0">
                  <a:pos x="13" y="99"/>
                </a:cxn>
                <a:cxn ang="0">
                  <a:pos x="16" y="71"/>
                </a:cxn>
                <a:cxn ang="0">
                  <a:pos x="28" y="39"/>
                </a:cxn>
                <a:cxn ang="0">
                  <a:pos x="47" y="15"/>
                </a:cxn>
                <a:cxn ang="0">
                  <a:pos x="71" y="5"/>
                </a:cxn>
                <a:cxn ang="0">
                  <a:pos x="101" y="0"/>
                </a:cxn>
              </a:cxnLst>
              <a:rect l="0" t="0" r="r" b="b"/>
              <a:pathLst>
                <a:path w="203" h="344">
                  <a:moveTo>
                    <a:pt x="101" y="0"/>
                  </a:moveTo>
                  <a:lnTo>
                    <a:pt x="113" y="0"/>
                  </a:lnTo>
                  <a:lnTo>
                    <a:pt x="125" y="1"/>
                  </a:lnTo>
                  <a:lnTo>
                    <a:pt x="139" y="5"/>
                  </a:lnTo>
                  <a:lnTo>
                    <a:pt x="156" y="11"/>
                  </a:lnTo>
                  <a:lnTo>
                    <a:pt x="169" y="21"/>
                  </a:lnTo>
                  <a:lnTo>
                    <a:pt x="181" y="34"/>
                  </a:lnTo>
                  <a:lnTo>
                    <a:pt x="189" y="49"/>
                  </a:lnTo>
                  <a:lnTo>
                    <a:pt x="195" y="65"/>
                  </a:lnTo>
                  <a:lnTo>
                    <a:pt x="198" y="82"/>
                  </a:lnTo>
                  <a:lnTo>
                    <a:pt x="200" y="100"/>
                  </a:lnTo>
                  <a:lnTo>
                    <a:pt x="198" y="116"/>
                  </a:lnTo>
                  <a:lnTo>
                    <a:pt x="196" y="131"/>
                  </a:lnTo>
                  <a:lnTo>
                    <a:pt x="194" y="141"/>
                  </a:lnTo>
                  <a:lnTo>
                    <a:pt x="196" y="141"/>
                  </a:lnTo>
                  <a:lnTo>
                    <a:pt x="197" y="139"/>
                  </a:lnTo>
                  <a:lnTo>
                    <a:pt x="200" y="139"/>
                  </a:lnTo>
                  <a:lnTo>
                    <a:pt x="202" y="141"/>
                  </a:lnTo>
                  <a:lnTo>
                    <a:pt x="203" y="142"/>
                  </a:lnTo>
                  <a:lnTo>
                    <a:pt x="203" y="151"/>
                  </a:lnTo>
                  <a:lnTo>
                    <a:pt x="202" y="153"/>
                  </a:lnTo>
                  <a:lnTo>
                    <a:pt x="202" y="156"/>
                  </a:lnTo>
                  <a:lnTo>
                    <a:pt x="201" y="163"/>
                  </a:lnTo>
                  <a:lnTo>
                    <a:pt x="198" y="174"/>
                  </a:lnTo>
                  <a:lnTo>
                    <a:pt x="197" y="184"/>
                  </a:lnTo>
                  <a:lnTo>
                    <a:pt x="196" y="191"/>
                  </a:lnTo>
                  <a:lnTo>
                    <a:pt x="195" y="199"/>
                  </a:lnTo>
                  <a:lnTo>
                    <a:pt x="193" y="206"/>
                  </a:lnTo>
                  <a:lnTo>
                    <a:pt x="190" y="209"/>
                  </a:lnTo>
                  <a:lnTo>
                    <a:pt x="188" y="212"/>
                  </a:lnTo>
                  <a:lnTo>
                    <a:pt x="186" y="210"/>
                  </a:lnTo>
                  <a:lnTo>
                    <a:pt x="183" y="210"/>
                  </a:lnTo>
                  <a:lnTo>
                    <a:pt x="182" y="209"/>
                  </a:lnTo>
                  <a:lnTo>
                    <a:pt x="181" y="210"/>
                  </a:lnTo>
                  <a:lnTo>
                    <a:pt x="180" y="215"/>
                  </a:lnTo>
                  <a:lnTo>
                    <a:pt x="179" y="222"/>
                  </a:lnTo>
                  <a:lnTo>
                    <a:pt x="178" y="228"/>
                  </a:lnTo>
                  <a:lnTo>
                    <a:pt x="176" y="232"/>
                  </a:lnTo>
                  <a:lnTo>
                    <a:pt x="173" y="239"/>
                  </a:lnTo>
                  <a:lnTo>
                    <a:pt x="164" y="256"/>
                  </a:lnTo>
                  <a:lnTo>
                    <a:pt x="160" y="263"/>
                  </a:lnTo>
                  <a:lnTo>
                    <a:pt x="159" y="271"/>
                  </a:lnTo>
                  <a:lnTo>
                    <a:pt x="159" y="278"/>
                  </a:lnTo>
                  <a:lnTo>
                    <a:pt x="160" y="284"/>
                  </a:lnTo>
                  <a:lnTo>
                    <a:pt x="161" y="286"/>
                  </a:lnTo>
                  <a:lnTo>
                    <a:pt x="168" y="312"/>
                  </a:lnTo>
                  <a:lnTo>
                    <a:pt x="167" y="313"/>
                  </a:lnTo>
                  <a:lnTo>
                    <a:pt x="162" y="316"/>
                  </a:lnTo>
                  <a:lnTo>
                    <a:pt x="151" y="326"/>
                  </a:lnTo>
                  <a:lnTo>
                    <a:pt x="146" y="329"/>
                  </a:lnTo>
                  <a:lnTo>
                    <a:pt x="145" y="331"/>
                  </a:lnTo>
                  <a:lnTo>
                    <a:pt x="142" y="334"/>
                  </a:lnTo>
                  <a:lnTo>
                    <a:pt x="133" y="336"/>
                  </a:lnTo>
                  <a:lnTo>
                    <a:pt x="123" y="338"/>
                  </a:lnTo>
                  <a:lnTo>
                    <a:pt x="114" y="342"/>
                  </a:lnTo>
                  <a:lnTo>
                    <a:pt x="106" y="343"/>
                  </a:lnTo>
                  <a:lnTo>
                    <a:pt x="102" y="344"/>
                  </a:lnTo>
                  <a:lnTo>
                    <a:pt x="100" y="343"/>
                  </a:lnTo>
                  <a:lnTo>
                    <a:pt x="92" y="341"/>
                  </a:lnTo>
                  <a:lnTo>
                    <a:pt x="81" y="338"/>
                  </a:lnTo>
                  <a:lnTo>
                    <a:pt x="71" y="335"/>
                  </a:lnTo>
                  <a:lnTo>
                    <a:pt x="60" y="332"/>
                  </a:lnTo>
                  <a:lnTo>
                    <a:pt x="52" y="330"/>
                  </a:lnTo>
                  <a:lnTo>
                    <a:pt x="48" y="329"/>
                  </a:lnTo>
                  <a:lnTo>
                    <a:pt x="45" y="328"/>
                  </a:lnTo>
                  <a:lnTo>
                    <a:pt x="40" y="323"/>
                  </a:lnTo>
                  <a:lnTo>
                    <a:pt x="33" y="317"/>
                  </a:lnTo>
                  <a:lnTo>
                    <a:pt x="26" y="313"/>
                  </a:lnTo>
                  <a:lnTo>
                    <a:pt x="20" y="308"/>
                  </a:lnTo>
                  <a:lnTo>
                    <a:pt x="18" y="307"/>
                  </a:lnTo>
                  <a:lnTo>
                    <a:pt x="19" y="305"/>
                  </a:lnTo>
                  <a:lnTo>
                    <a:pt x="20" y="300"/>
                  </a:lnTo>
                  <a:lnTo>
                    <a:pt x="22" y="293"/>
                  </a:lnTo>
                  <a:lnTo>
                    <a:pt x="23" y="287"/>
                  </a:lnTo>
                  <a:lnTo>
                    <a:pt x="25" y="285"/>
                  </a:lnTo>
                  <a:lnTo>
                    <a:pt x="25" y="280"/>
                  </a:lnTo>
                  <a:lnTo>
                    <a:pt x="26" y="271"/>
                  </a:lnTo>
                  <a:lnTo>
                    <a:pt x="26" y="262"/>
                  </a:lnTo>
                  <a:lnTo>
                    <a:pt x="27" y="255"/>
                  </a:lnTo>
                  <a:lnTo>
                    <a:pt x="27" y="249"/>
                  </a:lnTo>
                  <a:lnTo>
                    <a:pt x="22" y="230"/>
                  </a:lnTo>
                  <a:lnTo>
                    <a:pt x="19" y="222"/>
                  </a:lnTo>
                  <a:lnTo>
                    <a:pt x="18" y="216"/>
                  </a:lnTo>
                  <a:lnTo>
                    <a:pt x="15" y="209"/>
                  </a:lnTo>
                  <a:lnTo>
                    <a:pt x="8" y="206"/>
                  </a:lnTo>
                  <a:lnTo>
                    <a:pt x="7" y="203"/>
                  </a:lnTo>
                  <a:lnTo>
                    <a:pt x="5" y="200"/>
                  </a:lnTo>
                  <a:lnTo>
                    <a:pt x="2" y="191"/>
                  </a:lnTo>
                  <a:lnTo>
                    <a:pt x="0" y="167"/>
                  </a:lnTo>
                  <a:lnTo>
                    <a:pt x="0" y="150"/>
                  </a:lnTo>
                  <a:lnTo>
                    <a:pt x="1" y="142"/>
                  </a:lnTo>
                  <a:lnTo>
                    <a:pt x="2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13" y="137"/>
                  </a:lnTo>
                  <a:lnTo>
                    <a:pt x="12" y="128"/>
                  </a:lnTo>
                  <a:lnTo>
                    <a:pt x="12" y="115"/>
                  </a:lnTo>
                  <a:lnTo>
                    <a:pt x="13" y="99"/>
                  </a:lnTo>
                  <a:lnTo>
                    <a:pt x="15" y="84"/>
                  </a:lnTo>
                  <a:lnTo>
                    <a:pt x="16" y="71"/>
                  </a:lnTo>
                  <a:lnTo>
                    <a:pt x="20" y="56"/>
                  </a:lnTo>
                  <a:lnTo>
                    <a:pt x="28" y="39"/>
                  </a:lnTo>
                  <a:lnTo>
                    <a:pt x="37" y="25"/>
                  </a:lnTo>
                  <a:lnTo>
                    <a:pt x="47" y="15"/>
                  </a:lnTo>
                  <a:lnTo>
                    <a:pt x="57" y="8"/>
                  </a:lnTo>
                  <a:lnTo>
                    <a:pt x="71" y="5"/>
                  </a:lnTo>
                  <a:lnTo>
                    <a:pt x="86" y="1"/>
                  </a:lnTo>
                  <a:lnTo>
                    <a:pt x="1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7" name="Freeform 9"/>
            <p:cNvSpPr>
              <a:spLocks noEditPoints="1"/>
            </p:cNvSpPr>
            <p:nvPr/>
          </p:nvSpPr>
          <p:spPr bwMode="auto">
            <a:xfrm>
              <a:off x="1536700" y="1343025"/>
              <a:ext cx="939800" cy="3003550"/>
            </a:xfrm>
            <a:custGeom>
              <a:avLst/>
              <a:gdLst/>
              <a:ahLst/>
              <a:cxnLst>
                <a:cxn ang="0">
                  <a:pos x="116" y="936"/>
                </a:cxn>
                <a:cxn ang="0">
                  <a:pos x="116" y="887"/>
                </a:cxn>
                <a:cxn ang="0">
                  <a:pos x="241" y="8"/>
                </a:cxn>
                <a:cxn ang="0">
                  <a:pos x="253" y="83"/>
                </a:cxn>
                <a:cxn ang="0">
                  <a:pos x="328" y="333"/>
                </a:cxn>
                <a:cxn ang="0">
                  <a:pos x="320" y="475"/>
                </a:cxn>
                <a:cxn ang="0">
                  <a:pos x="362" y="625"/>
                </a:cxn>
                <a:cxn ang="0">
                  <a:pos x="366" y="594"/>
                </a:cxn>
                <a:cxn ang="0">
                  <a:pos x="350" y="433"/>
                </a:cxn>
                <a:cxn ang="0">
                  <a:pos x="325" y="246"/>
                </a:cxn>
                <a:cxn ang="0">
                  <a:pos x="327" y="138"/>
                </a:cxn>
                <a:cxn ang="0">
                  <a:pos x="363" y="97"/>
                </a:cxn>
                <a:cxn ang="0">
                  <a:pos x="369" y="172"/>
                </a:cxn>
                <a:cxn ang="0">
                  <a:pos x="416" y="272"/>
                </a:cxn>
                <a:cxn ang="0">
                  <a:pos x="452" y="454"/>
                </a:cxn>
                <a:cxn ang="0">
                  <a:pos x="461" y="607"/>
                </a:cxn>
                <a:cxn ang="0">
                  <a:pos x="503" y="623"/>
                </a:cxn>
                <a:cxn ang="0">
                  <a:pos x="485" y="510"/>
                </a:cxn>
                <a:cxn ang="0">
                  <a:pos x="454" y="366"/>
                </a:cxn>
                <a:cxn ang="0">
                  <a:pos x="431" y="187"/>
                </a:cxn>
                <a:cxn ang="0">
                  <a:pos x="403" y="67"/>
                </a:cxn>
                <a:cxn ang="0">
                  <a:pos x="416" y="40"/>
                </a:cxn>
                <a:cxn ang="0">
                  <a:pos x="531" y="83"/>
                </a:cxn>
                <a:cxn ang="0">
                  <a:pos x="558" y="193"/>
                </a:cxn>
                <a:cxn ang="0">
                  <a:pos x="578" y="365"/>
                </a:cxn>
                <a:cxn ang="0">
                  <a:pos x="592" y="493"/>
                </a:cxn>
                <a:cxn ang="0">
                  <a:pos x="585" y="603"/>
                </a:cxn>
                <a:cxn ang="0">
                  <a:pos x="576" y="752"/>
                </a:cxn>
                <a:cxn ang="0">
                  <a:pos x="573" y="846"/>
                </a:cxn>
                <a:cxn ang="0">
                  <a:pos x="539" y="1024"/>
                </a:cxn>
                <a:cxn ang="0">
                  <a:pos x="498" y="1166"/>
                </a:cxn>
                <a:cxn ang="0">
                  <a:pos x="473" y="1239"/>
                </a:cxn>
                <a:cxn ang="0">
                  <a:pos x="449" y="1322"/>
                </a:cxn>
                <a:cxn ang="0">
                  <a:pos x="422" y="1410"/>
                </a:cxn>
                <a:cxn ang="0">
                  <a:pos x="373" y="1531"/>
                </a:cxn>
                <a:cxn ang="0">
                  <a:pos x="386" y="1622"/>
                </a:cxn>
                <a:cxn ang="0">
                  <a:pos x="384" y="1748"/>
                </a:cxn>
                <a:cxn ang="0">
                  <a:pos x="357" y="1805"/>
                </a:cxn>
                <a:cxn ang="0">
                  <a:pos x="380" y="1878"/>
                </a:cxn>
                <a:cxn ang="0">
                  <a:pos x="279" y="1888"/>
                </a:cxn>
                <a:cxn ang="0">
                  <a:pos x="258" y="1823"/>
                </a:cxn>
                <a:cxn ang="0">
                  <a:pos x="267" y="1734"/>
                </a:cxn>
                <a:cxn ang="0">
                  <a:pos x="250" y="1662"/>
                </a:cxn>
                <a:cxn ang="0">
                  <a:pos x="228" y="1568"/>
                </a:cxn>
                <a:cxn ang="0">
                  <a:pos x="210" y="1443"/>
                </a:cxn>
                <a:cxn ang="0">
                  <a:pos x="198" y="1253"/>
                </a:cxn>
                <a:cxn ang="0">
                  <a:pos x="184" y="1063"/>
                </a:cxn>
                <a:cxn ang="0">
                  <a:pos x="155" y="926"/>
                </a:cxn>
                <a:cxn ang="0">
                  <a:pos x="139" y="964"/>
                </a:cxn>
                <a:cxn ang="0">
                  <a:pos x="144" y="980"/>
                </a:cxn>
                <a:cxn ang="0">
                  <a:pos x="108" y="974"/>
                </a:cxn>
                <a:cxn ang="0">
                  <a:pos x="83" y="964"/>
                </a:cxn>
                <a:cxn ang="0">
                  <a:pos x="50" y="911"/>
                </a:cxn>
                <a:cxn ang="0">
                  <a:pos x="19" y="845"/>
                </a:cxn>
                <a:cxn ang="0">
                  <a:pos x="5" y="657"/>
                </a:cxn>
                <a:cxn ang="0">
                  <a:pos x="7" y="476"/>
                </a:cxn>
                <a:cxn ang="0">
                  <a:pos x="13" y="225"/>
                </a:cxn>
                <a:cxn ang="0">
                  <a:pos x="39" y="110"/>
                </a:cxn>
                <a:cxn ang="0">
                  <a:pos x="153" y="58"/>
                </a:cxn>
                <a:cxn ang="0">
                  <a:pos x="242" y="2"/>
                </a:cxn>
              </a:cxnLst>
              <a:rect l="0" t="0" r="r" b="b"/>
              <a:pathLst>
                <a:path w="592" h="1892">
                  <a:moveTo>
                    <a:pt x="116" y="887"/>
                  </a:moveTo>
                  <a:lnTo>
                    <a:pt x="115" y="892"/>
                  </a:lnTo>
                  <a:lnTo>
                    <a:pt x="112" y="899"/>
                  </a:lnTo>
                  <a:lnTo>
                    <a:pt x="111" y="908"/>
                  </a:lnTo>
                  <a:lnTo>
                    <a:pt x="111" y="915"/>
                  </a:lnTo>
                  <a:lnTo>
                    <a:pt x="112" y="926"/>
                  </a:lnTo>
                  <a:lnTo>
                    <a:pt x="115" y="935"/>
                  </a:lnTo>
                  <a:lnTo>
                    <a:pt x="116" y="936"/>
                  </a:lnTo>
                  <a:lnTo>
                    <a:pt x="117" y="935"/>
                  </a:lnTo>
                  <a:lnTo>
                    <a:pt x="117" y="933"/>
                  </a:lnTo>
                  <a:lnTo>
                    <a:pt x="118" y="931"/>
                  </a:lnTo>
                  <a:lnTo>
                    <a:pt x="118" y="921"/>
                  </a:lnTo>
                  <a:lnTo>
                    <a:pt x="117" y="910"/>
                  </a:lnTo>
                  <a:lnTo>
                    <a:pt x="117" y="900"/>
                  </a:lnTo>
                  <a:lnTo>
                    <a:pt x="116" y="890"/>
                  </a:lnTo>
                  <a:lnTo>
                    <a:pt x="116" y="887"/>
                  </a:lnTo>
                  <a:close/>
                  <a:moveTo>
                    <a:pt x="383" y="632"/>
                  </a:moveTo>
                  <a:lnTo>
                    <a:pt x="388" y="633"/>
                  </a:lnTo>
                  <a:lnTo>
                    <a:pt x="395" y="635"/>
                  </a:lnTo>
                  <a:lnTo>
                    <a:pt x="383" y="632"/>
                  </a:lnTo>
                  <a:close/>
                  <a:moveTo>
                    <a:pt x="245" y="0"/>
                  </a:moveTo>
                  <a:lnTo>
                    <a:pt x="243" y="1"/>
                  </a:lnTo>
                  <a:lnTo>
                    <a:pt x="243" y="3"/>
                  </a:lnTo>
                  <a:lnTo>
                    <a:pt x="241" y="8"/>
                  </a:lnTo>
                  <a:lnTo>
                    <a:pt x="240" y="11"/>
                  </a:lnTo>
                  <a:lnTo>
                    <a:pt x="239" y="14"/>
                  </a:lnTo>
                  <a:lnTo>
                    <a:pt x="238" y="22"/>
                  </a:lnTo>
                  <a:lnTo>
                    <a:pt x="239" y="33"/>
                  </a:lnTo>
                  <a:lnTo>
                    <a:pt x="241" y="46"/>
                  </a:lnTo>
                  <a:lnTo>
                    <a:pt x="243" y="58"/>
                  </a:lnTo>
                  <a:lnTo>
                    <a:pt x="248" y="72"/>
                  </a:lnTo>
                  <a:lnTo>
                    <a:pt x="253" y="83"/>
                  </a:lnTo>
                  <a:lnTo>
                    <a:pt x="279" y="164"/>
                  </a:lnTo>
                  <a:lnTo>
                    <a:pt x="285" y="183"/>
                  </a:lnTo>
                  <a:lnTo>
                    <a:pt x="292" y="205"/>
                  </a:lnTo>
                  <a:lnTo>
                    <a:pt x="299" y="231"/>
                  </a:lnTo>
                  <a:lnTo>
                    <a:pt x="313" y="280"/>
                  </a:lnTo>
                  <a:lnTo>
                    <a:pt x="319" y="302"/>
                  </a:lnTo>
                  <a:lnTo>
                    <a:pt x="325" y="321"/>
                  </a:lnTo>
                  <a:lnTo>
                    <a:pt x="328" y="333"/>
                  </a:lnTo>
                  <a:lnTo>
                    <a:pt x="334" y="354"/>
                  </a:lnTo>
                  <a:lnTo>
                    <a:pt x="336" y="373"/>
                  </a:lnTo>
                  <a:lnTo>
                    <a:pt x="337" y="389"/>
                  </a:lnTo>
                  <a:lnTo>
                    <a:pt x="335" y="407"/>
                  </a:lnTo>
                  <a:lnTo>
                    <a:pt x="333" y="416"/>
                  </a:lnTo>
                  <a:lnTo>
                    <a:pt x="329" y="431"/>
                  </a:lnTo>
                  <a:lnTo>
                    <a:pt x="326" y="452"/>
                  </a:lnTo>
                  <a:lnTo>
                    <a:pt x="320" y="475"/>
                  </a:lnTo>
                  <a:lnTo>
                    <a:pt x="308" y="531"/>
                  </a:lnTo>
                  <a:lnTo>
                    <a:pt x="303" y="560"/>
                  </a:lnTo>
                  <a:lnTo>
                    <a:pt x="297" y="587"/>
                  </a:lnTo>
                  <a:lnTo>
                    <a:pt x="291" y="612"/>
                  </a:lnTo>
                  <a:lnTo>
                    <a:pt x="313" y="617"/>
                  </a:lnTo>
                  <a:lnTo>
                    <a:pt x="336" y="623"/>
                  </a:lnTo>
                  <a:lnTo>
                    <a:pt x="359" y="628"/>
                  </a:lnTo>
                  <a:lnTo>
                    <a:pt x="362" y="625"/>
                  </a:lnTo>
                  <a:lnTo>
                    <a:pt x="369" y="625"/>
                  </a:lnTo>
                  <a:lnTo>
                    <a:pt x="387" y="626"/>
                  </a:lnTo>
                  <a:lnTo>
                    <a:pt x="380" y="619"/>
                  </a:lnTo>
                  <a:lnTo>
                    <a:pt x="374" y="615"/>
                  </a:lnTo>
                  <a:lnTo>
                    <a:pt x="370" y="611"/>
                  </a:lnTo>
                  <a:lnTo>
                    <a:pt x="369" y="609"/>
                  </a:lnTo>
                  <a:lnTo>
                    <a:pt x="367" y="604"/>
                  </a:lnTo>
                  <a:lnTo>
                    <a:pt x="366" y="594"/>
                  </a:lnTo>
                  <a:lnTo>
                    <a:pt x="365" y="578"/>
                  </a:lnTo>
                  <a:lnTo>
                    <a:pt x="363" y="559"/>
                  </a:lnTo>
                  <a:lnTo>
                    <a:pt x="360" y="537"/>
                  </a:lnTo>
                  <a:lnTo>
                    <a:pt x="359" y="515"/>
                  </a:lnTo>
                  <a:lnTo>
                    <a:pt x="356" y="492"/>
                  </a:lnTo>
                  <a:lnTo>
                    <a:pt x="354" y="469"/>
                  </a:lnTo>
                  <a:lnTo>
                    <a:pt x="352" y="450"/>
                  </a:lnTo>
                  <a:lnTo>
                    <a:pt x="350" y="433"/>
                  </a:lnTo>
                  <a:lnTo>
                    <a:pt x="348" y="415"/>
                  </a:lnTo>
                  <a:lnTo>
                    <a:pt x="345" y="393"/>
                  </a:lnTo>
                  <a:lnTo>
                    <a:pt x="342" y="368"/>
                  </a:lnTo>
                  <a:lnTo>
                    <a:pt x="335" y="317"/>
                  </a:lnTo>
                  <a:lnTo>
                    <a:pt x="332" y="294"/>
                  </a:lnTo>
                  <a:lnTo>
                    <a:pt x="328" y="273"/>
                  </a:lnTo>
                  <a:lnTo>
                    <a:pt x="326" y="257"/>
                  </a:lnTo>
                  <a:lnTo>
                    <a:pt x="325" y="246"/>
                  </a:lnTo>
                  <a:lnTo>
                    <a:pt x="321" y="229"/>
                  </a:lnTo>
                  <a:lnTo>
                    <a:pt x="319" y="215"/>
                  </a:lnTo>
                  <a:lnTo>
                    <a:pt x="319" y="200"/>
                  </a:lnTo>
                  <a:lnTo>
                    <a:pt x="320" y="183"/>
                  </a:lnTo>
                  <a:lnTo>
                    <a:pt x="321" y="172"/>
                  </a:lnTo>
                  <a:lnTo>
                    <a:pt x="323" y="164"/>
                  </a:lnTo>
                  <a:lnTo>
                    <a:pt x="326" y="150"/>
                  </a:lnTo>
                  <a:lnTo>
                    <a:pt x="327" y="138"/>
                  </a:lnTo>
                  <a:lnTo>
                    <a:pt x="328" y="127"/>
                  </a:lnTo>
                  <a:lnTo>
                    <a:pt x="329" y="118"/>
                  </a:lnTo>
                  <a:lnTo>
                    <a:pt x="329" y="115"/>
                  </a:lnTo>
                  <a:lnTo>
                    <a:pt x="341" y="82"/>
                  </a:lnTo>
                  <a:lnTo>
                    <a:pt x="349" y="82"/>
                  </a:lnTo>
                  <a:lnTo>
                    <a:pt x="356" y="84"/>
                  </a:lnTo>
                  <a:lnTo>
                    <a:pt x="358" y="87"/>
                  </a:lnTo>
                  <a:lnTo>
                    <a:pt x="363" y="97"/>
                  </a:lnTo>
                  <a:lnTo>
                    <a:pt x="364" y="105"/>
                  </a:lnTo>
                  <a:lnTo>
                    <a:pt x="362" y="114"/>
                  </a:lnTo>
                  <a:lnTo>
                    <a:pt x="358" y="121"/>
                  </a:lnTo>
                  <a:lnTo>
                    <a:pt x="355" y="126"/>
                  </a:lnTo>
                  <a:lnTo>
                    <a:pt x="355" y="132"/>
                  </a:lnTo>
                  <a:lnTo>
                    <a:pt x="358" y="146"/>
                  </a:lnTo>
                  <a:lnTo>
                    <a:pt x="364" y="160"/>
                  </a:lnTo>
                  <a:lnTo>
                    <a:pt x="369" y="172"/>
                  </a:lnTo>
                  <a:lnTo>
                    <a:pt x="372" y="177"/>
                  </a:lnTo>
                  <a:lnTo>
                    <a:pt x="377" y="187"/>
                  </a:lnTo>
                  <a:lnTo>
                    <a:pt x="384" y="200"/>
                  </a:lnTo>
                  <a:lnTo>
                    <a:pt x="392" y="215"/>
                  </a:lnTo>
                  <a:lnTo>
                    <a:pt x="399" y="230"/>
                  </a:lnTo>
                  <a:lnTo>
                    <a:pt x="407" y="245"/>
                  </a:lnTo>
                  <a:lnTo>
                    <a:pt x="413" y="260"/>
                  </a:lnTo>
                  <a:lnTo>
                    <a:pt x="416" y="272"/>
                  </a:lnTo>
                  <a:lnTo>
                    <a:pt x="420" y="287"/>
                  </a:lnTo>
                  <a:lnTo>
                    <a:pt x="424" y="307"/>
                  </a:lnTo>
                  <a:lnTo>
                    <a:pt x="436" y="355"/>
                  </a:lnTo>
                  <a:lnTo>
                    <a:pt x="440" y="381"/>
                  </a:lnTo>
                  <a:lnTo>
                    <a:pt x="445" y="403"/>
                  </a:lnTo>
                  <a:lnTo>
                    <a:pt x="447" y="422"/>
                  </a:lnTo>
                  <a:lnTo>
                    <a:pt x="450" y="436"/>
                  </a:lnTo>
                  <a:lnTo>
                    <a:pt x="452" y="454"/>
                  </a:lnTo>
                  <a:lnTo>
                    <a:pt x="454" y="474"/>
                  </a:lnTo>
                  <a:lnTo>
                    <a:pt x="458" y="496"/>
                  </a:lnTo>
                  <a:lnTo>
                    <a:pt x="460" y="517"/>
                  </a:lnTo>
                  <a:lnTo>
                    <a:pt x="462" y="537"/>
                  </a:lnTo>
                  <a:lnTo>
                    <a:pt x="464" y="553"/>
                  </a:lnTo>
                  <a:lnTo>
                    <a:pt x="465" y="566"/>
                  </a:lnTo>
                  <a:lnTo>
                    <a:pt x="465" y="595"/>
                  </a:lnTo>
                  <a:lnTo>
                    <a:pt x="461" y="607"/>
                  </a:lnTo>
                  <a:lnTo>
                    <a:pt x="458" y="615"/>
                  </a:lnTo>
                  <a:lnTo>
                    <a:pt x="452" y="625"/>
                  </a:lnTo>
                  <a:lnTo>
                    <a:pt x="445" y="637"/>
                  </a:lnTo>
                  <a:lnTo>
                    <a:pt x="490" y="637"/>
                  </a:lnTo>
                  <a:lnTo>
                    <a:pt x="494" y="636"/>
                  </a:lnTo>
                  <a:lnTo>
                    <a:pt x="497" y="633"/>
                  </a:lnTo>
                  <a:lnTo>
                    <a:pt x="500" y="632"/>
                  </a:lnTo>
                  <a:lnTo>
                    <a:pt x="503" y="623"/>
                  </a:lnTo>
                  <a:lnTo>
                    <a:pt x="507" y="616"/>
                  </a:lnTo>
                  <a:lnTo>
                    <a:pt x="507" y="608"/>
                  </a:lnTo>
                  <a:lnTo>
                    <a:pt x="505" y="602"/>
                  </a:lnTo>
                  <a:lnTo>
                    <a:pt x="502" y="590"/>
                  </a:lnTo>
                  <a:lnTo>
                    <a:pt x="498" y="575"/>
                  </a:lnTo>
                  <a:lnTo>
                    <a:pt x="495" y="555"/>
                  </a:lnTo>
                  <a:lnTo>
                    <a:pt x="490" y="533"/>
                  </a:lnTo>
                  <a:lnTo>
                    <a:pt x="485" y="510"/>
                  </a:lnTo>
                  <a:lnTo>
                    <a:pt x="480" y="487"/>
                  </a:lnTo>
                  <a:lnTo>
                    <a:pt x="474" y="464"/>
                  </a:lnTo>
                  <a:lnTo>
                    <a:pt x="469" y="441"/>
                  </a:lnTo>
                  <a:lnTo>
                    <a:pt x="466" y="423"/>
                  </a:lnTo>
                  <a:lnTo>
                    <a:pt x="462" y="408"/>
                  </a:lnTo>
                  <a:lnTo>
                    <a:pt x="460" y="397"/>
                  </a:lnTo>
                  <a:lnTo>
                    <a:pt x="458" y="385"/>
                  </a:lnTo>
                  <a:lnTo>
                    <a:pt x="454" y="366"/>
                  </a:lnTo>
                  <a:lnTo>
                    <a:pt x="451" y="341"/>
                  </a:lnTo>
                  <a:lnTo>
                    <a:pt x="447" y="316"/>
                  </a:lnTo>
                  <a:lnTo>
                    <a:pt x="444" y="288"/>
                  </a:lnTo>
                  <a:lnTo>
                    <a:pt x="440" y="261"/>
                  </a:lnTo>
                  <a:lnTo>
                    <a:pt x="437" y="236"/>
                  </a:lnTo>
                  <a:lnTo>
                    <a:pt x="435" y="214"/>
                  </a:lnTo>
                  <a:lnTo>
                    <a:pt x="432" y="197"/>
                  </a:lnTo>
                  <a:lnTo>
                    <a:pt x="431" y="187"/>
                  </a:lnTo>
                  <a:lnTo>
                    <a:pt x="429" y="176"/>
                  </a:lnTo>
                  <a:lnTo>
                    <a:pt x="427" y="161"/>
                  </a:lnTo>
                  <a:lnTo>
                    <a:pt x="422" y="144"/>
                  </a:lnTo>
                  <a:lnTo>
                    <a:pt x="417" y="125"/>
                  </a:lnTo>
                  <a:lnTo>
                    <a:pt x="414" y="107"/>
                  </a:lnTo>
                  <a:lnTo>
                    <a:pt x="409" y="89"/>
                  </a:lnTo>
                  <a:lnTo>
                    <a:pt x="406" y="76"/>
                  </a:lnTo>
                  <a:lnTo>
                    <a:pt x="403" y="67"/>
                  </a:lnTo>
                  <a:lnTo>
                    <a:pt x="402" y="64"/>
                  </a:lnTo>
                  <a:lnTo>
                    <a:pt x="401" y="57"/>
                  </a:lnTo>
                  <a:lnTo>
                    <a:pt x="399" y="46"/>
                  </a:lnTo>
                  <a:lnTo>
                    <a:pt x="396" y="38"/>
                  </a:lnTo>
                  <a:lnTo>
                    <a:pt x="395" y="32"/>
                  </a:lnTo>
                  <a:lnTo>
                    <a:pt x="396" y="31"/>
                  </a:lnTo>
                  <a:lnTo>
                    <a:pt x="400" y="32"/>
                  </a:lnTo>
                  <a:lnTo>
                    <a:pt x="416" y="40"/>
                  </a:lnTo>
                  <a:lnTo>
                    <a:pt x="427" y="45"/>
                  </a:lnTo>
                  <a:lnTo>
                    <a:pt x="437" y="48"/>
                  </a:lnTo>
                  <a:lnTo>
                    <a:pt x="452" y="54"/>
                  </a:lnTo>
                  <a:lnTo>
                    <a:pt x="469" y="60"/>
                  </a:lnTo>
                  <a:lnTo>
                    <a:pt x="488" y="67"/>
                  </a:lnTo>
                  <a:lnTo>
                    <a:pt x="507" y="73"/>
                  </a:lnTo>
                  <a:lnTo>
                    <a:pt x="520" y="79"/>
                  </a:lnTo>
                  <a:lnTo>
                    <a:pt x="531" y="83"/>
                  </a:lnTo>
                  <a:lnTo>
                    <a:pt x="540" y="91"/>
                  </a:lnTo>
                  <a:lnTo>
                    <a:pt x="545" y="101"/>
                  </a:lnTo>
                  <a:lnTo>
                    <a:pt x="547" y="112"/>
                  </a:lnTo>
                  <a:lnTo>
                    <a:pt x="548" y="126"/>
                  </a:lnTo>
                  <a:lnTo>
                    <a:pt x="549" y="136"/>
                  </a:lnTo>
                  <a:lnTo>
                    <a:pt x="552" y="151"/>
                  </a:lnTo>
                  <a:lnTo>
                    <a:pt x="554" y="169"/>
                  </a:lnTo>
                  <a:lnTo>
                    <a:pt x="558" y="193"/>
                  </a:lnTo>
                  <a:lnTo>
                    <a:pt x="560" y="218"/>
                  </a:lnTo>
                  <a:lnTo>
                    <a:pt x="563" y="244"/>
                  </a:lnTo>
                  <a:lnTo>
                    <a:pt x="567" y="271"/>
                  </a:lnTo>
                  <a:lnTo>
                    <a:pt x="569" y="295"/>
                  </a:lnTo>
                  <a:lnTo>
                    <a:pt x="573" y="317"/>
                  </a:lnTo>
                  <a:lnTo>
                    <a:pt x="575" y="336"/>
                  </a:lnTo>
                  <a:lnTo>
                    <a:pt x="576" y="348"/>
                  </a:lnTo>
                  <a:lnTo>
                    <a:pt x="578" y="365"/>
                  </a:lnTo>
                  <a:lnTo>
                    <a:pt x="581" y="385"/>
                  </a:lnTo>
                  <a:lnTo>
                    <a:pt x="583" y="407"/>
                  </a:lnTo>
                  <a:lnTo>
                    <a:pt x="585" y="428"/>
                  </a:lnTo>
                  <a:lnTo>
                    <a:pt x="588" y="446"/>
                  </a:lnTo>
                  <a:lnTo>
                    <a:pt x="590" y="462"/>
                  </a:lnTo>
                  <a:lnTo>
                    <a:pt x="591" y="474"/>
                  </a:lnTo>
                  <a:lnTo>
                    <a:pt x="592" y="480"/>
                  </a:lnTo>
                  <a:lnTo>
                    <a:pt x="592" y="493"/>
                  </a:lnTo>
                  <a:lnTo>
                    <a:pt x="590" y="503"/>
                  </a:lnTo>
                  <a:lnTo>
                    <a:pt x="589" y="514"/>
                  </a:lnTo>
                  <a:lnTo>
                    <a:pt x="588" y="522"/>
                  </a:lnTo>
                  <a:lnTo>
                    <a:pt x="588" y="531"/>
                  </a:lnTo>
                  <a:lnTo>
                    <a:pt x="587" y="547"/>
                  </a:lnTo>
                  <a:lnTo>
                    <a:pt x="587" y="566"/>
                  </a:lnTo>
                  <a:lnTo>
                    <a:pt x="585" y="586"/>
                  </a:lnTo>
                  <a:lnTo>
                    <a:pt x="585" y="603"/>
                  </a:lnTo>
                  <a:lnTo>
                    <a:pt x="584" y="617"/>
                  </a:lnTo>
                  <a:lnTo>
                    <a:pt x="581" y="637"/>
                  </a:lnTo>
                  <a:lnTo>
                    <a:pt x="578" y="652"/>
                  </a:lnTo>
                  <a:lnTo>
                    <a:pt x="578" y="673"/>
                  </a:lnTo>
                  <a:lnTo>
                    <a:pt x="580" y="686"/>
                  </a:lnTo>
                  <a:lnTo>
                    <a:pt x="580" y="746"/>
                  </a:lnTo>
                  <a:lnTo>
                    <a:pt x="577" y="751"/>
                  </a:lnTo>
                  <a:lnTo>
                    <a:pt x="576" y="752"/>
                  </a:lnTo>
                  <a:lnTo>
                    <a:pt x="574" y="752"/>
                  </a:lnTo>
                  <a:lnTo>
                    <a:pt x="577" y="762"/>
                  </a:lnTo>
                  <a:lnTo>
                    <a:pt x="578" y="772"/>
                  </a:lnTo>
                  <a:lnTo>
                    <a:pt x="577" y="783"/>
                  </a:lnTo>
                  <a:lnTo>
                    <a:pt x="575" y="797"/>
                  </a:lnTo>
                  <a:lnTo>
                    <a:pt x="574" y="811"/>
                  </a:lnTo>
                  <a:lnTo>
                    <a:pt x="573" y="824"/>
                  </a:lnTo>
                  <a:lnTo>
                    <a:pt x="573" y="846"/>
                  </a:lnTo>
                  <a:lnTo>
                    <a:pt x="571" y="872"/>
                  </a:lnTo>
                  <a:lnTo>
                    <a:pt x="570" y="902"/>
                  </a:lnTo>
                  <a:lnTo>
                    <a:pt x="566" y="931"/>
                  </a:lnTo>
                  <a:lnTo>
                    <a:pt x="559" y="958"/>
                  </a:lnTo>
                  <a:lnTo>
                    <a:pt x="552" y="982"/>
                  </a:lnTo>
                  <a:lnTo>
                    <a:pt x="548" y="992"/>
                  </a:lnTo>
                  <a:lnTo>
                    <a:pt x="545" y="1006"/>
                  </a:lnTo>
                  <a:lnTo>
                    <a:pt x="539" y="1024"/>
                  </a:lnTo>
                  <a:lnTo>
                    <a:pt x="533" y="1045"/>
                  </a:lnTo>
                  <a:lnTo>
                    <a:pt x="527" y="1067"/>
                  </a:lnTo>
                  <a:lnTo>
                    <a:pt x="520" y="1089"/>
                  </a:lnTo>
                  <a:lnTo>
                    <a:pt x="515" y="1111"/>
                  </a:lnTo>
                  <a:lnTo>
                    <a:pt x="509" y="1131"/>
                  </a:lnTo>
                  <a:lnTo>
                    <a:pt x="504" y="1147"/>
                  </a:lnTo>
                  <a:lnTo>
                    <a:pt x="501" y="1159"/>
                  </a:lnTo>
                  <a:lnTo>
                    <a:pt x="498" y="1166"/>
                  </a:lnTo>
                  <a:lnTo>
                    <a:pt x="496" y="1175"/>
                  </a:lnTo>
                  <a:lnTo>
                    <a:pt x="496" y="1184"/>
                  </a:lnTo>
                  <a:lnTo>
                    <a:pt x="495" y="1192"/>
                  </a:lnTo>
                  <a:lnTo>
                    <a:pt x="491" y="1197"/>
                  </a:lnTo>
                  <a:lnTo>
                    <a:pt x="487" y="1203"/>
                  </a:lnTo>
                  <a:lnTo>
                    <a:pt x="482" y="1214"/>
                  </a:lnTo>
                  <a:lnTo>
                    <a:pt x="476" y="1227"/>
                  </a:lnTo>
                  <a:lnTo>
                    <a:pt x="473" y="1239"/>
                  </a:lnTo>
                  <a:lnTo>
                    <a:pt x="471" y="1249"/>
                  </a:lnTo>
                  <a:lnTo>
                    <a:pt x="464" y="1272"/>
                  </a:lnTo>
                  <a:lnTo>
                    <a:pt x="459" y="1282"/>
                  </a:lnTo>
                  <a:lnTo>
                    <a:pt x="454" y="1289"/>
                  </a:lnTo>
                  <a:lnTo>
                    <a:pt x="451" y="1296"/>
                  </a:lnTo>
                  <a:lnTo>
                    <a:pt x="450" y="1304"/>
                  </a:lnTo>
                  <a:lnTo>
                    <a:pt x="450" y="1315"/>
                  </a:lnTo>
                  <a:lnTo>
                    <a:pt x="449" y="1322"/>
                  </a:lnTo>
                  <a:lnTo>
                    <a:pt x="447" y="1328"/>
                  </a:lnTo>
                  <a:lnTo>
                    <a:pt x="447" y="1330"/>
                  </a:lnTo>
                  <a:lnTo>
                    <a:pt x="445" y="1338"/>
                  </a:lnTo>
                  <a:lnTo>
                    <a:pt x="442" y="1351"/>
                  </a:lnTo>
                  <a:lnTo>
                    <a:pt x="437" y="1365"/>
                  </a:lnTo>
                  <a:lnTo>
                    <a:pt x="432" y="1381"/>
                  </a:lnTo>
                  <a:lnTo>
                    <a:pt x="427" y="1396"/>
                  </a:lnTo>
                  <a:lnTo>
                    <a:pt x="422" y="1410"/>
                  </a:lnTo>
                  <a:lnTo>
                    <a:pt x="417" y="1421"/>
                  </a:lnTo>
                  <a:lnTo>
                    <a:pt x="411" y="1436"/>
                  </a:lnTo>
                  <a:lnTo>
                    <a:pt x="405" y="1452"/>
                  </a:lnTo>
                  <a:lnTo>
                    <a:pt x="398" y="1471"/>
                  </a:lnTo>
                  <a:lnTo>
                    <a:pt x="389" y="1489"/>
                  </a:lnTo>
                  <a:lnTo>
                    <a:pt x="384" y="1507"/>
                  </a:lnTo>
                  <a:lnTo>
                    <a:pt x="378" y="1521"/>
                  </a:lnTo>
                  <a:lnTo>
                    <a:pt x="373" y="1531"/>
                  </a:lnTo>
                  <a:lnTo>
                    <a:pt x="372" y="1537"/>
                  </a:lnTo>
                  <a:lnTo>
                    <a:pt x="372" y="1543"/>
                  </a:lnTo>
                  <a:lnTo>
                    <a:pt x="373" y="1553"/>
                  </a:lnTo>
                  <a:lnTo>
                    <a:pt x="376" y="1566"/>
                  </a:lnTo>
                  <a:lnTo>
                    <a:pt x="378" y="1581"/>
                  </a:lnTo>
                  <a:lnTo>
                    <a:pt x="381" y="1596"/>
                  </a:lnTo>
                  <a:lnTo>
                    <a:pt x="384" y="1610"/>
                  </a:lnTo>
                  <a:lnTo>
                    <a:pt x="386" y="1622"/>
                  </a:lnTo>
                  <a:lnTo>
                    <a:pt x="388" y="1629"/>
                  </a:lnTo>
                  <a:lnTo>
                    <a:pt x="389" y="1637"/>
                  </a:lnTo>
                  <a:lnTo>
                    <a:pt x="391" y="1649"/>
                  </a:lnTo>
                  <a:lnTo>
                    <a:pt x="389" y="1664"/>
                  </a:lnTo>
                  <a:lnTo>
                    <a:pt x="389" y="1686"/>
                  </a:lnTo>
                  <a:lnTo>
                    <a:pt x="388" y="1705"/>
                  </a:lnTo>
                  <a:lnTo>
                    <a:pt x="386" y="1727"/>
                  </a:lnTo>
                  <a:lnTo>
                    <a:pt x="384" y="1748"/>
                  </a:lnTo>
                  <a:lnTo>
                    <a:pt x="380" y="1767"/>
                  </a:lnTo>
                  <a:lnTo>
                    <a:pt x="377" y="1782"/>
                  </a:lnTo>
                  <a:lnTo>
                    <a:pt x="372" y="1792"/>
                  </a:lnTo>
                  <a:lnTo>
                    <a:pt x="367" y="1796"/>
                  </a:lnTo>
                  <a:lnTo>
                    <a:pt x="363" y="1796"/>
                  </a:lnTo>
                  <a:lnTo>
                    <a:pt x="351" y="1785"/>
                  </a:lnTo>
                  <a:lnTo>
                    <a:pt x="355" y="1795"/>
                  </a:lnTo>
                  <a:lnTo>
                    <a:pt x="357" y="1805"/>
                  </a:lnTo>
                  <a:lnTo>
                    <a:pt x="358" y="1810"/>
                  </a:lnTo>
                  <a:lnTo>
                    <a:pt x="360" y="1817"/>
                  </a:lnTo>
                  <a:lnTo>
                    <a:pt x="365" y="1827"/>
                  </a:lnTo>
                  <a:lnTo>
                    <a:pt x="370" y="1838"/>
                  </a:lnTo>
                  <a:lnTo>
                    <a:pt x="373" y="1849"/>
                  </a:lnTo>
                  <a:lnTo>
                    <a:pt x="377" y="1858"/>
                  </a:lnTo>
                  <a:lnTo>
                    <a:pt x="380" y="1870"/>
                  </a:lnTo>
                  <a:lnTo>
                    <a:pt x="380" y="1878"/>
                  </a:lnTo>
                  <a:lnTo>
                    <a:pt x="378" y="1882"/>
                  </a:lnTo>
                  <a:lnTo>
                    <a:pt x="373" y="1886"/>
                  </a:lnTo>
                  <a:lnTo>
                    <a:pt x="367" y="1888"/>
                  </a:lnTo>
                  <a:lnTo>
                    <a:pt x="358" y="1891"/>
                  </a:lnTo>
                  <a:lnTo>
                    <a:pt x="344" y="1892"/>
                  </a:lnTo>
                  <a:lnTo>
                    <a:pt x="293" y="1892"/>
                  </a:lnTo>
                  <a:lnTo>
                    <a:pt x="285" y="1891"/>
                  </a:lnTo>
                  <a:lnTo>
                    <a:pt x="279" y="1888"/>
                  </a:lnTo>
                  <a:lnTo>
                    <a:pt x="272" y="1884"/>
                  </a:lnTo>
                  <a:lnTo>
                    <a:pt x="265" y="1878"/>
                  </a:lnTo>
                  <a:lnTo>
                    <a:pt x="258" y="1870"/>
                  </a:lnTo>
                  <a:lnTo>
                    <a:pt x="255" y="1860"/>
                  </a:lnTo>
                  <a:lnTo>
                    <a:pt x="254" y="1850"/>
                  </a:lnTo>
                  <a:lnTo>
                    <a:pt x="255" y="1838"/>
                  </a:lnTo>
                  <a:lnTo>
                    <a:pt x="256" y="1829"/>
                  </a:lnTo>
                  <a:lnTo>
                    <a:pt x="258" y="1823"/>
                  </a:lnTo>
                  <a:lnTo>
                    <a:pt x="262" y="1814"/>
                  </a:lnTo>
                  <a:lnTo>
                    <a:pt x="267" y="1788"/>
                  </a:lnTo>
                  <a:lnTo>
                    <a:pt x="267" y="1785"/>
                  </a:lnTo>
                  <a:lnTo>
                    <a:pt x="268" y="1781"/>
                  </a:lnTo>
                  <a:lnTo>
                    <a:pt x="268" y="1778"/>
                  </a:lnTo>
                  <a:lnTo>
                    <a:pt x="269" y="1773"/>
                  </a:lnTo>
                  <a:lnTo>
                    <a:pt x="267" y="1772"/>
                  </a:lnTo>
                  <a:lnTo>
                    <a:pt x="267" y="1734"/>
                  </a:lnTo>
                  <a:lnTo>
                    <a:pt x="268" y="1725"/>
                  </a:lnTo>
                  <a:lnTo>
                    <a:pt x="261" y="1719"/>
                  </a:lnTo>
                  <a:lnTo>
                    <a:pt x="258" y="1714"/>
                  </a:lnTo>
                  <a:lnTo>
                    <a:pt x="255" y="1705"/>
                  </a:lnTo>
                  <a:lnTo>
                    <a:pt x="253" y="1693"/>
                  </a:lnTo>
                  <a:lnTo>
                    <a:pt x="250" y="1680"/>
                  </a:lnTo>
                  <a:lnTo>
                    <a:pt x="249" y="1670"/>
                  </a:lnTo>
                  <a:lnTo>
                    <a:pt x="250" y="1662"/>
                  </a:lnTo>
                  <a:lnTo>
                    <a:pt x="253" y="1651"/>
                  </a:lnTo>
                  <a:lnTo>
                    <a:pt x="255" y="1639"/>
                  </a:lnTo>
                  <a:lnTo>
                    <a:pt x="248" y="1627"/>
                  </a:lnTo>
                  <a:lnTo>
                    <a:pt x="243" y="1616"/>
                  </a:lnTo>
                  <a:lnTo>
                    <a:pt x="241" y="1609"/>
                  </a:lnTo>
                  <a:lnTo>
                    <a:pt x="236" y="1599"/>
                  </a:lnTo>
                  <a:lnTo>
                    <a:pt x="233" y="1585"/>
                  </a:lnTo>
                  <a:lnTo>
                    <a:pt x="228" y="1568"/>
                  </a:lnTo>
                  <a:lnTo>
                    <a:pt x="224" y="1553"/>
                  </a:lnTo>
                  <a:lnTo>
                    <a:pt x="220" y="1539"/>
                  </a:lnTo>
                  <a:lnTo>
                    <a:pt x="218" y="1528"/>
                  </a:lnTo>
                  <a:lnTo>
                    <a:pt x="217" y="1520"/>
                  </a:lnTo>
                  <a:lnTo>
                    <a:pt x="214" y="1500"/>
                  </a:lnTo>
                  <a:lnTo>
                    <a:pt x="211" y="1481"/>
                  </a:lnTo>
                  <a:lnTo>
                    <a:pt x="210" y="1473"/>
                  </a:lnTo>
                  <a:lnTo>
                    <a:pt x="210" y="1443"/>
                  </a:lnTo>
                  <a:lnTo>
                    <a:pt x="209" y="1424"/>
                  </a:lnTo>
                  <a:lnTo>
                    <a:pt x="209" y="1387"/>
                  </a:lnTo>
                  <a:lnTo>
                    <a:pt x="207" y="1371"/>
                  </a:lnTo>
                  <a:lnTo>
                    <a:pt x="206" y="1358"/>
                  </a:lnTo>
                  <a:lnTo>
                    <a:pt x="205" y="1338"/>
                  </a:lnTo>
                  <a:lnTo>
                    <a:pt x="203" y="1314"/>
                  </a:lnTo>
                  <a:lnTo>
                    <a:pt x="201" y="1285"/>
                  </a:lnTo>
                  <a:lnTo>
                    <a:pt x="198" y="1253"/>
                  </a:lnTo>
                  <a:lnTo>
                    <a:pt x="197" y="1222"/>
                  </a:lnTo>
                  <a:lnTo>
                    <a:pt x="195" y="1190"/>
                  </a:lnTo>
                  <a:lnTo>
                    <a:pt x="192" y="1161"/>
                  </a:lnTo>
                  <a:lnTo>
                    <a:pt x="190" y="1136"/>
                  </a:lnTo>
                  <a:lnTo>
                    <a:pt x="189" y="1115"/>
                  </a:lnTo>
                  <a:lnTo>
                    <a:pt x="188" y="1101"/>
                  </a:lnTo>
                  <a:lnTo>
                    <a:pt x="187" y="1085"/>
                  </a:lnTo>
                  <a:lnTo>
                    <a:pt x="184" y="1063"/>
                  </a:lnTo>
                  <a:lnTo>
                    <a:pt x="182" y="1038"/>
                  </a:lnTo>
                  <a:lnTo>
                    <a:pt x="178" y="1011"/>
                  </a:lnTo>
                  <a:lnTo>
                    <a:pt x="176" y="985"/>
                  </a:lnTo>
                  <a:lnTo>
                    <a:pt x="173" y="959"/>
                  </a:lnTo>
                  <a:lnTo>
                    <a:pt x="172" y="938"/>
                  </a:lnTo>
                  <a:lnTo>
                    <a:pt x="170" y="922"/>
                  </a:lnTo>
                  <a:lnTo>
                    <a:pt x="162" y="925"/>
                  </a:lnTo>
                  <a:lnTo>
                    <a:pt x="155" y="926"/>
                  </a:lnTo>
                  <a:lnTo>
                    <a:pt x="150" y="926"/>
                  </a:lnTo>
                  <a:lnTo>
                    <a:pt x="145" y="925"/>
                  </a:lnTo>
                  <a:lnTo>
                    <a:pt x="141" y="925"/>
                  </a:lnTo>
                  <a:lnTo>
                    <a:pt x="141" y="937"/>
                  </a:lnTo>
                  <a:lnTo>
                    <a:pt x="140" y="949"/>
                  </a:lnTo>
                  <a:lnTo>
                    <a:pt x="140" y="957"/>
                  </a:lnTo>
                  <a:lnTo>
                    <a:pt x="139" y="961"/>
                  </a:lnTo>
                  <a:lnTo>
                    <a:pt x="139" y="964"/>
                  </a:lnTo>
                  <a:lnTo>
                    <a:pt x="138" y="965"/>
                  </a:lnTo>
                  <a:lnTo>
                    <a:pt x="138" y="967"/>
                  </a:lnTo>
                  <a:lnTo>
                    <a:pt x="139" y="968"/>
                  </a:lnTo>
                  <a:lnTo>
                    <a:pt x="141" y="970"/>
                  </a:lnTo>
                  <a:lnTo>
                    <a:pt x="143" y="972"/>
                  </a:lnTo>
                  <a:lnTo>
                    <a:pt x="145" y="974"/>
                  </a:lnTo>
                  <a:lnTo>
                    <a:pt x="145" y="978"/>
                  </a:lnTo>
                  <a:lnTo>
                    <a:pt x="144" y="980"/>
                  </a:lnTo>
                  <a:lnTo>
                    <a:pt x="143" y="981"/>
                  </a:lnTo>
                  <a:lnTo>
                    <a:pt x="139" y="981"/>
                  </a:lnTo>
                  <a:lnTo>
                    <a:pt x="137" y="982"/>
                  </a:lnTo>
                  <a:lnTo>
                    <a:pt x="133" y="982"/>
                  </a:lnTo>
                  <a:lnTo>
                    <a:pt x="123" y="981"/>
                  </a:lnTo>
                  <a:lnTo>
                    <a:pt x="114" y="978"/>
                  </a:lnTo>
                  <a:lnTo>
                    <a:pt x="109" y="975"/>
                  </a:lnTo>
                  <a:lnTo>
                    <a:pt x="108" y="974"/>
                  </a:lnTo>
                  <a:lnTo>
                    <a:pt x="104" y="974"/>
                  </a:lnTo>
                  <a:lnTo>
                    <a:pt x="101" y="975"/>
                  </a:lnTo>
                  <a:lnTo>
                    <a:pt x="96" y="974"/>
                  </a:lnTo>
                  <a:lnTo>
                    <a:pt x="94" y="974"/>
                  </a:lnTo>
                  <a:lnTo>
                    <a:pt x="89" y="972"/>
                  </a:lnTo>
                  <a:lnTo>
                    <a:pt x="87" y="970"/>
                  </a:lnTo>
                  <a:lnTo>
                    <a:pt x="85" y="965"/>
                  </a:lnTo>
                  <a:lnTo>
                    <a:pt x="83" y="964"/>
                  </a:lnTo>
                  <a:lnTo>
                    <a:pt x="80" y="964"/>
                  </a:lnTo>
                  <a:lnTo>
                    <a:pt x="78" y="963"/>
                  </a:lnTo>
                  <a:lnTo>
                    <a:pt x="74" y="961"/>
                  </a:lnTo>
                  <a:lnTo>
                    <a:pt x="72" y="960"/>
                  </a:lnTo>
                  <a:lnTo>
                    <a:pt x="65" y="952"/>
                  </a:lnTo>
                  <a:lnTo>
                    <a:pt x="59" y="940"/>
                  </a:lnTo>
                  <a:lnTo>
                    <a:pt x="54" y="925"/>
                  </a:lnTo>
                  <a:lnTo>
                    <a:pt x="50" y="911"/>
                  </a:lnTo>
                  <a:lnTo>
                    <a:pt x="49" y="901"/>
                  </a:lnTo>
                  <a:lnTo>
                    <a:pt x="48" y="887"/>
                  </a:lnTo>
                  <a:lnTo>
                    <a:pt x="46" y="871"/>
                  </a:lnTo>
                  <a:lnTo>
                    <a:pt x="46" y="842"/>
                  </a:lnTo>
                  <a:lnTo>
                    <a:pt x="35" y="846"/>
                  </a:lnTo>
                  <a:lnTo>
                    <a:pt x="25" y="849"/>
                  </a:lnTo>
                  <a:lnTo>
                    <a:pt x="20" y="850"/>
                  </a:lnTo>
                  <a:lnTo>
                    <a:pt x="19" y="845"/>
                  </a:lnTo>
                  <a:lnTo>
                    <a:pt x="16" y="835"/>
                  </a:lnTo>
                  <a:lnTo>
                    <a:pt x="15" y="817"/>
                  </a:lnTo>
                  <a:lnTo>
                    <a:pt x="14" y="795"/>
                  </a:lnTo>
                  <a:lnTo>
                    <a:pt x="12" y="769"/>
                  </a:lnTo>
                  <a:lnTo>
                    <a:pt x="10" y="742"/>
                  </a:lnTo>
                  <a:lnTo>
                    <a:pt x="8" y="712"/>
                  </a:lnTo>
                  <a:lnTo>
                    <a:pt x="7" y="683"/>
                  </a:lnTo>
                  <a:lnTo>
                    <a:pt x="5" y="657"/>
                  </a:lnTo>
                  <a:lnTo>
                    <a:pt x="3" y="632"/>
                  </a:lnTo>
                  <a:lnTo>
                    <a:pt x="2" y="610"/>
                  </a:lnTo>
                  <a:lnTo>
                    <a:pt x="1" y="595"/>
                  </a:lnTo>
                  <a:lnTo>
                    <a:pt x="0" y="585"/>
                  </a:lnTo>
                  <a:lnTo>
                    <a:pt x="0" y="569"/>
                  </a:lnTo>
                  <a:lnTo>
                    <a:pt x="1" y="548"/>
                  </a:lnTo>
                  <a:lnTo>
                    <a:pt x="2" y="525"/>
                  </a:lnTo>
                  <a:lnTo>
                    <a:pt x="7" y="476"/>
                  </a:lnTo>
                  <a:lnTo>
                    <a:pt x="8" y="455"/>
                  </a:lnTo>
                  <a:lnTo>
                    <a:pt x="9" y="438"/>
                  </a:lnTo>
                  <a:lnTo>
                    <a:pt x="10" y="424"/>
                  </a:lnTo>
                  <a:lnTo>
                    <a:pt x="10" y="404"/>
                  </a:lnTo>
                  <a:lnTo>
                    <a:pt x="12" y="379"/>
                  </a:lnTo>
                  <a:lnTo>
                    <a:pt x="12" y="323"/>
                  </a:lnTo>
                  <a:lnTo>
                    <a:pt x="13" y="294"/>
                  </a:lnTo>
                  <a:lnTo>
                    <a:pt x="13" y="225"/>
                  </a:lnTo>
                  <a:lnTo>
                    <a:pt x="14" y="205"/>
                  </a:lnTo>
                  <a:lnTo>
                    <a:pt x="16" y="184"/>
                  </a:lnTo>
                  <a:lnTo>
                    <a:pt x="20" y="165"/>
                  </a:lnTo>
                  <a:lnTo>
                    <a:pt x="23" y="147"/>
                  </a:lnTo>
                  <a:lnTo>
                    <a:pt x="27" y="133"/>
                  </a:lnTo>
                  <a:lnTo>
                    <a:pt x="30" y="122"/>
                  </a:lnTo>
                  <a:lnTo>
                    <a:pt x="34" y="116"/>
                  </a:lnTo>
                  <a:lnTo>
                    <a:pt x="39" y="110"/>
                  </a:lnTo>
                  <a:lnTo>
                    <a:pt x="51" y="104"/>
                  </a:lnTo>
                  <a:lnTo>
                    <a:pt x="64" y="96"/>
                  </a:lnTo>
                  <a:lnTo>
                    <a:pt x="79" y="89"/>
                  </a:lnTo>
                  <a:lnTo>
                    <a:pt x="92" y="83"/>
                  </a:lnTo>
                  <a:lnTo>
                    <a:pt x="110" y="76"/>
                  </a:lnTo>
                  <a:lnTo>
                    <a:pt x="123" y="70"/>
                  </a:lnTo>
                  <a:lnTo>
                    <a:pt x="137" y="64"/>
                  </a:lnTo>
                  <a:lnTo>
                    <a:pt x="153" y="58"/>
                  </a:lnTo>
                  <a:lnTo>
                    <a:pt x="168" y="51"/>
                  </a:lnTo>
                  <a:lnTo>
                    <a:pt x="182" y="45"/>
                  </a:lnTo>
                  <a:lnTo>
                    <a:pt x="191" y="41"/>
                  </a:lnTo>
                  <a:lnTo>
                    <a:pt x="201" y="37"/>
                  </a:lnTo>
                  <a:lnTo>
                    <a:pt x="221" y="20"/>
                  </a:lnTo>
                  <a:lnTo>
                    <a:pt x="231" y="12"/>
                  </a:lnTo>
                  <a:lnTo>
                    <a:pt x="238" y="5"/>
                  </a:lnTo>
                  <a:lnTo>
                    <a:pt x="242" y="2"/>
                  </a:lnTo>
                  <a:lnTo>
                    <a:pt x="2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88" name="Group 43"/>
          <p:cNvGrpSpPr/>
          <p:nvPr userDrawn="1"/>
        </p:nvGrpSpPr>
        <p:grpSpPr>
          <a:xfrm>
            <a:off x="697633" y="2000824"/>
            <a:ext cx="2968572" cy="2660632"/>
            <a:chOff x="2683249" y="1825999"/>
            <a:chExt cx="2181785" cy="2181785"/>
          </a:xfrm>
          <a:scene3d>
            <a:camera prst="perspectiveRelaxed">
              <a:rot lat="16800000" lon="0" rev="0"/>
            </a:camera>
            <a:lightRig rig="balanced" dir="t">
              <a:rot lat="0" lon="0" rev="4200000"/>
            </a:lightRig>
          </a:scene3d>
        </p:grpSpPr>
        <p:sp>
          <p:nvSpPr>
            <p:cNvPr id="189" name="Oval 188"/>
            <p:cNvSpPr/>
            <p:nvPr/>
          </p:nvSpPr>
          <p:spPr>
            <a:xfrm>
              <a:off x="2683249" y="1825999"/>
              <a:ext cx="2181785" cy="2181785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0" name="Oval 189"/>
            <p:cNvSpPr/>
            <p:nvPr/>
          </p:nvSpPr>
          <p:spPr>
            <a:xfrm>
              <a:off x="2892519" y="2035269"/>
              <a:ext cx="1763245" cy="1763245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1" name="Oval 190"/>
            <p:cNvSpPr/>
            <p:nvPr/>
          </p:nvSpPr>
          <p:spPr>
            <a:xfrm>
              <a:off x="3140169" y="2282919"/>
              <a:ext cx="1267945" cy="1267945"/>
            </a:xfrm>
            <a:prstGeom prst="ellipse">
              <a:avLst/>
            </a:prstGeom>
            <a:solidFill>
              <a:srgbClr val="0779B7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2" name="Oval 191"/>
            <p:cNvSpPr/>
            <p:nvPr/>
          </p:nvSpPr>
          <p:spPr>
            <a:xfrm>
              <a:off x="3355041" y="2497791"/>
              <a:ext cx="838200" cy="838200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3" name="Oval 192"/>
            <p:cNvSpPr/>
            <p:nvPr/>
          </p:nvSpPr>
          <p:spPr>
            <a:xfrm>
              <a:off x="3545541" y="2688291"/>
              <a:ext cx="457200" cy="457200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1524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97" name="Group 19"/>
          <p:cNvGrpSpPr/>
          <p:nvPr userDrawn="1"/>
        </p:nvGrpSpPr>
        <p:grpSpPr>
          <a:xfrm>
            <a:off x="1909540" y="1493203"/>
            <a:ext cx="544760" cy="1875429"/>
            <a:chOff x="2574925" y="258763"/>
            <a:chExt cx="1189038" cy="4567238"/>
          </a:xfrm>
          <a:solidFill>
            <a:srgbClr val="000000">
              <a:alpha val="65000"/>
            </a:srgbClr>
          </a:solidFill>
          <a:effectLst/>
        </p:grpSpPr>
        <p:sp>
          <p:nvSpPr>
            <p:cNvPr id="198" name="Freeform 11"/>
            <p:cNvSpPr>
              <a:spLocks noEditPoints="1"/>
            </p:cNvSpPr>
            <p:nvPr/>
          </p:nvSpPr>
          <p:spPr bwMode="auto">
            <a:xfrm>
              <a:off x="2574925" y="909638"/>
              <a:ext cx="1189038" cy="3916363"/>
            </a:xfrm>
            <a:custGeom>
              <a:avLst/>
              <a:gdLst/>
              <a:ahLst/>
              <a:cxnLst>
                <a:cxn ang="0">
                  <a:pos x="643" y="1077"/>
                </a:cxn>
                <a:cxn ang="0">
                  <a:pos x="629" y="1136"/>
                </a:cxn>
                <a:cxn ang="0">
                  <a:pos x="619" y="1155"/>
                </a:cxn>
                <a:cxn ang="0">
                  <a:pos x="645" y="1091"/>
                </a:cxn>
                <a:cxn ang="0">
                  <a:pos x="583" y="585"/>
                </a:cxn>
                <a:cxn ang="0">
                  <a:pos x="593" y="773"/>
                </a:cxn>
                <a:cxn ang="0">
                  <a:pos x="605" y="702"/>
                </a:cxn>
                <a:cxn ang="0">
                  <a:pos x="608" y="514"/>
                </a:cxn>
                <a:cxn ang="0">
                  <a:pos x="268" y="57"/>
                </a:cxn>
                <a:cxn ang="0">
                  <a:pos x="240" y="257"/>
                </a:cxn>
                <a:cxn ang="0">
                  <a:pos x="211" y="544"/>
                </a:cxn>
                <a:cxn ang="0">
                  <a:pos x="188" y="674"/>
                </a:cxn>
                <a:cxn ang="0">
                  <a:pos x="300" y="696"/>
                </a:cxn>
                <a:cxn ang="0">
                  <a:pos x="421" y="705"/>
                </a:cxn>
                <a:cxn ang="0">
                  <a:pos x="440" y="498"/>
                </a:cxn>
                <a:cxn ang="0">
                  <a:pos x="482" y="324"/>
                </a:cxn>
                <a:cxn ang="0">
                  <a:pos x="526" y="124"/>
                </a:cxn>
                <a:cxn ang="0">
                  <a:pos x="531" y="18"/>
                </a:cxn>
                <a:cxn ang="0">
                  <a:pos x="732" y="99"/>
                </a:cxn>
                <a:cxn ang="0">
                  <a:pos x="739" y="183"/>
                </a:cxn>
                <a:cxn ang="0">
                  <a:pos x="746" y="661"/>
                </a:cxn>
                <a:cxn ang="0">
                  <a:pos x="737" y="834"/>
                </a:cxn>
                <a:cxn ang="0">
                  <a:pos x="717" y="951"/>
                </a:cxn>
                <a:cxn ang="0">
                  <a:pos x="687" y="1023"/>
                </a:cxn>
                <a:cxn ang="0">
                  <a:pos x="651" y="1165"/>
                </a:cxn>
                <a:cxn ang="0">
                  <a:pos x="599" y="1236"/>
                </a:cxn>
                <a:cxn ang="0">
                  <a:pos x="553" y="1277"/>
                </a:cxn>
                <a:cxn ang="0">
                  <a:pos x="506" y="1465"/>
                </a:cxn>
                <a:cxn ang="0">
                  <a:pos x="475" y="1597"/>
                </a:cxn>
                <a:cxn ang="0">
                  <a:pos x="470" y="1831"/>
                </a:cxn>
                <a:cxn ang="0">
                  <a:pos x="447" y="2032"/>
                </a:cxn>
                <a:cxn ang="0">
                  <a:pos x="439" y="2192"/>
                </a:cxn>
                <a:cxn ang="0">
                  <a:pos x="461" y="2247"/>
                </a:cxn>
                <a:cxn ang="0">
                  <a:pos x="498" y="2357"/>
                </a:cxn>
                <a:cxn ang="0">
                  <a:pos x="472" y="2458"/>
                </a:cxn>
                <a:cxn ang="0">
                  <a:pos x="383" y="2433"/>
                </a:cxn>
                <a:cxn ang="0">
                  <a:pos x="349" y="2415"/>
                </a:cxn>
                <a:cxn ang="0">
                  <a:pos x="250" y="2443"/>
                </a:cxn>
                <a:cxn ang="0">
                  <a:pos x="241" y="2376"/>
                </a:cxn>
                <a:cxn ang="0">
                  <a:pos x="274" y="2310"/>
                </a:cxn>
                <a:cxn ang="0">
                  <a:pos x="301" y="2212"/>
                </a:cxn>
                <a:cxn ang="0">
                  <a:pos x="265" y="2067"/>
                </a:cxn>
                <a:cxn ang="0">
                  <a:pos x="218" y="1831"/>
                </a:cxn>
                <a:cxn ang="0">
                  <a:pos x="203" y="1648"/>
                </a:cxn>
                <a:cxn ang="0">
                  <a:pos x="167" y="1519"/>
                </a:cxn>
                <a:cxn ang="0">
                  <a:pos x="138" y="1395"/>
                </a:cxn>
                <a:cxn ang="0">
                  <a:pos x="117" y="1261"/>
                </a:cxn>
                <a:cxn ang="0">
                  <a:pos x="84" y="1156"/>
                </a:cxn>
                <a:cxn ang="0">
                  <a:pos x="38" y="1120"/>
                </a:cxn>
                <a:cxn ang="0">
                  <a:pos x="55" y="953"/>
                </a:cxn>
                <a:cxn ang="0">
                  <a:pos x="38" y="868"/>
                </a:cxn>
                <a:cxn ang="0">
                  <a:pos x="7" y="677"/>
                </a:cxn>
                <a:cxn ang="0">
                  <a:pos x="6" y="510"/>
                </a:cxn>
                <a:cxn ang="0">
                  <a:pos x="25" y="298"/>
                </a:cxn>
                <a:cxn ang="0">
                  <a:pos x="39" y="169"/>
                </a:cxn>
                <a:cxn ang="0">
                  <a:pos x="66" y="64"/>
                </a:cxn>
                <a:cxn ang="0">
                  <a:pos x="163" y="33"/>
                </a:cxn>
                <a:cxn ang="0">
                  <a:pos x="291" y="0"/>
                </a:cxn>
              </a:cxnLst>
              <a:rect l="0" t="0" r="r" b="b"/>
              <a:pathLst>
                <a:path w="749" h="2467">
                  <a:moveTo>
                    <a:pt x="476" y="2312"/>
                  </a:moveTo>
                  <a:lnTo>
                    <a:pt x="482" y="2331"/>
                  </a:lnTo>
                  <a:lnTo>
                    <a:pt x="480" y="2322"/>
                  </a:lnTo>
                  <a:lnTo>
                    <a:pt x="476" y="2312"/>
                  </a:lnTo>
                  <a:close/>
                  <a:moveTo>
                    <a:pt x="645" y="1072"/>
                  </a:moveTo>
                  <a:lnTo>
                    <a:pt x="644" y="1073"/>
                  </a:lnTo>
                  <a:lnTo>
                    <a:pt x="644" y="1075"/>
                  </a:lnTo>
                  <a:lnTo>
                    <a:pt x="643" y="1077"/>
                  </a:lnTo>
                  <a:lnTo>
                    <a:pt x="643" y="1081"/>
                  </a:lnTo>
                  <a:lnTo>
                    <a:pt x="641" y="1088"/>
                  </a:lnTo>
                  <a:lnTo>
                    <a:pt x="641" y="1099"/>
                  </a:lnTo>
                  <a:lnTo>
                    <a:pt x="640" y="1110"/>
                  </a:lnTo>
                  <a:lnTo>
                    <a:pt x="637" y="1122"/>
                  </a:lnTo>
                  <a:lnTo>
                    <a:pt x="635" y="1131"/>
                  </a:lnTo>
                  <a:lnTo>
                    <a:pt x="632" y="1136"/>
                  </a:lnTo>
                  <a:lnTo>
                    <a:pt x="629" y="1136"/>
                  </a:lnTo>
                  <a:lnTo>
                    <a:pt x="628" y="1134"/>
                  </a:lnTo>
                  <a:lnTo>
                    <a:pt x="626" y="1131"/>
                  </a:lnTo>
                  <a:lnTo>
                    <a:pt x="623" y="1124"/>
                  </a:lnTo>
                  <a:lnTo>
                    <a:pt x="623" y="1126"/>
                  </a:lnTo>
                  <a:lnTo>
                    <a:pt x="622" y="1129"/>
                  </a:lnTo>
                  <a:lnTo>
                    <a:pt x="622" y="1130"/>
                  </a:lnTo>
                  <a:lnTo>
                    <a:pt x="620" y="1141"/>
                  </a:lnTo>
                  <a:lnTo>
                    <a:pt x="619" y="1155"/>
                  </a:lnTo>
                  <a:lnTo>
                    <a:pt x="625" y="1151"/>
                  </a:lnTo>
                  <a:lnTo>
                    <a:pt x="632" y="1147"/>
                  </a:lnTo>
                  <a:lnTo>
                    <a:pt x="637" y="1141"/>
                  </a:lnTo>
                  <a:lnTo>
                    <a:pt x="641" y="1134"/>
                  </a:lnTo>
                  <a:lnTo>
                    <a:pt x="643" y="1125"/>
                  </a:lnTo>
                  <a:lnTo>
                    <a:pt x="644" y="1117"/>
                  </a:lnTo>
                  <a:lnTo>
                    <a:pt x="644" y="1109"/>
                  </a:lnTo>
                  <a:lnTo>
                    <a:pt x="645" y="1091"/>
                  </a:lnTo>
                  <a:lnTo>
                    <a:pt x="647" y="1075"/>
                  </a:lnTo>
                  <a:lnTo>
                    <a:pt x="647" y="1072"/>
                  </a:lnTo>
                  <a:lnTo>
                    <a:pt x="645" y="1072"/>
                  </a:lnTo>
                  <a:close/>
                  <a:moveTo>
                    <a:pt x="608" y="490"/>
                  </a:moveTo>
                  <a:lnTo>
                    <a:pt x="604" y="504"/>
                  </a:lnTo>
                  <a:lnTo>
                    <a:pt x="598" y="523"/>
                  </a:lnTo>
                  <a:lnTo>
                    <a:pt x="586" y="564"/>
                  </a:lnTo>
                  <a:lnTo>
                    <a:pt x="583" y="585"/>
                  </a:lnTo>
                  <a:lnTo>
                    <a:pt x="582" y="606"/>
                  </a:lnTo>
                  <a:lnTo>
                    <a:pt x="582" y="631"/>
                  </a:lnTo>
                  <a:lnTo>
                    <a:pt x="583" y="655"/>
                  </a:lnTo>
                  <a:lnTo>
                    <a:pt x="583" y="691"/>
                  </a:lnTo>
                  <a:lnTo>
                    <a:pt x="585" y="711"/>
                  </a:lnTo>
                  <a:lnTo>
                    <a:pt x="586" y="732"/>
                  </a:lnTo>
                  <a:lnTo>
                    <a:pt x="590" y="754"/>
                  </a:lnTo>
                  <a:lnTo>
                    <a:pt x="593" y="773"/>
                  </a:lnTo>
                  <a:lnTo>
                    <a:pt x="598" y="785"/>
                  </a:lnTo>
                  <a:lnTo>
                    <a:pt x="603" y="792"/>
                  </a:lnTo>
                  <a:lnTo>
                    <a:pt x="606" y="796"/>
                  </a:lnTo>
                  <a:lnTo>
                    <a:pt x="607" y="795"/>
                  </a:lnTo>
                  <a:lnTo>
                    <a:pt x="608" y="788"/>
                  </a:lnTo>
                  <a:lnTo>
                    <a:pt x="608" y="755"/>
                  </a:lnTo>
                  <a:lnTo>
                    <a:pt x="607" y="727"/>
                  </a:lnTo>
                  <a:lnTo>
                    <a:pt x="605" y="702"/>
                  </a:lnTo>
                  <a:lnTo>
                    <a:pt x="604" y="678"/>
                  </a:lnTo>
                  <a:lnTo>
                    <a:pt x="603" y="660"/>
                  </a:lnTo>
                  <a:lnTo>
                    <a:pt x="603" y="588"/>
                  </a:lnTo>
                  <a:lnTo>
                    <a:pt x="605" y="569"/>
                  </a:lnTo>
                  <a:lnTo>
                    <a:pt x="606" y="559"/>
                  </a:lnTo>
                  <a:lnTo>
                    <a:pt x="607" y="545"/>
                  </a:lnTo>
                  <a:lnTo>
                    <a:pt x="607" y="530"/>
                  </a:lnTo>
                  <a:lnTo>
                    <a:pt x="608" y="514"/>
                  </a:lnTo>
                  <a:lnTo>
                    <a:pt x="608" y="490"/>
                  </a:lnTo>
                  <a:close/>
                  <a:moveTo>
                    <a:pt x="291" y="0"/>
                  </a:moveTo>
                  <a:lnTo>
                    <a:pt x="293" y="2"/>
                  </a:lnTo>
                  <a:lnTo>
                    <a:pt x="292" y="5"/>
                  </a:lnTo>
                  <a:lnTo>
                    <a:pt x="287" y="12"/>
                  </a:lnTo>
                  <a:lnTo>
                    <a:pt x="281" y="25"/>
                  </a:lnTo>
                  <a:lnTo>
                    <a:pt x="274" y="40"/>
                  </a:lnTo>
                  <a:lnTo>
                    <a:pt x="268" y="57"/>
                  </a:lnTo>
                  <a:lnTo>
                    <a:pt x="261" y="76"/>
                  </a:lnTo>
                  <a:lnTo>
                    <a:pt x="255" y="95"/>
                  </a:lnTo>
                  <a:lnTo>
                    <a:pt x="251" y="111"/>
                  </a:lnTo>
                  <a:lnTo>
                    <a:pt x="249" y="126"/>
                  </a:lnTo>
                  <a:lnTo>
                    <a:pt x="248" y="147"/>
                  </a:lnTo>
                  <a:lnTo>
                    <a:pt x="247" y="173"/>
                  </a:lnTo>
                  <a:lnTo>
                    <a:pt x="242" y="231"/>
                  </a:lnTo>
                  <a:lnTo>
                    <a:pt x="240" y="257"/>
                  </a:lnTo>
                  <a:lnTo>
                    <a:pt x="235" y="280"/>
                  </a:lnTo>
                  <a:lnTo>
                    <a:pt x="232" y="298"/>
                  </a:lnTo>
                  <a:lnTo>
                    <a:pt x="227" y="323"/>
                  </a:lnTo>
                  <a:lnTo>
                    <a:pt x="222" y="349"/>
                  </a:lnTo>
                  <a:lnTo>
                    <a:pt x="215" y="403"/>
                  </a:lnTo>
                  <a:lnTo>
                    <a:pt x="212" y="425"/>
                  </a:lnTo>
                  <a:lnTo>
                    <a:pt x="211" y="442"/>
                  </a:lnTo>
                  <a:lnTo>
                    <a:pt x="211" y="544"/>
                  </a:lnTo>
                  <a:lnTo>
                    <a:pt x="210" y="570"/>
                  </a:lnTo>
                  <a:lnTo>
                    <a:pt x="207" y="594"/>
                  </a:lnTo>
                  <a:lnTo>
                    <a:pt x="203" y="616"/>
                  </a:lnTo>
                  <a:lnTo>
                    <a:pt x="194" y="637"/>
                  </a:lnTo>
                  <a:lnTo>
                    <a:pt x="185" y="655"/>
                  </a:lnTo>
                  <a:lnTo>
                    <a:pt x="179" y="671"/>
                  </a:lnTo>
                  <a:lnTo>
                    <a:pt x="182" y="673"/>
                  </a:lnTo>
                  <a:lnTo>
                    <a:pt x="188" y="674"/>
                  </a:lnTo>
                  <a:lnTo>
                    <a:pt x="196" y="676"/>
                  </a:lnTo>
                  <a:lnTo>
                    <a:pt x="206" y="680"/>
                  </a:lnTo>
                  <a:lnTo>
                    <a:pt x="215" y="682"/>
                  </a:lnTo>
                  <a:lnTo>
                    <a:pt x="223" y="684"/>
                  </a:lnTo>
                  <a:lnTo>
                    <a:pt x="234" y="687"/>
                  </a:lnTo>
                  <a:lnTo>
                    <a:pt x="249" y="689"/>
                  </a:lnTo>
                  <a:lnTo>
                    <a:pt x="284" y="694"/>
                  </a:lnTo>
                  <a:lnTo>
                    <a:pt x="300" y="696"/>
                  </a:lnTo>
                  <a:lnTo>
                    <a:pt x="313" y="697"/>
                  </a:lnTo>
                  <a:lnTo>
                    <a:pt x="331" y="699"/>
                  </a:lnTo>
                  <a:lnTo>
                    <a:pt x="356" y="702"/>
                  </a:lnTo>
                  <a:lnTo>
                    <a:pt x="382" y="703"/>
                  </a:lnTo>
                  <a:lnTo>
                    <a:pt x="408" y="704"/>
                  </a:lnTo>
                  <a:lnTo>
                    <a:pt x="412" y="704"/>
                  </a:lnTo>
                  <a:lnTo>
                    <a:pt x="416" y="705"/>
                  </a:lnTo>
                  <a:lnTo>
                    <a:pt x="421" y="705"/>
                  </a:lnTo>
                  <a:lnTo>
                    <a:pt x="419" y="699"/>
                  </a:lnTo>
                  <a:lnTo>
                    <a:pt x="419" y="668"/>
                  </a:lnTo>
                  <a:lnTo>
                    <a:pt x="421" y="645"/>
                  </a:lnTo>
                  <a:lnTo>
                    <a:pt x="423" y="618"/>
                  </a:lnTo>
                  <a:lnTo>
                    <a:pt x="430" y="562"/>
                  </a:lnTo>
                  <a:lnTo>
                    <a:pt x="434" y="537"/>
                  </a:lnTo>
                  <a:lnTo>
                    <a:pt x="438" y="516"/>
                  </a:lnTo>
                  <a:lnTo>
                    <a:pt x="440" y="498"/>
                  </a:lnTo>
                  <a:lnTo>
                    <a:pt x="444" y="483"/>
                  </a:lnTo>
                  <a:lnTo>
                    <a:pt x="447" y="464"/>
                  </a:lnTo>
                  <a:lnTo>
                    <a:pt x="453" y="441"/>
                  </a:lnTo>
                  <a:lnTo>
                    <a:pt x="459" y="417"/>
                  </a:lnTo>
                  <a:lnTo>
                    <a:pt x="466" y="391"/>
                  </a:lnTo>
                  <a:lnTo>
                    <a:pt x="472" y="367"/>
                  </a:lnTo>
                  <a:lnTo>
                    <a:pt x="477" y="343"/>
                  </a:lnTo>
                  <a:lnTo>
                    <a:pt x="482" y="324"/>
                  </a:lnTo>
                  <a:lnTo>
                    <a:pt x="487" y="307"/>
                  </a:lnTo>
                  <a:lnTo>
                    <a:pt x="492" y="287"/>
                  </a:lnTo>
                  <a:lnTo>
                    <a:pt x="498" y="261"/>
                  </a:lnTo>
                  <a:lnTo>
                    <a:pt x="505" y="232"/>
                  </a:lnTo>
                  <a:lnTo>
                    <a:pt x="512" y="202"/>
                  </a:lnTo>
                  <a:lnTo>
                    <a:pt x="518" y="173"/>
                  </a:lnTo>
                  <a:lnTo>
                    <a:pt x="523" y="146"/>
                  </a:lnTo>
                  <a:lnTo>
                    <a:pt x="526" y="124"/>
                  </a:lnTo>
                  <a:lnTo>
                    <a:pt x="526" y="91"/>
                  </a:lnTo>
                  <a:lnTo>
                    <a:pt x="521" y="52"/>
                  </a:lnTo>
                  <a:lnTo>
                    <a:pt x="519" y="33"/>
                  </a:lnTo>
                  <a:lnTo>
                    <a:pt x="517" y="19"/>
                  </a:lnTo>
                  <a:lnTo>
                    <a:pt x="514" y="10"/>
                  </a:lnTo>
                  <a:lnTo>
                    <a:pt x="517" y="11"/>
                  </a:lnTo>
                  <a:lnTo>
                    <a:pt x="523" y="13"/>
                  </a:lnTo>
                  <a:lnTo>
                    <a:pt x="531" y="18"/>
                  </a:lnTo>
                  <a:lnTo>
                    <a:pt x="542" y="22"/>
                  </a:lnTo>
                  <a:lnTo>
                    <a:pt x="556" y="28"/>
                  </a:lnTo>
                  <a:lnTo>
                    <a:pt x="583" y="39"/>
                  </a:lnTo>
                  <a:lnTo>
                    <a:pt x="613" y="48"/>
                  </a:lnTo>
                  <a:lnTo>
                    <a:pt x="645" y="60"/>
                  </a:lnTo>
                  <a:lnTo>
                    <a:pt x="678" y="73"/>
                  </a:lnTo>
                  <a:lnTo>
                    <a:pt x="706" y="86"/>
                  </a:lnTo>
                  <a:lnTo>
                    <a:pt x="732" y="99"/>
                  </a:lnTo>
                  <a:lnTo>
                    <a:pt x="740" y="105"/>
                  </a:lnTo>
                  <a:lnTo>
                    <a:pt x="745" y="113"/>
                  </a:lnTo>
                  <a:lnTo>
                    <a:pt x="746" y="123"/>
                  </a:lnTo>
                  <a:lnTo>
                    <a:pt x="745" y="134"/>
                  </a:lnTo>
                  <a:lnTo>
                    <a:pt x="743" y="145"/>
                  </a:lnTo>
                  <a:lnTo>
                    <a:pt x="740" y="157"/>
                  </a:lnTo>
                  <a:lnTo>
                    <a:pt x="739" y="170"/>
                  </a:lnTo>
                  <a:lnTo>
                    <a:pt x="739" y="183"/>
                  </a:lnTo>
                  <a:lnTo>
                    <a:pt x="740" y="200"/>
                  </a:lnTo>
                  <a:lnTo>
                    <a:pt x="740" y="224"/>
                  </a:lnTo>
                  <a:lnTo>
                    <a:pt x="742" y="249"/>
                  </a:lnTo>
                  <a:lnTo>
                    <a:pt x="744" y="303"/>
                  </a:lnTo>
                  <a:lnTo>
                    <a:pt x="745" y="327"/>
                  </a:lnTo>
                  <a:lnTo>
                    <a:pt x="745" y="349"/>
                  </a:lnTo>
                  <a:lnTo>
                    <a:pt x="746" y="367"/>
                  </a:lnTo>
                  <a:lnTo>
                    <a:pt x="746" y="661"/>
                  </a:lnTo>
                  <a:lnTo>
                    <a:pt x="747" y="683"/>
                  </a:lnTo>
                  <a:lnTo>
                    <a:pt x="749" y="709"/>
                  </a:lnTo>
                  <a:lnTo>
                    <a:pt x="747" y="735"/>
                  </a:lnTo>
                  <a:lnTo>
                    <a:pt x="745" y="762"/>
                  </a:lnTo>
                  <a:lnTo>
                    <a:pt x="743" y="784"/>
                  </a:lnTo>
                  <a:lnTo>
                    <a:pt x="740" y="802"/>
                  </a:lnTo>
                  <a:lnTo>
                    <a:pt x="739" y="817"/>
                  </a:lnTo>
                  <a:lnTo>
                    <a:pt x="737" y="834"/>
                  </a:lnTo>
                  <a:lnTo>
                    <a:pt x="735" y="847"/>
                  </a:lnTo>
                  <a:lnTo>
                    <a:pt x="732" y="863"/>
                  </a:lnTo>
                  <a:lnTo>
                    <a:pt x="729" y="881"/>
                  </a:lnTo>
                  <a:lnTo>
                    <a:pt x="727" y="899"/>
                  </a:lnTo>
                  <a:lnTo>
                    <a:pt x="723" y="917"/>
                  </a:lnTo>
                  <a:lnTo>
                    <a:pt x="721" y="930"/>
                  </a:lnTo>
                  <a:lnTo>
                    <a:pt x="720" y="939"/>
                  </a:lnTo>
                  <a:lnTo>
                    <a:pt x="717" y="951"/>
                  </a:lnTo>
                  <a:lnTo>
                    <a:pt x="716" y="966"/>
                  </a:lnTo>
                  <a:lnTo>
                    <a:pt x="714" y="982"/>
                  </a:lnTo>
                  <a:lnTo>
                    <a:pt x="711" y="996"/>
                  </a:lnTo>
                  <a:lnTo>
                    <a:pt x="708" y="1006"/>
                  </a:lnTo>
                  <a:lnTo>
                    <a:pt x="702" y="1013"/>
                  </a:lnTo>
                  <a:lnTo>
                    <a:pt x="696" y="1018"/>
                  </a:lnTo>
                  <a:lnTo>
                    <a:pt x="691" y="1022"/>
                  </a:lnTo>
                  <a:lnTo>
                    <a:pt x="687" y="1023"/>
                  </a:lnTo>
                  <a:lnTo>
                    <a:pt x="687" y="1038"/>
                  </a:lnTo>
                  <a:lnTo>
                    <a:pt x="689" y="1066"/>
                  </a:lnTo>
                  <a:lnTo>
                    <a:pt x="689" y="1086"/>
                  </a:lnTo>
                  <a:lnTo>
                    <a:pt x="685" y="1104"/>
                  </a:lnTo>
                  <a:lnTo>
                    <a:pt x="679" y="1124"/>
                  </a:lnTo>
                  <a:lnTo>
                    <a:pt x="671" y="1142"/>
                  </a:lnTo>
                  <a:lnTo>
                    <a:pt x="663" y="1154"/>
                  </a:lnTo>
                  <a:lnTo>
                    <a:pt x="651" y="1165"/>
                  </a:lnTo>
                  <a:lnTo>
                    <a:pt x="641" y="1169"/>
                  </a:lnTo>
                  <a:lnTo>
                    <a:pt x="630" y="1173"/>
                  </a:lnTo>
                  <a:lnTo>
                    <a:pt x="616" y="1175"/>
                  </a:lnTo>
                  <a:lnTo>
                    <a:pt x="614" y="1194"/>
                  </a:lnTo>
                  <a:lnTo>
                    <a:pt x="612" y="1209"/>
                  </a:lnTo>
                  <a:lnTo>
                    <a:pt x="609" y="1220"/>
                  </a:lnTo>
                  <a:lnTo>
                    <a:pt x="606" y="1230"/>
                  </a:lnTo>
                  <a:lnTo>
                    <a:pt x="599" y="1236"/>
                  </a:lnTo>
                  <a:lnTo>
                    <a:pt x="591" y="1238"/>
                  </a:lnTo>
                  <a:lnTo>
                    <a:pt x="579" y="1243"/>
                  </a:lnTo>
                  <a:lnTo>
                    <a:pt x="569" y="1245"/>
                  </a:lnTo>
                  <a:lnTo>
                    <a:pt x="557" y="1247"/>
                  </a:lnTo>
                  <a:lnTo>
                    <a:pt x="556" y="1253"/>
                  </a:lnTo>
                  <a:lnTo>
                    <a:pt x="556" y="1259"/>
                  </a:lnTo>
                  <a:lnTo>
                    <a:pt x="555" y="1263"/>
                  </a:lnTo>
                  <a:lnTo>
                    <a:pt x="553" y="1277"/>
                  </a:lnTo>
                  <a:lnTo>
                    <a:pt x="548" y="1294"/>
                  </a:lnTo>
                  <a:lnTo>
                    <a:pt x="543" y="1313"/>
                  </a:lnTo>
                  <a:lnTo>
                    <a:pt x="539" y="1334"/>
                  </a:lnTo>
                  <a:lnTo>
                    <a:pt x="533" y="1355"/>
                  </a:lnTo>
                  <a:lnTo>
                    <a:pt x="529" y="1373"/>
                  </a:lnTo>
                  <a:lnTo>
                    <a:pt x="523" y="1403"/>
                  </a:lnTo>
                  <a:lnTo>
                    <a:pt x="518" y="1423"/>
                  </a:lnTo>
                  <a:lnTo>
                    <a:pt x="506" y="1465"/>
                  </a:lnTo>
                  <a:lnTo>
                    <a:pt x="501" y="1484"/>
                  </a:lnTo>
                  <a:lnTo>
                    <a:pt x="496" y="1502"/>
                  </a:lnTo>
                  <a:lnTo>
                    <a:pt x="491" y="1513"/>
                  </a:lnTo>
                  <a:lnTo>
                    <a:pt x="484" y="1527"/>
                  </a:lnTo>
                  <a:lnTo>
                    <a:pt x="475" y="1533"/>
                  </a:lnTo>
                  <a:lnTo>
                    <a:pt x="474" y="1546"/>
                  </a:lnTo>
                  <a:lnTo>
                    <a:pt x="474" y="1573"/>
                  </a:lnTo>
                  <a:lnTo>
                    <a:pt x="475" y="1597"/>
                  </a:lnTo>
                  <a:lnTo>
                    <a:pt x="477" y="1625"/>
                  </a:lnTo>
                  <a:lnTo>
                    <a:pt x="483" y="1677"/>
                  </a:lnTo>
                  <a:lnTo>
                    <a:pt x="483" y="1702"/>
                  </a:lnTo>
                  <a:lnTo>
                    <a:pt x="482" y="1729"/>
                  </a:lnTo>
                  <a:lnTo>
                    <a:pt x="480" y="1757"/>
                  </a:lnTo>
                  <a:lnTo>
                    <a:pt x="476" y="1784"/>
                  </a:lnTo>
                  <a:lnTo>
                    <a:pt x="473" y="1809"/>
                  </a:lnTo>
                  <a:lnTo>
                    <a:pt x="470" y="1831"/>
                  </a:lnTo>
                  <a:lnTo>
                    <a:pt x="468" y="1846"/>
                  </a:lnTo>
                  <a:lnTo>
                    <a:pt x="466" y="1867"/>
                  </a:lnTo>
                  <a:lnTo>
                    <a:pt x="463" y="1893"/>
                  </a:lnTo>
                  <a:lnTo>
                    <a:pt x="460" y="1919"/>
                  </a:lnTo>
                  <a:lnTo>
                    <a:pt x="458" y="1948"/>
                  </a:lnTo>
                  <a:lnTo>
                    <a:pt x="454" y="1979"/>
                  </a:lnTo>
                  <a:lnTo>
                    <a:pt x="451" y="2007"/>
                  </a:lnTo>
                  <a:lnTo>
                    <a:pt x="447" y="2032"/>
                  </a:lnTo>
                  <a:lnTo>
                    <a:pt x="445" y="2055"/>
                  </a:lnTo>
                  <a:lnTo>
                    <a:pt x="443" y="2073"/>
                  </a:lnTo>
                  <a:lnTo>
                    <a:pt x="441" y="2086"/>
                  </a:lnTo>
                  <a:lnTo>
                    <a:pt x="439" y="2103"/>
                  </a:lnTo>
                  <a:lnTo>
                    <a:pt x="437" y="2145"/>
                  </a:lnTo>
                  <a:lnTo>
                    <a:pt x="438" y="2165"/>
                  </a:lnTo>
                  <a:lnTo>
                    <a:pt x="438" y="2181"/>
                  </a:lnTo>
                  <a:lnTo>
                    <a:pt x="439" y="2192"/>
                  </a:lnTo>
                  <a:lnTo>
                    <a:pt x="441" y="2197"/>
                  </a:lnTo>
                  <a:lnTo>
                    <a:pt x="444" y="2207"/>
                  </a:lnTo>
                  <a:lnTo>
                    <a:pt x="447" y="2217"/>
                  </a:lnTo>
                  <a:lnTo>
                    <a:pt x="447" y="2216"/>
                  </a:lnTo>
                  <a:lnTo>
                    <a:pt x="450" y="2221"/>
                  </a:lnTo>
                  <a:lnTo>
                    <a:pt x="452" y="2228"/>
                  </a:lnTo>
                  <a:lnTo>
                    <a:pt x="456" y="2237"/>
                  </a:lnTo>
                  <a:lnTo>
                    <a:pt x="461" y="2247"/>
                  </a:lnTo>
                  <a:lnTo>
                    <a:pt x="465" y="2258"/>
                  </a:lnTo>
                  <a:lnTo>
                    <a:pt x="469" y="2267"/>
                  </a:lnTo>
                  <a:lnTo>
                    <a:pt x="472" y="2275"/>
                  </a:lnTo>
                  <a:lnTo>
                    <a:pt x="474" y="2280"/>
                  </a:lnTo>
                  <a:lnTo>
                    <a:pt x="484" y="2311"/>
                  </a:lnTo>
                  <a:lnTo>
                    <a:pt x="489" y="2326"/>
                  </a:lnTo>
                  <a:lnTo>
                    <a:pt x="495" y="2342"/>
                  </a:lnTo>
                  <a:lnTo>
                    <a:pt x="498" y="2357"/>
                  </a:lnTo>
                  <a:lnTo>
                    <a:pt x="502" y="2369"/>
                  </a:lnTo>
                  <a:lnTo>
                    <a:pt x="504" y="2386"/>
                  </a:lnTo>
                  <a:lnTo>
                    <a:pt x="502" y="2402"/>
                  </a:lnTo>
                  <a:lnTo>
                    <a:pt x="498" y="2418"/>
                  </a:lnTo>
                  <a:lnTo>
                    <a:pt x="492" y="2431"/>
                  </a:lnTo>
                  <a:lnTo>
                    <a:pt x="488" y="2440"/>
                  </a:lnTo>
                  <a:lnTo>
                    <a:pt x="481" y="2450"/>
                  </a:lnTo>
                  <a:lnTo>
                    <a:pt x="472" y="2458"/>
                  </a:lnTo>
                  <a:lnTo>
                    <a:pt x="461" y="2465"/>
                  </a:lnTo>
                  <a:lnTo>
                    <a:pt x="451" y="2467"/>
                  </a:lnTo>
                  <a:lnTo>
                    <a:pt x="438" y="2466"/>
                  </a:lnTo>
                  <a:lnTo>
                    <a:pt x="423" y="2461"/>
                  </a:lnTo>
                  <a:lnTo>
                    <a:pt x="409" y="2456"/>
                  </a:lnTo>
                  <a:lnTo>
                    <a:pt x="400" y="2451"/>
                  </a:lnTo>
                  <a:lnTo>
                    <a:pt x="393" y="2444"/>
                  </a:lnTo>
                  <a:lnTo>
                    <a:pt x="383" y="2433"/>
                  </a:lnTo>
                  <a:lnTo>
                    <a:pt x="375" y="2422"/>
                  </a:lnTo>
                  <a:lnTo>
                    <a:pt x="370" y="2411"/>
                  </a:lnTo>
                  <a:lnTo>
                    <a:pt x="368" y="2407"/>
                  </a:lnTo>
                  <a:lnTo>
                    <a:pt x="365" y="2403"/>
                  </a:lnTo>
                  <a:lnTo>
                    <a:pt x="364" y="2403"/>
                  </a:lnTo>
                  <a:lnTo>
                    <a:pt x="361" y="2404"/>
                  </a:lnTo>
                  <a:lnTo>
                    <a:pt x="356" y="2410"/>
                  </a:lnTo>
                  <a:lnTo>
                    <a:pt x="349" y="2415"/>
                  </a:lnTo>
                  <a:lnTo>
                    <a:pt x="338" y="2421"/>
                  </a:lnTo>
                  <a:lnTo>
                    <a:pt x="327" y="2425"/>
                  </a:lnTo>
                  <a:lnTo>
                    <a:pt x="314" y="2431"/>
                  </a:lnTo>
                  <a:lnTo>
                    <a:pt x="302" y="2435"/>
                  </a:lnTo>
                  <a:lnTo>
                    <a:pt x="288" y="2438"/>
                  </a:lnTo>
                  <a:lnTo>
                    <a:pt x="274" y="2440"/>
                  </a:lnTo>
                  <a:lnTo>
                    <a:pt x="261" y="2442"/>
                  </a:lnTo>
                  <a:lnTo>
                    <a:pt x="250" y="2443"/>
                  </a:lnTo>
                  <a:lnTo>
                    <a:pt x="242" y="2442"/>
                  </a:lnTo>
                  <a:lnTo>
                    <a:pt x="236" y="2437"/>
                  </a:lnTo>
                  <a:lnTo>
                    <a:pt x="233" y="2431"/>
                  </a:lnTo>
                  <a:lnTo>
                    <a:pt x="230" y="2423"/>
                  </a:lnTo>
                  <a:lnTo>
                    <a:pt x="229" y="2413"/>
                  </a:lnTo>
                  <a:lnTo>
                    <a:pt x="232" y="2400"/>
                  </a:lnTo>
                  <a:lnTo>
                    <a:pt x="235" y="2387"/>
                  </a:lnTo>
                  <a:lnTo>
                    <a:pt x="241" y="2376"/>
                  </a:lnTo>
                  <a:lnTo>
                    <a:pt x="244" y="2369"/>
                  </a:lnTo>
                  <a:lnTo>
                    <a:pt x="250" y="2359"/>
                  </a:lnTo>
                  <a:lnTo>
                    <a:pt x="256" y="2347"/>
                  </a:lnTo>
                  <a:lnTo>
                    <a:pt x="262" y="2335"/>
                  </a:lnTo>
                  <a:lnTo>
                    <a:pt x="268" y="2323"/>
                  </a:lnTo>
                  <a:lnTo>
                    <a:pt x="271" y="2314"/>
                  </a:lnTo>
                  <a:lnTo>
                    <a:pt x="274" y="2308"/>
                  </a:lnTo>
                  <a:lnTo>
                    <a:pt x="274" y="2310"/>
                  </a:lnTo>
                  <a:lnTo>
                    <a:pt x="276" y="2306"/>
                  </a:lnTo>
                  <a:lnTo>
                    <a:pt x="277" y="2302"/>
                  </a:lnTo>
                  <a:lnTo>
                    <a:pt x="279" y="2300"/>
                  </a:lnTo>
                  <a:lnTo>
                    <a:pt x="285" y="2288"/>
                  </a:lnTo>
                  <a:lnTo>
                    <a:pt x="297" y="2260"/>
                  </a:lnTo>
                  <a:lnTo>
                    <a:pt x="301" y="2246"/>
                  </a:lnTo>
                  <a:lnTo>
                    <a:pt x="302" y="2231"/>
                  </a:lnTo>
                  <a:lnTo>
                    <a:pt x="301" y="2212"/>
                  </a:lnTo>
                  <a:lnTo>
                    <a:pt x="299" y="2193"/>
                  </a:lnTo>
                  <a:lnTo>
                    <a:pt x="295" y="2178"/>
                  </a:lnTo>
                  <a:lnTo>
                    <a:pt x="293" y="2166"/>
                  </a:lnTo>
                  <a:lnTo>
                    <a:pt x="288" y="2150"/>
                  </a:lnTo>
                  <a:lnTo>
                    <a:pt x="283" y="2130"/>
                  </a:lnTo>
                  <a:lnTo>
                    <a:pt x="277" y="2109"/>
                  </a:lnTo>
                  <a:lnTo>
                    <a:pt x="270" y="2087"/>
                  </a:lnTo>
                  <a:lnTo>
                    <a:pt x="265" y="2067"/>
                  </a:lnTo>
                  <a:lnTo>
                    <a:pt x="259" y="2043"/>
                  </a:lnTo>
                  <a:lnTo>
                    <a:pt x="254" y="2015"/>
                  </a:lnTo>
                  <a:lnTo>
                    <a:pt x="244" y="1959"/>
                  </a:lnTo>
                  <a:lnTo>
                    <a:pt x="241" y="1935"/>
                  </a:lnTo>
                  <a:lnTo>
                    <a:pt x="237" y="1914"/>
                  </a:lnTo>
                  <a:lnTo>
                    <a:pt x="232" y="1888"/>
                  </a:lnTo>
                  <a:lnTo>
                    <a:pt x="225" y="1860"/>
                  </a:lnTo>
                  <a:lnTo>
                    <a:pt x="218" y="1831"/>
                  </a:lnTo>
                  <a:lnTo>
                    <a:pt x="212" y="1802"/>
                  </a:lnTo>
                  <a:lnTo>
                    <a:pt x="207" y="1775"/>
                  </a:lnTo>
                  <a:lnTo>
                    <a:pt x="204" y="1746"/>
                  </a:lnTo>
                  <a:lnTo>
                    <a:pt x="203" y="1722"/>
                  </a:lnTo>
                  <a:lnTo>
                    <a:pt x="203" y="1700"/>
                  </a:lnTo>
                  <a:lnTo>
                    <a:pt x="204" y="1680"/>
                  </a:lnTo>
                  <a:lnTo>
                    <a:pt x="204" y="1664"/>
                  </a:lnTo>
                  <a:lnTo>
                    <a:pt x="203" y="1648"/>
                  </a:lnTo>
                  <a:lnTo>
                    <a:pt x="200" y="1630"/>
                  </a:lnTo>
                  <a:lnTo>
                    <a:pt x="193" y="1588"/>
                  </a:lnTo>
                  <a:lnTo>
                    <a:pt x="191" y="1566"/>
                  </a:lnTo>
                  <a:lnTo>
                    <a:pt x="190" y="1546"/>
                  </a:lnTo>
                  <a:lnTo>
                    <a:pt x="190" y="1533"/>
                  </a:lnTo>
                  <a:lnTo>
                    <a:pt x="191" y="1523"/>
                  </a:lnTo>
                  <a:lnTo>
                    <a:pt x="178" y="1522"/>
                  </a:lnTo>
                  <a:lnTo>
                    <a:pt x="167" y="1519"/>
                  </a:lnTo>
                  <a:lnTo>
                    <a:pt x="157" y="1515"/>
                  </a:lnTo>
                  <a:lnTo>
                    <a:pt x="152" y="1508"/>
                  </a:lnTo>
                  <a:lnTo>
                    <a:pt x="148" y="1498"/>
                  </a:lnTo>
                  <a:lnTo>
                    <a:pt x="143" y="1473"/>
                  </a:lnTo>
                  <a:lnTo>
                    <a:pt x="143" y="1451"/>
                  </a:lnTo>
                  <a:lnTo>
                    <a:pt x="141" y="1436"/>
                  </a:lnTo>
                  <a:lnTo>
                    <a:pt x="140" y="1416"/>
                  </a:lnTo>
                  <a:lnTo>
                    <a:pt x="138" y="1395"/>
                  </a:lnTo>
                  <a:lnTo>
                    <a:pt x="134" y="1373"/>
                  </a:lnTo>
                  <a:lnTo>
                    <a:pt x="132" y="1352"/>
                  </a:lnTo>
                  <a:lnTo>
                    <a:pt x="130" y="1336"/>
                  </a:lnTo>
                  <a:lnTo>
                    <a:pt x="128" y="1324"/>
                  </a:lnTo>
                  <a:lnTo>
                    <a:pt x="127" y="1315"/>
                  </a:lnTo>
                  <a:lnTo>
                    <a:pt x="124" y="1300"/>
                  </a:lnTo>
                  <a:lnTo>
                    <a:pt x="120" y="1281"/>
                  </a:lnTo>
                  <a:lnTo>
                    <a:pt x="117" y="1261"/>
                  </a:lnTo>
                  <a:lnTo>
                    <a:pt x="113" y="1240"/>
                  </a:lnTo>
                  <a:lnTo>
                    <a:pt x="110" y="1220"/>
                  </a:lnTo>
                  <a:lnTo>
                    <a:pt x="108" y="1203"/>
                  </a:lnTo>
                  <a:lnTo>
                    <a:pt x="105" y="1188"/>
                  </a:lnTo>
                  <a:lnTo>
                    <a:pt x="104" y="1179"/>
                  </a:lnTo>
                  <a:lnTo>
                    <a:pt x="101" y="1154"/>
                  </a:lnTo>
                  <a:lnTo>
                    <a:pt x="96" y="1154"/>
                  </a:lnTo>
                  <a:lnTo>
                    <a:pt x="84" y="1156"/>
                  </a:lnTo>
                  <a:lnTo>
                    <a:pt x="70" y="1160"/>
                  </a:lnTo>
                  <a:lnTo>
                    <a:pt x="60" y="1163"/>
                  </a:lnTo>
                  <a:lnTo>
                    <a:pt x="51" y="1166"/>
                  </a:lnTo>
                  <a:lnTo>
                    <a:pt x="45" y="1167"/>
                  </a:lnTo>
                  <a:lnTo>
                    <a:pt x="40" y="1166"/>
                  </a:lnTo>
                  <a:lnTo>
                    <a:pt x="39" y="1160"/>
                  </a:lnTo>
                  <a:lnTo>
                    <a:pt x="39" y="1138"/>
                  </a:lnTo>
                  <a:lnTo>
                    <a:pt x="38" y="1120"/>
                  </a:lnTo>
                  <a:lnTo>
                    <a:pt x="38" y="1098"/>
                  </a:lnTo>
                  <a:lnTo>
                    <a:pt x="39" y="1074"/>
                  </a:lnTo>
                  <a:lnTo>
                    <a:pt x="39" y="1048"/>
                  </a:lnTo>
                  <a:lnTo>
                    <a:pt x="40" y="1024"/>
                  </a:lnTo>
                  <a:lnTo>
                    <a:pt x="43" y="1001"/>
                  </a:lnTo>
                  <a:lnTo>
                    <a:pt x="46" y="981"/>
                  </a:lnTo>
                  <a:lnTo>
                    <a:pt x="50" y="963"/>
                  </a:lnTo>
                  <a:lnTo>
                    <a:pt x="55" y="953"/>
                  </a:lnTo>
                  <a:lnTo>
                    <a:pt x="69" y="938"/>
                  </a:lnTo>
                  <a:lnTo>
                    <a:pt x="83" y="926"/>
                  </a:lnTo>
                  <a:lnTo>
                    <a:pt x="83" y="891"/>
                  </a:lnTo>
                  <a:lnTo>
                    <a:pt x="80" y="890"/>
                  </a:lnTo>
                  <a:lnTo>
                    <a:pt x="76" y="890"/>
                  </a:lnTo>
                  <a:lnTo>
                    <a:pt x="61" y="885"/>
                  </a:lnTo>
                  <a:lnTo>
                    <a:pt x="48" y="877"/>
                  </a:lnTo>
                  <a:lnTo>
                    <a:pt x="38" y="868"/>
                  </a:lnTo>
                  <a:lnTo>
                    <a:pt x="32" y="855"/>
                  </a:lnTo>
                  <a:lnTo>
                    <a:pt x="29" y="842"/>
                  </a:lnTo>
                  <a:lnTo>
                    <a:pt x="24" y="824"/>
                  </a:lnTo>
                  <a:lnTo>
                    <a:pt x="19" y="804"/>
                  </a:lnTo>
                  <a:lnTo>
                    <a:pt x="16" y="783"/>
                  </a:lnTo>
                  <a:lnTo>
                    <a:pt x="15" y="763"/>
                  </a:lnTo>
                  <a:lnTo>
                    <a:pt x="14" y="733"/>
                  </a:lnTo>
                  <a:lnTo>
                    <a:pt x="7" y="677"/>
                  </a:lnTo>
                  <a:lnTo>
                    <a:pt x="6" y="663"/>
                  </a:lnTo>
                  <a:lnTo>
                    <a:pt x="3" y="645"/>
                  </a:lnTo>
                  <a:lnTo>
                    <a:pt x="2" y="625"/>
                  </a:lnTo>
                  <a:lnTo>
                    <a:pt x="0" y="605"/>
                  </a:lnTo>
                  <a:lnTo>
                    <a:pt x="0" y="574"/>
                  </a:lnTo>
                  <a:lnTo>
                    <a:pt x="1" y="556"/>
                  </a:lnTo>
                  <a:lnTo>
                    <a:pt x="3" y="534"/>
                  </a:lnTo>
                  <a:lnTo>
                    <a:pt x="6" y="510"/>
                  </a:lnTo>
                  <a:lnTo>
                    <a:pt x="10" y="459"/>
                  </a:lnTo>
                  <a:lnTo>
                    <a:pt x="11" y="434"/>
                  </a:lnTo>
                  <a:lnTo>
                    <a:pt x="13" y="414"/>
                  </a:lnTo>
                  <a:lnTo>
                    <a:pt x="15" y="392"/>
                  </a:lnTo>
                  <a:lnTo>
                    <a:pt x="17" y="369"/>
                  </a:lnTo>
                  <a:lnTo>
                    <a:pt x="19" y="345"/>
                  </a:lnTo>
                  <a:lnTo>
                    <a:pt x="23" y="320"/>
                  </a:lnTo>
                  <a:lnTo>
                    <a:pt x="25" y="298"/>
                  </a:lnTo>
                  <a:lnTo>
                    <a:pt x="26" y="280"/>
                  </a:lnTo>
                  <a:lnTo>
                    <a:pt x="29" y="264"/>
                  </a:lnTo>
                  <a:lnTo>
                    <a:pt x="29" y="254"/>
                  </a:lnTo>
                  <a:lnTo>
                    <a:pt x="30" y="243"/>
                  </a:lnTo>
                  <a:lnTo>
                    <a:pt x="31" y="227"/>
                  </a:lnTo>
                  <a:lnTo>
                    <a:pt x="33" y="209"/>
                  </a:lnTo>
                  <a:lnTo>
                    <a:pt x="36" y="189"/>
                  </a:lnTo>
                  <a:lnTo>
                    <a:pt x="39" y="169"/>
                  </a:lnTo>
                  <a:lnTo>
                    <a:pt x="41" y="152"/>
                  </a:lnTo>
                  <a:lnTo>
                    <a:pt x="44" y="136"/>
                  </a:lnTo>
                  <a:lnTo>
                    <a:pt x="45" y="126"/>
                  </a:lnTo>
                  <a:lnTo>
                    <a:pt x="46" y="114"/>
                  </a:lnTo>
                  <a:lnTo>
                    <a:pt x="48" y="102"/>
                  </a:lnTo>
                  <a:lnTo>
                    <a:pt x="52" y="89"/>
                  </a:lnTo>
                  <a:lnTo>
                    <a:pt x="58" y="75"/>
                  </a:lnTo>
                  <a:lnTo>
                    <a:pt x="66" y="64"/>
                  </a:lnTo>
                  <a:lnTo>
                    <a:pt x="77" y="55"/>
                  </a:lnTo>
                  <a:lnTo>
                    <a:pt x="83" y="52"/>
                  </a:lnTo>
                  <a:lnTo>
                    <a:pt x="89" y="49"/>
                  </a:lnTo>
                  <a:lnTo>
                    <a:pt x="97" y="47"/>
                  </a:lnTo>
                  <a:lnTo>
                    <a:pt x="109" y="46"/>
                  </a:lnTo>
                  <a:lnTo>
                    <a:pt x="124" y="43"/>
                  </a:lnTo>
                  <a:lnTo>
                    <a:pt x="142" y="40"/>
                  </a:lnTo>
                  <a:lnTo>
                    <a:pt x="163" y="33"/>
                  </a:lnTo>
                  <a:lnTo>
                    <a:pt x="185" y="26"/>
                  </a:lnTo>
                  <a:lnTo>
                    <a:pt x="205" y="19"/>
                  </a:lnTo>
                  <a:lnTo>
                    <a:pt x="223" y="16"/>
                  </a:lnTo>
                  <a:lnTo>
                    <a:pt x="236" y="13"/>
                  </a:lnTo>
                  <a:lnTo>
                    <a:pt x="262" y="6"/>
                  </a:lnTo>
                  <a:lnTo>
                    <a:pt x="273" y="3"/>
                  </a:lnTo>
                  <a:lnTo>
                    <a:pt x="284" y="2"/>
                  </a:lnTo>
                  <a:lnTo>
                    <a:pt x="2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9" name="Freeform 12"/>
            <p:cNvSpPr>
              <a:spLocks/>
            </p:cNvSpPr>
            <p:nvPr/>
          </p:nvSpPr>
          <p:spPr bwMode="auto">
            <a:xfrm>
              <a:off x="2868613" y="258763"/>
              <a:ext cx="657225" cy="939800"/>
            </a:xfrm>
            <a:custGeom>
              <a:avLst/>
              <a:gdLst/>
              <a:ahLst/>
              <a:cxnLst>
                <a:cxn ang="0">
                  <a:pos x="244" y="1"/>
                </a:cxn>
                <a:cxn ang="0">
                  <a:pos x="280" y="11"/>
                </a:cxn>
                <a:cxn ang="0">
                  <a:pos x="311" y="32"/>
                </a:cxn>
                <a:cxn ang="0">
                  <a:pos x="333" y="63"/>
                </a:cxn>
                <a:cxn ang="0">
                  <a:pos x="353" y="99"/>
                </a:cxn>
                <a:cxn ang="0">
                  <a:pos x="369" y="128"/>
                </a:cxn>
                <a:cxn ang="0">
                  <a:pos x="380" y="158"/>
                </a:cxn>
                <a:cxn ang="0">
                  <a:pos x="390" y="188"/>
                </a:cxn>
                <a:cxn ang="0">
                  <a:pos x="392" y="214"/>
                </a:cxn>
                <a:cxn ang="0">
                  <a:pos x="400" y="227"/>
                </a:cxn>
                <a:cxn ang="0">
                  <a:pos x="412" y="241"/>
                </a:cxn>
                <a:cxn ang="0">
                  <a:pos x="413" y="253"/>
                </a:cxn>
                <a:cxn ang="0">
                  <a:pos x="406" y="267"/>
                </a:cxn>
                <a:cxn ang="0">
                  <a:pos x="391" y="284"/>
                </a:cxn>
                <a:cxn ang="0">
                  <a:pos x="387" y="302"/>
                </a:cxn>
                <a:cxn ang="0">
                  <a:pos x="392" y="322"/>
                </a:cxn>
                <a:cxn ang="0">
                  <a:pos x="397" y="336"/>
                </a:cxn>
                <a:cxn ang="0">
                  <a:pos x="390" y="353"/>
                </a:cxn>
                <a:cxn ang="0">
                  <a:pos x="375" y="372"/>
                </a:cxn>
                <a:cxn ang="0">
                  <a:pos x="353" y="382"/>
                </a:cxn>
                <a:cxn ang="0">
                  <a:pos x="318" y="384"/>
                </a:cxn>
                <a:cxn ang="0">
                  <a:pos x="319" y="423"/>
                </a:cxn>
                <a:cxn ang="0">
                  <a:pos x="316" y="444"/>
                </a:cxn>
                <a:cxn ang="0">
                  <a:pos x="305" y="472"/>
                </a:cxn>
                <a:cxn ang="0">
                  <a:pos x="291" y="503"/>
                </a:cxn>
                <a:cxn ang="0">
                  <a:pos x="278" y="531"/>
                </a:cxn>
                <a:cxn ang="0">
                  <a:pos x="183" y="592"/>
                </a:cxn>
                <a:cxn ang="0">
                  <a:pos x="100" y="553"/>
                </a:cxn>
                <a:cxn ang="0">
                  <a:pos x="103" y="529"/>
                </a:cxn>
                <a:cxn ang="0">
                  <a:pos x="108" y="492"/>
                </a:cxn>
                <a:cxn ang="0">
                  <a:pos x="114" y="451"/>
                </a:cxn>
                <a:cxn ang="0">
                  <a:pos x="118" y="416"/>
                </a:cxn>
                <a:cxn ang="0">
                  <a:pos x="122" y="395"/>
                </a:cxn>
                <a:cxn ang="0">
                  <a:pos x="120" y="385"/>
                </a:cxn>
                <a:cxn ang="0">
                  <a:pos x="112" y="381"/>
                </a:cxn>
                <a:cxn ang="0">
                  <a:pos x="88" y="379"/>
                </a:cxn>
                <a:cxn ang="0">
                  <a:pos x="72" y="377"/>
                </a:cxn>
                <a:cxn ang="0">
                  <a:pos x="61" y="360"/>
                </a:cxn>
                <a:cxn ang="0">
                  <a:pos x="57" y="334"/>
                </a:cxn>
                <a:cxn ang="0">
                  <a:pos x="55" y="313"/>
                </a:cxn>
                <a:cxn ang="0">
                  <a:pos x="34" y="274"/>
                </a:cxn>
                <a:cxn ang="0">
                  <a:pos x="28" y="245"/>
                </a:cxn>
                <a:cxn ang="0">
                  <a:pos x="33" y="223"/>
                </a:cxn>
                <a:cxn ang="0">
                  <a:pos x="30" y="208"/>
                </a:cxn>
                <a:cxn ang="0">
                  <a:pos x="23" y="198"/>
                </a:cxn>
                <a:cxn ang="0">
                  <a:pos x="12" y="175"/>
                </a:cxn>
                <a:cxn ang="0">
                  <a:pos x="4" y="153"/>
                </a:cxn>
                <a:cxn ang="0">
                  <a:pos x="0" y="132"/>
                </a:cxn>
                <a:cxn ang="0">
                  <a:pos x="3" y="101"/>
                </a:cxn>
                <a:cxn ang="0">
                  <a:pos x="9" y="78"/>
                </a:cxn>
                <a:cxn ang="0">
                  <a:pos x="29" y="43"/>
                </a:cxn>
                <a:cxn ang="0">
                  <a:pos x="50" y="27"/>
                </a:cxn>
                <a:cxn ang="0">
                  <a:pos x="77" y="14"/>
                </a:cxn>
                <a:cxn ang="0">
                  <a:pos x="101" y="10"/>
                </a:cxn>
                <a:cxn ang="0">
                  <a:pos x="125" y="7"/>
                </a:cxn>
                <a:cxn ang="0">
                  <a:pos x="139" y="10"/>
                </a:cxn>
                <a:cxn ang="0">
                  <a:pos x="144" y="14"/>
                </a:cxn>
                <a:cxn ang="0">
                  <a:pos x="157" y="15"/>
                </a:cxn>
                <a:cxn ang="0">
                  <a:pos x="181" y="10"/>
                </a:cxn>
                <a:cxn ang="0">
                  <a:pos x="210" y="1"/>
                </a:cxn>
              </a:cxnLst>
              <a:rect l="0" t="0" r="r" b="b"/>
              <a:pathLst>
                <a:path w="414" h="592">
                  <a:moveTo>
                    <a:pt x="225" y="0"/>
                  </a:moveTo>
                  <a:lnTo>
                    <a:pt x="244" y="1"/>
                  </a:lnTo>
                  <a:lnTo>
                    <a:pt x="262" y="6"/>
                  </a:lnTo>
                  <a:lnTo>
                    <a:pt x="280" y="11"/>
                  </a:lnTo>
                  <a:lnTo>
                    <a:pt x="297" y="21"/>
                  </a:lnTo>
                  <a:lnTo>
                    <a:pt x="311" y="32"/>
                  </a:lnTo>
                  <a:lnTo>
                    <a:pt x="325" y="49"/>
                  </a:lnTo>
                  <a:lnTo>
                    <a:pt x="333" y="63"/>
                  </a:lnTo>
                  <a:lnTo>
                    <a:pt x="343" y="80"/>
                  </a:lnTo>
                  <a:lnTo>
                    <a:pt x="353" y="99"/>
                  </a:lnTo>
                  <a:lnTo>
                    <a:pt x="362" y="115"/>
                  </a:lnTo>
                  <a:lnTo>
                    <a:pt x="369" y="128"/>
                  </a:lnTo>
                  <a:lnTo>
                    <a:pt x="376" y="142"/>
                  </a:lnTo>
                  <a:lnTo>
                    <a:pt x="380" y="158"/>
                  </a:lnTo>
                  <a:lnTo>
                    <a:pt x="386" y="174"/>
                  </a:lnTo>
                  <a:lnTo>
                    <a:pt x="390" y="188"/>
                  </a:lnTo>
                  <a:lnTo>
                    <a:pt x="392" y="199"/>
                  </a:lnTo>
                  <a:lnTo>
                    <a:pt x="392" y="214"/>
                  </a:lnTo>
                  <a:lnTo>
                    <a:pt x="394" y="220"/>
                  </a:lnTo>
                  <a:lnTo>
                    <a:pt x="400" y="227"/>
                  </a:lnTo>
                  <a:lnTo>
                    <a:pt x="407" y="234"/>
                  </a:lnTo>
                  <a:lnTo>
                    <a:pt x="412" y="241"/>
                  </a:lnTo>
                  <a:lnTo>
                    <a:pt x="414" y="248"/>
                  </a:lnTo>
                  <a:lnTo>
                    <a:pt x="413" y="253"/>
                  </a:lnTo>
                  <a:lnTo>
                    <a:pt x="411" y="260"/>
                  </a:lnTo>
                  <a:lnTo>
                    <a:pt x="406" y="267"/>
                  </a:lnTo>
                  <a:lnTo>
                    <a:pt x="398" y="275"/>
                  </a:lnTo>
                  <a:lnTo>
                    <a:pt x="391" y="284"/>
                  </a:lnTo>
                  <a:lnTo>
                    <a:pt x="387" y="293"/>
                  </a:lnTo>
                  <a:lnTo>
                    <a:pt x="387" y="302"/>
                  </a:lnTo>
                  <a:lnTo>
                    <a:pt x="390" y="314"/>
                  </a:lnTo>
                  <a:lnTo>
                    <a:pt x="392" y="322"/>
                  </a:lnTo>
                  <a:lnTo>
                    <a:pt x="396" y="329"/>
                  </a:lnTo>
                  <a:lnTo>
                    <a:pt x="397" y="336"/>
                  </a:lnTo>
                  <a:lnTo>
                    <a:pt x="396" y="344"/>
                  </a:lnTo>
                  <a:lnTo>
                    <a:pt x="390" y="353"/>
                  </a:lnTo>
                  <a:lnTo>
                    <a:pt x="382" y="363"/>
                  </a:lnTo>
                  <a:lnTo>
                    <a:pt x="375" y="372"/>
                  </a:lnTo>
                  <a:lnTo>
                    <a:pt x="364" y="378"/>
                  </a:lnTo>
                  <a:lnTo>
                    <a:pt x="353" y="382"/>
                  </a:lnTo>
                  <a:lnTo>
                    <a:pt x="338" y="384"/>
                  </a:lnTo>
                  <a:lnTo>
                    <a:pt x="318" y="384"/>
                  </a:lnTo>
                  <a:lnTo>
                    <a:pt x="318" y="413"/>
                  </a:lnTo>
                  <a:lnTo>
                    <a:pt x="319" y="423"/>
                  </a:lnTo>
                  <a:lnTo>
                    <a:pt x="319" y="435"/>
                  </a:lnTo>
                  <a:lnTo>
                    <a:pt x="316" y="444"/>
                  </a:lnTo>
                  <a:lnTo>
                    <a:pt x="311" y="457"/>
                  </a:lnTo>
                  <a:lnTo>
                    <a:pt x="305" y="472"/>
                  </a:lnTo>
                  <a:lnTo>
                    <a:pt x="298" y="487"/>
                  </a:lnTo>
                  <a:lnTo>
                    <a:pt x="291" y="503"/>
                  </a:lnTo>
                  <a:lnTo>
                    <a:pt x="284" y="519"/>
                  </a:lnTo>
                  <a:lnTo>
                    <a:pt x="278" y="531"/>
                  </a:lnTo>
                  <a:lnTo>
                    <a:pt x="274" y="541"/>
                  </a:lnTo>
                  <a:lnTo>
                    <a:pt x="183" y="592"/>
                  </a:lnTo>
                  <a:lnTo>
                    <a:pt x="100" y="557"/>
                  </a:lnTo>
                  <a:lnTo>
                    <a:pt x="100" y="553"/>
                  </a:lnTo>
                  <a:lnTo>
                    <a:pt x="101" y="544"/>
                  </a:lnTo>
                  <a:lnTo>
                    <a:pt x="103" y="529"/>
                  </a:lnTo>
                  <a:lnTo>
                    <a:pt x="106" y="512"/>
                  </a:lnTo>
                  <a:lnTo>
                    <a:pt x="108" y="492"/>
                  </a:lnTo>
                  <a:lnTo>
                    <a:pt x="112" y="471"/>
                  </a:lnTo>
                  <a:lnTo>
                    <a:pt x="114" y="451"/>
                  </a:lnTo>
                  <a:lnTo>
                    <a:pt x="116" y="432"/>
                  </a:lnTo>
                  <a:lnTo>
                    <a:pt x="118" y="416"/>
                  </a:lnTo>
                  <a:lnTo>
                    <a:pt x="121" y="406"/>
                  </a:lnTo>
                  <a:lnTo>
                    <a:pt x="122" y="395"/>
                  </a:lnTo>
                  <a:lnTo>
                    <a:pt x="122" y="389"/>
                  </a:lnTo>
                  <a:lnTo>
                    <a:pt x="120" y="385"/>
                  </a:lnTo>
                  <a:lnTo>
                    <a:pt x="116" y="382"/>
                  </a:lnTo>
                  <a:lnTo>
                    <a:pt x="112" y="381"/>
                  </a:lnTo>
                  <a:lnTo>
                    <a:pt x="105" y="381"/>
                  </a:lnTo>
                  <a:lnTo>
                    <a:pt x="88" y="379"/>
                  </a:lnTo>
                  <a:lnTo>
                    <a:pt x="79" y="379"/>
                  </a:lnTo>
                  <a:lnTo>
                    <a:pt x="72" y="377"/>
                  </a:lnTo>
                  <a:lnTo>
                    <a:pt x="66" y="372"/>
                  </a:lnTo>
                  <a:lnTo>
                    <a:pt x="61" y="360"/>
                  </a:lnTo>
                  <a:lnTo>
                    <a:pt x="58" y="348"/>
                  </a:lnTo>
                  <a:lnTo>
                    <a:pt x="57" y="334"/>
                  </a:lnTo>
                  <a:lnTo>
                    <a:pt x="57" y="321"/>
                  </a:lnTo>
                  <a:lnTo>
                    <a:pt x="55" y="313"/>
                  </a:lnTo>
                  <a:lnTo>
                    <a:pt x="50" y="302"/>
                  </a:lnTo>
                  <a:lnTo>
                    <a:pt x="34" y="274"/>
                  </a:lnTo>
                  <a:lnTo>
                    <a:pt x="28" y="259"/>
                  </a:lnTo>
                  <a:lnTo>
                    <a:pt x="28" y="245"/>
                  </a:lnTo>
                  <a:lnTo>
                    <a:pt x="30" y="232"/>
                  </a:lnTo>
                  <a:lnTo>
                    <a:pt x="33" y="223"/>
                  </a:lnTo>
                  <a:lnTo>
                    <a:pt x="33" y="208"/>
                  </a:lnTo>
                  <a:lnTo>
                    <a:pt x="30" y="208"/>
                  </a:lnTo>
                  <a:lnTo>
                    <a:pt x="27" y="205"/>
                  </a:lnTo>
                  <a:lnTo>
                    <a:pt x="23" y="198"/>
                  </a:lnTo>
                  <a:lnTo>
                    <a:pt x="18" y="187"/>
                  </a:lnTo>
                  <a:lnTo>
                    <a:pt x="12" y="175"/>
                  </a:lnTo>
                  <a:lnTo>
                    <a:pt x="7" y="164"/>
                  </a:lnTo>
                  <a:lnTo>
                    <a:pt x="4" y="153"/>
                  </a:lnTo>
                  <a:lnTo>
                    <a:pt x="1" y="145"/>
                  </a:lnTo>
                  <a:lnTo>
                    <a:pt x="0" y="132"/>
                  </a:lnTo>
                  <a:lnTo>
                    <a:pt x="0" y="117"/>
                  </a:lnTo>
                  <a:lnTo>
                    <a:pt x="3" y="101"/>
                  </a:lnTo>
                  <a:lnTo>
                    <a:pt x="6" y="87"/>
                  </a:lnTo>
                  <a:lnTo>
                    <a:pt x="9" y="78"/>
                  </a:lnTo>
                  <a:lnTo>
                    <a:pt x="15" y="68"/>
                  </a:lnTo>
                  <a:lnTo>
                    <a:pt x="29" y="43"/>
                  </a:lnTo>
                  <a:lnTo>
                    <a:pt x="38" y="34"/>
                  </a:lnTo>
                  <a:lnTo>
                    <a:pt x="50" y="27"/>
                  </a:lnTo>
                  <a:lnTo>
                    <a:pt x="63" y="18"/>
                  </a:lnTo>
                  <a:lnTo>
                    <a:pt x="77" y="14"/>
                  </a:lnTo>
                  <a:lnTo>
                    <a:pt x="89" y="11"/>
                  </a:lnTo>
                  <a:lnTo>
                    <a:pt x="101" y="10"/>
                  </a:lnTo>
                  <a:lnTo>
                    <a:pt x="113" y="8"/>
                  </a:lnTo>
                  <a:lnTo>
                    <a:pt x="125" y="7"/>
                  </a:lnTo>
                  <a:lnTo>
                    <a:pt x="136" y="9"/>
                  </a:lnTo>
                  <a:lnTo>
                    <a:pt x="139" y="10"/>
                  </a:lnTo>
                  <a:lnTo>
                    <a:pt x="142" y="13"/>
                  </a:lnTo>
                  <a:lnTo>
                    <a:pt x="144" y="14"/>
                  </a:lnTo>
                  <a:lnTo>
                    <a:pt x="147" y="15"/>
                  </a:lnTo>
                  <a:lnTo>
                    <a:pt x="157" y="15"/>
                  </a:lnTo>
                  <a:lnTo>
                    <a:pt x="167" y="14"/>
                  </a:lnTo>
                  <a:lnTo>
                    <a:pt x="181" y="10"/>
                  </a:lnTo>
                  <a:lnTo>
                    <a:pt x="196" y="6"/>
                  </a:lnTo>
                  <a:lnTo>
                    <a:pt x="210" y="1"/>
                  </a:lnTo>
                  <a:lnTo>
                    <a:pt x="2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00" name="Group 43"/>
          <p:cNvGrpSpPr/>
          <p:nvPr userDrawn="1"/>
        </p:nvGrpSpPr>
        <p:grpSpPr>
          <a:xfrm>
            <a:off x="3964090" y="2000824"/>
            <a:ext cx="3897265" cy="3492989"/>
            <a:chOff x="2683249" y="1825999"/>
            <a:chExt cx="2181785" cy="2181785"/>
          </a:xfrm>
          <a:scene3d>
            <a:camera prst="perspectiveRelaxed">
              <a:rot lat="16800000" lon="0" rev="0"/>
            </a:camera>
            <a:lightRig rig="balanced" dir="t">
              <a:rot lat="0" lon="0" rev="4200000"/>
            </a:lightRig>
          </a:scene3d>
        </p:grpSpPr>
        <p:sp>
          <p:nvSpPr>
            <p:cNvPr id="201" name="Oval 200"/>
            <p:cNvSpPr/>
            <p:nvPr/>
          </p:nvSpPr>
          <p:spPr>
            <a:xfrm>
              <a:off x="2683249" y="1825999"/>
              <a:ext cx="2181785" cy="2181785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2540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Oval 201"/>
            <p:cNvSpPr/>
            <p:nvPr/>
          </p:nvSpPr>
          <p:spPr>
            <a:xfrm>
              <a:off x="2892519" y="2035269"/>
              <a:ext cx="1763245" cy="1763245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2540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Oval 202"/>
            <p:cNvSpPr/>
            <p:nvPr/>
          </p:nvSpPr>
          <p:spPr>
            <a:xfrm>
              <a:off x="3140169" y="2282919"/>
              <a:ext cx="1267945" cy="1267945"/>
            </a:xfrm>
            <a:prstGeom prst="ellipse">
              <a:avLst/>
            </a:prstGeom>
            <a:solidFill>
              <a:srgbClr val="0779B7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2540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Oval 203"/>
            <p:cNvSpPr/>
            <p:nvPr/>
          </p:nvSpPr>
          <p:spPr>
            <a:xfrm>
              <a:off x="3355041" y="2497791"/>
              <a:ext cx="838200" cy="838200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2540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Oval 204"/>
            <p:cNvSpPr/>
            <p:nvPr/>
          </p:nvSpPr>
          <p:spPr>
            <a:xfrm>
              <a:off x="3545541" y="2688291"/>
              <a:ext cx="457200" cy="457200"/>
            </a:xfrm>
            <a:prstGeom prst="ellipse">
              <a:avLst/>
            </a:prstGeom>
            <a:solidFill>
              <a:srgbClr val="0779B7"/>
            </a:solidFill>
            <a:ln w="25400" cap="flat" cmpd="sng" algn="ctr">
              <a:noFill/>
              <a:prstDash val="solid"/>
            </a:ln>
            <a:effectLst/>
            <a:sp3d prstMaterial="plastic">
              <a:bevelT w="0" h="254000"/>
            </a:sp3d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199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09" name="Group 22"/>
          <p:cNvGrpSpPr/>
          <p:nvPr userDrawn="1"/>
        </p:nvGrpSpPr>
        <p:grpSpPr>
          <a:xfrm>
            <a:off x="5445059" y="1638239"/>
            <a:ext cx="935328" cy="2111405"/>
            <a:chOff x="4413250" y="1588"/>
            <a:chExt cx="2041525" cy="5141912"/>
          </a:xfrm>
          <a:solidFill>
            <a:srgbClr val="000000">
              <a:alpha val="65000"/>
            </a:srgbClr>
          </a:solidFill>
          <a:effectLst/>
        </p:grpSpPr>
        <p:sp>
          <p:nvSpPr>
            <p:cNvPr id="210" name="Freeform 13"/>
            <p:cNvSpPr>
              <a:spLocks/>
            </p:cNvSpPr>
            <p:nvPr/>
          </p:nvSpPr>
          <p:spPr bwMode="auto">
            <a:xfrm>
              <a:off x="5189538" y="1588"/>
              <a:ext cx="522288" cy="833438"/>
            </a:xfrm>
            <a:custGeom>
              <a:avLst/>
              <a:gdLst/>
              <a:ahLst/>
              <a:cxnLst>
                <a:cxn ang="0">
                  <a:pos x="159" y="0"/>
                </a:cxn>
                <a:cxn ang="0">
                  <a:pos x="198" y="5"/>
                </a:cxn>
                <a:cxn ang="0">
                  <a:pos x="236" y="15"/>
                </a:cxn>
                <a:cxn ang="0">
                  <a:pos x="260" y="32"/>
                </a:cxn>
                <a:cxn ang="0">
                  <a:pos x="272" y="49"/>
                </a:cxn>
                <a:cxn ang="0">
                  <a:pos x="279" y="62"/>
                </a:cxn>
                <a:cxn ang="0">
                  <a:pos x="289" y="87"/>
                </a:cxn>
                <a:cxn ang="0">
                  <a:pos x="301" y="130"/>
                </a:cxn>
                <a:cxn ang="0">
                  <a:pos x="305" y="155"/>
                </a:cxn>
                <a:cxn ang="0">
                  <a:pos x="306" y="183"/>
                </a:cxn>
                <a:cxn ang="0">
                  <a:pos x="307" y="201"/>
                </a:cxn>
                <a:cxn ang="0">
                  <a:pos x="312" y="198"/>
                </a:cxn>
                <a:cxn ang="0">
                  <a:pos x="319" y="194"/>
                </a:cxn>
                <a:cxn ang="0">
                  <a:pos x="325" y="198"/>
                </a:cxn>
                <a:cxn ang="0">
                  <a:pos x="329" y="218"/>
                </a:cxn>
                <a:cxn ang="0">
                  <a:pos x="328" y="240"/>
                </a:cxn>
                <a:cxn ang="0">
                  <a:pos x="322" y="269"/>
                </a:cxn>
                <a:cxn ang="0">
                  <a:pos x="316" y="290"/>
                </a:cxn>
                <a:cxn ang="0">
                  <a:pos x="313" y="296"/>
                </a:cxn>
                <a:cxn ang="0">
                  <a:pos x="309" y="296"/>
                </a:cxn>
                <a:cxn ang="0">
                  <a:pos x="304" y="292"/>
                </a:cxn>
                <a:cxn ang="0">
                  <a:pos x="299" y="291"/>
                </a:cxn>
                <a:cxn ang="0">
                  <a:pos x="298" y="298"/>
                </a:cxn>
                <a:cxn ang="0">
                  <a:pos x="293" y="315"/>
                </a:cxn>
                <a:cxn ang="0">
                  <a:pos x="279" y="351"/>
                </a:cxn>
                <a:cxn ang="0">
                  <a:pos x="274" y="368"/>
                </a:cxn>
                <a:cxn ang="0">
                  <a:pos x="272" y="398"/>
                </a:cxn>
                <a:cxn ang="0">
                  <a:pos x="274" y="428"/>
                </a:cxn>
                <a:cxn ang="0">
                  <a:pos x="181" y="525"/>
                </a:cxn>
                <a:cxn ang="0">
                  <a:pos x="126" y="483"/>
                </a:cxn>
                <a:cxn ang="0">
                  <a:pos x="112" y="470"/>
                </a:cxn>
                <a:cxn ang="0">
                  <a:pos x="93" y="450"/>
                </a:cxn>
                <a:cxn ang="0">
                  <a:pos x="76" y="432"/>
                </a:cxn>
                <a:cxn ang="0">
                  <a:pos x="71" y="418"/>
                </a:cxn>
                <a:cxn ang="0">
                  <a:pos x="64" y="389"/>
                </a:cxn>
                <a:cxn ang="0">
                  <a:pos x="56" y="350"/>
                </a:cxn>
                <a:cxn ang="0">
                  <a:pos x="49" y="321"/>
                </a:cxn>
                <a:cxn ang="0">
                  <a:pos x="46" y="308"/>
                </a:cxn>
                <a:cxn ang="0">
                  <a:pos x="39" y="299"/>
                </a:cxn>
                <a:cxn ang="0">
                  <a:pos x="35" y="306"/>
                </a:cxn>
                <a:cxn ang="0">
                  <a:pos x="25" y="305"/>
                </a:cxn>
                <a:cxn ang="0">
                  <a:pos x="18" y="292"/>
                </a:cxn>
                <a:cxn ang="0">
                  <a:pos x="10" y="271"/>
                </a:cxn>
                <a:cxn ang="0">
                  <a:pos x="3" y="254"/>
                </a:cxn>
                <a:cxn ang="0">
                  <a:pos x="0" y="230"/>
                </a:cxn>
                <a:cxn ang="0">
                  <a:pos x="2" y="207"/>
                </a:cxn>
                <a:cxn ang="0">
                  <a:pos x="8" y="204"/>
                </a:cxn>
                <a:cxn ang="0">
                  <a:pos x="17" y="213"/>
                </a:cxn>
                <a:cxn ang="0">
                  <a:pos x="24" y="222"/>
                </a:cxn>
                <a:cxn ang="0">
                  <a:pos x="24" y="220"/>
                </a:cxn>
                <a:cxn ang="0">
                  <a:pos x="23" y="207"/>
                </a:cxn>
                <a:cxn ang="0">
                  <a:pos x="22" y="178"/>
                </a:cxn>
                <a:cxn ang="0">
                  <a:pos x="23" y="144"/>
                </a:cxn>
                <a:cxn ang="0">
                  <a:pos x="27" y="96"/>
                </a:cxn>
                <a:cxn ang="0">
                  <a:pos x="31" y="80"/>
                </a:cxn>
                <a:cxn ang="0">
                  <a:pos x="43" y="60"/>
                </a:cxn>
                <a:cxn ang="0">
                  <a:pos x="57" y="37"/>
                </a:cxn>
                <a:cxn ang="0">
                  <a:pos x="67" y="23"/>
                </a:cxn>
                <a:cxn ang="0">
                  <a:pos x="87" y="13"/>
                </a:cxn>
                <a:cxn ang="0">
                  <a:pos x="116" y="5"/>
                </a:cxn>
                <a:cxn ang="0">
                  <a:pos x="141" y="0"/>
                </a:cxn>
              </a:cxnLst>
              <a:rect l="0" t="0" r="r" b="b"/>
              <a:pathLst>
                <a:path w="329" h="525">
                  <a:moveTo>
                    <a:pt x="141" y="0"/>
                  </a:moveTo>
                  <a:lnTo>
                    <a:pt x="159" y="0"/>
                  </a:lnTo>
                  <a:lnTo>
                    <a:pt x="177" y="1"/>
                  </a:lnTo>
                  <a:lnTo>
                    <a:pt x="198" y="5"/>
                  </a:lnTo>
                  <a:lnTo>
                    <a:pt x="220" y="9"/>
                  </a:lnTo>
                  <a:lnTo>
                    <a:pt x="236" y="15"/>
                  </a:lnTo>
                  <a:lnTo>
                    <a:pt x="249" y="22"/>
                  </a:lnTo>
                  <a:lnTo>
                    <a:pt x="260" y="32"/>
                  </a:lnTo>
                  <a:lnTo>
                    <a:pt x="267" y="41"/>
                  </a:lnTo>
                  <a:lnTo>
                    <a:pt x="272" y="49"/>
                  </a:lnTo>
                  <a:lnTo>
                    <a:pt x="276" y="55"/>
                  </a:lnTo>
                  <a:lnTo>
                    <a:pt x="279" y="62"/>
                  </a:lnTo>
                  <a:lnTo>
                    <a:pt x="284" y="73"/>
                  </a:lnTo>
                  <a:lnTo>
                    <a:pt x="289" y="87"/>
                  </a:lnTo>
                  <a:lnTo>
                    <a:pt x="298" y="118"/>
                  </a:lnTo>
                  <a:lnTo>
                    <a:pt x="301" y="130"/>
                  </a:lnTo>
                  <a:lnTo>
                    <a:pt x="304" y="142"/>
                  </a:lnTo>
                  <a:lnTo>
                    <a:pt x="305" y="155"/>
                  </a:lnTo>
                  <a:lnTo>
                    <a:pt x="305" y="169"/>
                  </a:lnTo>
                  <a:lnTo>
                    <a:pt x="306" y="183"/>
                  </a:lnTo>
                  <a:lnTo>
                    <a:pt x="306" y="200"/>
                  </a:lnTo>
                  <a:lnTo>
                    <a:pt x="307" y="201"/>
                  </a:lnTo>
                  <a:lnTo>
                    <a:pt x="309" y="200"/>
                  </a:lnTo>
                  <a:lnTo>
                    <a:pt x="312" y="198"/>
                  </a:lnTo>
                  <a:lnTo>
                    <a:pt x="315" y="196"/>
                  </a:lnTo>
                  <a:lnTo>
                    <a:pt x="319" y="194"/>
                  </a:lnTo>
                  <a:lnTo>
                    <a:pt x="321" y="193"/>
                  </a:lnTo>
                  <a:lnTo>
                    <a:pt x="325" y="198"/>
                  </a:lnTo>
                  <a:lnTo>
                    <a:pt x="328" y="206"/>
                  </a:lnTo>
                  <a:lnTo>
                    <a:pt x="329" y="218"/>
                  </a:lnTo>
                  <a:lnTo>
                    <a:pt x="329" y="227"/>
                  </a:lnTo>
                  <a:lnTo>
                    <a:pt x="328" y="240"/>
                  </a:lnTo>
                  <a:lnTo>
                    <a:pt x="326" y="255"/>
                  </a:lnTo>
                  <a:lnTo>
                    <a:pt x="322" y="269"/>
                  </a:lnTo>
                  <a:lnTo>
                    <a:pt x="319" y="282"/>
                  </a:lnTo>
                  <a:lnTo>
                    <a:pt x="316" y="290"/>
                  </a:lnTo>
                  <a:lnTo>
                    <a:pt x="314" y="293"/>
                  </a:lnTo>
                  <a:lnTo>
                    <a:pt x="313" y="296"/>
                  </a:lnTo>
                  <a:lnTo>
                    <a:pt x="311" y="297"/>
                  </a:lnTo>
                  <a:lnTo>
                    <a:pt x="309" y="296"/>
                  </a:lnTo>
                  <a:lnTo>
                    <a:pt x="305" y="293"/>
                  </a:lnTo>
                  <a:lnTo>
                    <a:pt x="304" y="292"/>
                  </a:lnTo>
                  <a:lnTo>
                    <a:pt x="301" y="291"/>
                  </a:lnTo>
                  <a:lnTo>
                    <a:pt x="299" y="291"/>
                  </a:lnTo>
                  <a:lnTo>
                    <a:pt x="299" y="294"/>
                  </a:lnTo>
                  <a:lnTo>
                    <a:pt x="298" y="298"/>
                  </a:lnTo>
                  <a:lnTo>
                    <a:pt x="298" y="301"/>
                  </a:lnTo>
                  <a:lnTo>
                    <a:pt x="293" y="315"/>
                  </a:lnTo>
                  <a:lnTo>
                    <a:pt x="284" y="339"/>
                  </a:lnTo>
                  <a:lnTo>
                    <a:pt x="279" y="351"/>
                  </a:lnTo>
                  <a:lnTo>
                    <a:pt x="276" y="361"/>
                  </a:lnTo>
                  <a:lnTo>
                    <a:pt x="274" y="368"/>
                  </a:lnTo>
                  <a:lnTo>
                    <a:pt x="272" y="375"/>
                  </a:lnTo>
                  <a:lnTo>
                    <a:pt x="272" y="398"/>
                  </a:lnTo>
                  <a:lnTo>
                    <a:pt x="274" y="411"/>
                  </a:lnTo>
                  <a:lnTo>
                    <a:pt x="274" y="428"/>
                  </a:lnTo>
                  <a:lnTo>
                    <a:pt x="255" y="489"/>
                  </a:lnTo>
                  <a:lnTo>
                    <a:pt x="181" y="525"/>
                  </a:lnTo>
                  <a:lnTo>
                    <a:pt x="129" y="485"/>
                  </a:lnTo>
                  <a:lnTo>
                    <a:pt x="126" y="483"/>
                  </a:lnTo>
                  <a:lnTo>
                    <a:pt x="121" y="478"/>
                  </a:lnTo>
                  <a:lnTo>
                    <a:pt x="112" y="470"/>
                  </a:lnTo>
                  <a:lnTo>
                    <a:pt x="102" y="461"/>
                  </a:lnTo>
                  <a:lnTo>
                    <a:pt x="93" y="450"/>
                  </a:lnTo>
                  <a:lnTo>
                    <a:pt x="83" y="441"/>
                  </a:lnTo>
                  <a:lnTo>
                    <a:pt x="76" y="432"/>
                  </a:lnTo>
                  <a:lnTo>
                    <a:pt x="73" y="426"/>
                  </a:lnTo>
                  <a:lnTo>
                    <a:pt x="71" y="418"/>
                  </a:lnTo>
                  <a:lnTo>
                    <a:pt x="67" y="405"/>
                  </a:lnTo>
                  <a:lnTo>
                    <a:pt x="64" y="389"/>
                  </a:lnTo>
                  <a:lnTo>
                    <a:pt x="59" y="369"/>
                  </a:lnTo>
                  <a:lnTo>
                    <a:pt x="56" y="350"/>
                  </a:lnTo>
                  <a:lnTo>
                    <a:pt x="52" y="334"/>
                  </a:lnTo>
                  <a:lnTo>
                    <a:pt x="49" y="321"/>
                  </a:lnTo>
                  <a:lnTo>
                    <a:pt x="47" y="313"/>
                  </a:lnTo>
                  <a:lnTo>
                    <a:pt x="46" y="308"/>
                  </a:lnTo>
                  <a:lnTo>
                    <a:pt x="45" y="305"/>
                  </a:lnTo>
                  <a:lnTo>
                    <a:pt x="39" y="299"/>
                  </a:lnTo>
                  <a:lnTo>
                    <a:pt x="37" y="301"/>
                  </a:lnTo>
                  <a:lnTo>
                    <a:pt x="35" y="306"/>
                  </a:lnTo>
                  <a:lnTo>
                    <a:pt x="29" y="306"/>
                  </a:lnTo>
                  <a:lnTo>
                    <a:pt x="25" y="305"/>
                  </a:lnTo>
                  <a:lnTo>
                    <a:pt x="22" y="300"/>
                  </a:lnTo>
                  <a:lnTo>
                    <a:pt x="18" y="292"/>
                  </a:lnTo>
                  <a:lnTo>
                    <a:pt x="15" y="283"/>
                  </a:lnTo>
                  <a:lnTo>
                    <a:pt x="10" y="271"/>
                  </a:lnTo>
                  <a:lnTo>
                    <a:pt x="7" y="262"/>
                  </a:lnTo>
                  <a:lnTo>
                    <a:pt x="3" y="254"/>
                  </a:lnTo>
                  <a:lnTo>
                    <a:pt x="0" y="243"/>
                  </a:lnTo>
                  <a:lnTo>
                    <a:pt x="0" y="230"/>
                  </a:lnTo>
                  <a:lnTo>
                    <a:pt x="1" y="218"/>
                  </a:lnTo>
                  <a:lnTo>
                    <a:pt x="2" y="207"/>
                  </a:lnTo>
                  <a:lnTo>
                    <a:pt x="5" y="204"/>
                  </a:lnTo>
                  <a:lnTo>
                    <a:pt x="8" y="204"/>
                  </a:lnTo>
                  <a:lnTo>
                    <a:pt x="13" y="207"/>
                  </a:lnTo>
                  <a:lnTo>
                    <a:pt x="17" y="213"/>
                  </a:lnTo>
                  <a:lnTo>
                    <a:pt x="22" y="218"/>
                  </a:lnTo>
                  <a:lnTo>
                    <a:pt x="24" y="222"/>
                  </a:lnTo>
                  <a:lnTo>
                    <a:pt x="25" y="223"/>
                  </a:lnTo>
                  <a:lnTo>
                    <a:pt x="24" y="220"/>
                  </a:lnTo>
                  <a:lnTo>
                    <a:pt x="24" y="214"/>
                  </a:lnTo>
                  <a:lnTo>
                    <a:pt x="23" y="207"/>
                  </a:lnTo>
                  <a:lnTo>
                    <a:pt x="22" y="201"/>
                  </a:lnTo>
                  <a:lnTo>
                    <a:pt x="22" y="178"/>
                  </a:lnTo>
                  <a:lnTo>
                    <a:pt x="23" y="162"/>
                  </a:lnTo>
                  <a:lnTo>
                    <a:pt x="23" y="144"/>
                  </a:lnTo>
                  <a:lnTo>
                    <a:pt x="25" y="110"/>
                  </a:lnTo>
                  <a:lnTo>
                    <a:pt x="27" y="96"/>
                  </a:lnTo>
                  <a:lnTo>
                    <a:pt x="28" y="87"/>
                  </a:lnTo>
                  <a:lnTo>
                    <a:pt x="31" y="80"/>
                  </a:lnTo>
                  <a:lnTo>
                    <a:pt x="36" y="70"/>
                  </a:lnTo>
                  <a:lnTo>
                    <a:pt x="43" y="60"/>
                  </a:lnTo>
                  <a:lnTo>
                    <a:pt x="50" y="48"/>
                  </a:lnTo>
                  <a:lnTo>
                    <a:pt x="57" y="37"/>
                  </a:lnTo>
                  <a:lnTo>
                    <a:pt x="63" y="29"/>
                  </a:lnTo>
                  <a:lnTo>
                    <a:pt x="67" y="23"/>
                  </a:lnTo>
                  <a:lnTo>
                    <a:pt x="74" y="19"/>
                  </a:lnTo>
                  <a:lnTo>
                    <a:pt x="87" y="13"/>
                  </a:lnTo>
                  <a:lnTo>
                    <a:pt x="102" y="8"/>
                  </a:lnTo>
                  <a:lnTo>
                    <a:pt x="116" y="5"/>
                  </a:lnTo>
                  <a:lnTo>
                    <a:pt x="129" y="1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1" name="Freeform 14"/>
            <p:cNvSpPr>
              <a:spLocks noEditPoints="1"/>
            </p:cNvSpPr>
            <p:nvPr/>
          </p:nvSpPr>
          <p:spPr bwMode="auto">
            <a:xfrm>
              <a:off x="4413250" y="638175"/>
              <a:ext cx="2041525" cy="4505325"/>
            </a:xfrm>
            <a:custGeom>
              <a:avLst/>
              <a:gdLst/>
              <a:ahLst/>
              <a:cxnLst>
                <a:cxn ang="0">
                  <a:pos x="622" y="852"/>
                </a:cxn>
                <a:cxn ang="0">
                  <a:pos x="758" y="867"/>
                </a:cxn>
                <a:cxn ang="0">
                  <a:pos x="702" y="726"/>
                </a:cxn>
                <a:cxn ang="0">
                  <a:pos x="579" y="68"/>
                </a:cxn>
                <a:cxn ang="0">
                  <a:pos x="674" y="274"/>
                </a:cxn>
                <a:cxn ang="0">
                  <a:pos x="706" y="375"/>
                </a:cxn>
                <a:cxn ang="0">
                  <a:pos x="753" y="100"/>
                </a:cxn>
                <a:cxn ang="0">
                  <a:pos x="789" y="54"/>
                </a:cxn>
                <a:cxn ang="0">
                  <a:pos x="892" y="102"/>
                </a:cxn>
                <a:cxn ang="0">
                  <a:pos x="1052" y="155"/>
                </a:cxn>
                <a:cxn ang="0">
                  <a:pos x="1066" y="241"/>
                </a:cxn>
                <a:cxn ang="0">
                  <a:pos x="1085" y="302"/>
                </a:cxn>
                <a:cxn ang="0">
                  <a:pos x="1125" y="396"/>
                </a:cxn>
                <a:cxn ang="0">
                  <a:pos x="1117" y="552"/>
                </a:cxn>
                <a:cxn ang="0">
                  <a:pos x="1005" y="615"/>
                </a:cxn>
                <a:cxn ang="0">
                  <a:pos x="1018" y="744"/>
                </a:cxn>
                <a:cxn ang="0">
                  <a:pos x="1070" y="911"/>
                </a:cxn>
                <a:cxn ang="0">
                  <a:pos x="1096" y="1052"/>
                </a:cxn>
                <a:cxn ang="0">
                  <a:pos x="1125" y="1267"/>
                </a:cxn>
                <a:cxn ang="0">
                  <a:pos x="1037" y="1409"/>
                </a:cxn>
                <a:cxn ang="0">
                  <a:pos x="1058" y="1682"/>
                </a:cxn>
                <a:cxn ang="0">
                  <a:pos x="1117" y="2030"/>
                </a:cxn>
                <a:cxn ang="0">
                  <a:pos x="1172" y="2349"/>
                </a:cxn>
                <a:cxn ang="0">
                  <a:pos x="1232" y="2504"/>
                </a:cxn>
                <a:cxn ang="0">
                  <a:pos x="1268" y="2725"/>
                </a:cxn>
                <a:cxn ang="0">
                  <a:pos x="1212" y="2823"/>
                </a:cxn>
                <a:cxn ang="0">
                  <a:pos x="1114" y="2791"/>
                </a:cxn>
                <a:cxn ang="0">
                  <a:pos x="1082" y="2737"/>
                </a:cxn>
                <a:cxn ang="0">
                  <a:pos x="1036" y="2670"/>
                </a:cxn>
                <a:cxn ang="0">
                  <a:pos x="978" y="2549"/>
                </a:cxn>
                <a:cxn ang="0">
                  <a:pos x="907" y="2409"/>
                </a:cxn>
                <a:cxn ang="0">
                  <a:pos x="868" y="2107"/>
                </a:cxn>
                <a:cxn ang="0">
                  <a:pos x="802" y="1791"/>
                </a:cxn>
                <a:cxn ang="0">
                  <a:pos x="698" y="1527"/>
                </a:cxn>
                <a:cxn ang="0">
                  <a:pos x="640" y="1384"/>
                </a:cxn>
                <a:cxn ang="0">
                  <a:pos x="572" y="1619"/>
                </a:cxn>
                <a:cxn ang="0">
                  <a:pos x="479" y="1911"/>
                </a:cxn>
                <a:cxn ang="0">
                  <a:pos x="418" y="2175"/>
                </a:cxn>
                <a:cxn ang="0">
                  <a:pos x="353" y="2438"/>
                </a:cxn>
                <a:cxn ang="0">
                  <a:pos x="287" y="2639"/>
                </a:cxn>
                <a:cxn ang="0">
                  <a:pos x="248" y="2739"/>
                </a:cxn>
                <a:cxn ang="0">
                  <a:pos x="193" y="2793"/>
                </a:cxn>
                <a:cxn ang="0">
                  <a:pos x="29" y="2837"/>
                </a:cxn>
                <a:cxn ang="0">
                  <a:pos x="11" y="2786"/>
                </a:cxn>
                <a:cxn ang="0">
                  <a:pos x="89" y="2646"/>
                </a:cxn>
                <a:cxn ang="0">
                  <a:pos x="106" y="2528"/>
                </a:cxn>
                <a:cxn ang="0">
                  <a:pos x="117" y="2294"/>
                </a:cxn>
                <a:cxn ang="0">
                  <a:pos x="211" y="1940"/>
                </a:cxn>
                <a:cxn ang="0">
                  <a:pos x="232" y="1759"/>
                </a:cxn>
                <a:cxn ang="0">
                  <a:pos x="239" y="1522"/>
                </a:cxn>
                <a:cxn ang="0">
                  <a:pos x="257" y="1295"/>
                </a:cxn>
                <a:cxn ang="0">
                  <a:pos x="140" y="1194"/>
                </a:cxn>
                <a:cxn ang="0">
                  <a:pos x="197" y="1013"/>
                </a:cxn>
                <a:cxn ang="0">
                  <a:pos x="247" y="866"/>
                </a:cxn>
                <a:cxn ang="0">
                  <a:pos x="285" y="759"/>
                </a:cxn>
                <a:cxn ang="0">
                  <a:pos x="320" y="635"/>
                </a:cxn>
                <a:cxn ang="0">
                  <a:pos x="233" y="535"/>
                </a:cxn>
                <a:cxn ang="0">
                  <a:pos x="225" y="417"/>
                </a:cxn>
                <a:cxn ang="0">
                  <a:pos x="242" y="309"/>
                </a:cxn>
                <a:cxn ang="0">
                  <a:pos x="255" y="180"/>
                </a:cxn>
                <a:cxn ang="0">
                  <a:pos x="400" y="80"/>
                </a:cxn>
                <a:cxn ang="0">
                  <a:pos x="533" y="38"/>
                </a:cxn>
              </a:cxnLst>
              <a:rect l="0" t="0" r="r" b="b"/>
              <a:pathLst>
                <a:path w="1286" h="2838">
                  <a:moveTo>
                    <a:pt x="693" y="726"/>
                  </a:moveTo>
                  <a:lnTo>
                    <a:pt x="677" y="728"/>
                  </a:lnTo>
                  <a:lnTo>
                    <a:pt x="672" y="732"/>
                  </a:lnTo>
                  <a:lnTo>
                    <a:pt x="666" y="742"/>
                  </a:lnTo>
                  <a:lnTo>
                    <a:pt x="659" y="756"/>
                  </a:lnTo>
                  <a:lnTo>
                    <a:pt x="651" y="774"/>
                  </a:lnTo>
                  <a:lnTo>
                    <a:pt x="644" y="792"/>
                  </a:lnTo>
                  <a:lnTo>
                    <a:pt x="636" y="813"/>
                  </a:lnTo>
                  <a:lnTo>
                    <a:pt x="629" y="833"/>
                  </a:lnTo>
                  <a:lnTo>
                    <a:pt x="622" y="852"/>
                  </a:lnTo>
                  <a:lnTo>
                    <a:pt x="618" y="868"/>
                  </a:lnTo>
                  <a:lnTo>
                    <a:pt x="614" y="881"/>
                  </a:lnTo>
                  <a:lnTo>
                    <a:pt x="608" y="899"/>
                  </a:lnTo>
                  <a:lnTo>
                    <a:pt x="600" y="923"/>
                  </a:lnTo>
                  <a:lnTo>
                    <a:pt x="591" y="948"/>
                  </a:lnTo>
                  <a:lnTo>
                    <a:pt x="780" y="948"/>
                  </a:lnTo>
                  <a:lnTo>
                    <a:pt x="773" y="923"/>
                  </a:lnTo>
                  <a:lnTo>
                    <a:pt x="766" y="901"/>
                  </a:lnTo>
                  <a:lnTo>
                    <a:pt x="761" y="881"/>
                  </a:lnTo>
                  <a:lnTo>
                    <a:pt x="758" y="867"/>
                  </a:lnTo>
                  <a:lnTo>
                    <a:pt x="754" y="854"/>
                  </a:lnTo>
                  <a:lnTo>
                    <a:pt x="750" y="838"/>
                  </a:lnTo>
                  <a:lnTo>
                    <a:pt x="745" y="820"/>
                  </a:lnTo>
                  <a:lnTo>
                    <a:pt x="738" y="802"/>
                  </a:lnTo>
                  <a:lnTo>
                    <a:pt x="732" y="783"/>
                  </a:lnTo>
                  <a:lnTo>
                    <a:pt x="727" y="766"/>
                  </a:lnTo>
                  <a:lnTo>
                    <a:pt x="721" y="752"/>
                  </a:lnTo>
                  <a:lnTo>
                    <a:pt x="714" y="734"/>
                  </a:lnTo>
                  <a:lnTo>
                    <a:pt x="709" y="730"/>
                  </a:lnTo>
                  <a:lnTo>
                    <a:pt x="702" y="726"/>
                  </a:lnTo>
                  <a:lnTo>
                    <a:pt x="693" y="726"/>
                  </a:lnTo>
                  <a:close/>
                  <a:moveTo>
                    <a:pt x="552" y="0"/>
                  </a:moveTo>
                  <a:lnTo>
                    <a:pt x="555" y="2"/>
                  </a:lnTo>
                  <a:lnTo>
                    <a:pt x="556" y="9"/>
                  </a:lnTo>
                  <a:lnTo>
                    <a:pt x="556" y="19"/>
                  </a:lnTo>
                  <a:lnTo>
                    <a:pt x="557" y="31"/>
                  </a:lnTo>
                  <a:lnTo>
                    <a:pt x="561" y="40"/>
                  </a:lnTo>
                  <a:lnTo>
                    <a:pt x="564" y="46"/>
                  </a:lnTo>
                  <a:lnTo>
                    <a:pt x="571" y="56"/>
                  </a:lnTo>
                  <a:lnTo>
                    <a:pt x="579" y="68"/>
                  </a:lnTo>
                  <a:lnTo>
                    <a:pt x="589" y="81"/>
                  </a:lnTo>
                  <a:lnTo>
                    <a:pt x="599" y="96"/>
                  </a:lnTo>
                  <a:lnTo>
                    <a:pt x="608" y="111"/>
                  </a:lnTo>
                  <a:lnTo>
                    <a:pt x="619" y="131"/>
                  </a:lnTo>
                  <a:lnTo>
                    <a:pt x="632" y="156"/>
                  </a:lnTo>
                  <a:lnTo>
                    <a:pt x="643" y="183"/>
                  </a:lnTo>
                  <a:lnTo>
                    <a:pt x="654" y="210"/>
                  </a:lnTo>
                  <a:lnTo>
                    <a:pt x="663" y="234"/>
                  </a:lnTo>
                  <a:lnTo>
                    <a:pt x="669" y="253"/>
                  </a:lnTo>
                  <a:lnTo>
                    <a:pt x="674" y="274"/>
                  </a:lnTo>
                  <a:lnTo>
                    <a:pt x="684" y="316"/>
                  </a:lnTo>
                  <a:lnTo>
                    <a:pt x="688" y="335"/>
                  </a:lnTo>
                  <a:lnTo>
                    <a:pt x="692" y="351"/>
                  </a:lnTo>
                  <a:lnTo>
                    <a:pt x="693" y="362"/>
                  </a:lnTo>
                  <a:lnTo>
                    <a:pt x="693" y="368"/>
                  </a:lnTo>
                  <a:lnTo>
                    <a:pt x="694" y="373"/>
                  </a:lnTo>
                  <a:lnTo>
                    <a:pt x="696" y="377"/>
                  </a:lnTo>
                  <a:lnTo>
                    <a:pt x="698" y="378"/>
                  </a:lnTo>
                  <a:lnTo>
                    <a:pt x="705" y="378"/>
                  </a:lnTo>
                  <a:lnTo>
                    <a:pt x="706" y="375"/>
                  </a:lnTo>
                  <a:lnTo>
                    <a:pt x="706" y="346"/>
                  </a:lnTo>
                  <a:lnTo>
                    <a:pt x="708" y="327"/>
                  </a:lnTo>
                  <a:lnTo>
                    <a:pt x="710" y="305"/>
                  </a:lnTo>
                  <a:lnTo>
                    <a:pt x="721" y="232"/>
                  </a:lnTo>
                  <a:lnTo>
                    <a:pt x="725" y="213"/>
                  </a:lnTo>
                  <a:lnTo>
                    <a:pt x="730" y="191"/>
                  </a:lnTo>
                  <a:lnTo>
                    <a:pt x="736" y="168"/>
                  </a:lnTo>
                  <a:lnTo>
                    <a:pt x="742" y="143"/>
                  </a:lnTo>
                  <a:lnTo>
                    <a:pt x="747" y="121"/>
                  </a:lnTo>
                  <a:lnTo>
                    <a:pt x="753" y="100"/>
                  </a:lnTo>
                  <a:lnTo>
                    <a:pt x="758" y="84"/>
                  </a:lnTo>
                  <a:lnTo>
                    <a:pt x="763" y="73"/>
                  </a:lnTo>
                  <a:lnTo>
                    <a:pt x="767" y="55"/>
                  </a:lnTo>
                  <a:lnTo>
                    <a:pt x="768" y="39"/>
                  </a:lnTo>
                  <a:lnTo>
                    <a:pt x="767" y="26"/>
                  </a:lnTo>
                  <a:lnTo>
                    <a:pt x="766" y="17"/>
                  </a:lnTo>
                  <a:lnTo>
                    <a:pt x="767" y="16"/>
                  </a:lnTo>
                  <a:lnTo>
                    <a:pt x="769" y="19"/>
                  </a:lnTo>
                  <a:lnTo>
                    <a:pt x="778" y="35"/>
                  </a:lnTo>
                  <a:lnTo>
                    <a:pt x="789" y="54"/>
                  </a:lnTo>
                  <a:lnTo>
                    <a:pt x="794" y="61"/>
                  </a:lnTo>
                  <a:lnTo>
                    <a:pt x="801" y="69"/>
                  </a:lnTo>
                  <a:lnTo>
                    <a:pt x="810" y="76"/>
                  </a:lnTo>
                  <a:lnTo>
                    <a:pt x="818" y="83"/>
                  </a:lnTo>
                  <a:lnTo>
                    <a:pt x="825" y="88"/>
                  </a:lnTo>
                  <a:lnTo>
                    <a:pt x="827" y="89"/>
                  </a:lnTo>
                  <a:lnTo>
                    <a:pt x="837" y="92"/>
                  </a:lnTo>
                  <a:lnTo>
                    <a:pt x="851" y="96"/>
                  </a:lnTo>
                  <a:lnTo>
                    <a:pt x="870" y="99"/>
                  </a:lnTo>
                  <a:lnTo>
                    <a:pt x="892" y="102"/>
                  </a:lnTo>
                  <a:lnTo>
                    <a:pt x="916" y="104"/>
                  </a:lnTo>
                  <a:lnTo>
                    <a:pt x="940" y="106"/>
                  </a:lnTo>
                  <a:lnTo>
                    <a:pt x="963" y="109"/>
                  </a:lnTo>
                  <a:lnTo>
                    <a:pt x="983" y="110"/>
                  </a:lnTo>
                  <a:lnTo>
                    <a:pt x="1000" y="112"/>
                  </a:lnTo>
                  <a:lnTo>
                    <a:pt x="1018" y="117"/>
                  </a:lnTo>
                  <a:lnTo>
                    <a:pt x="1030" y="124"/>
                  </a:lnTo>
                  <a:lnTo>
                    <a:pt x="1040" y="133"/>
                  </a:lnTo>
                  <a:lnTo>
                    <a:pt x="1047" y="143"/>
                  </a:lnTo>
                  <a:lnTo>
                    <a:pt x="1052" y="155"/>
                  </a:lnTo>
                  <a:lnTo>
                    <a:pt x="1055" y="166"/>
                  </a:lnTo>
                  <a:lnTo>
                    <a:pt x="1057" y="175"/>
                  </a:lnTo>
                  <a:lnTo>
                    <a:pt x="1058" y="187"/>
                  </a:lnTo>
                  <a:lnTo>
                    <a:pt x="1056" y="199"/>
                  </a:lnTo>
                  <a:lnTo>
                    <a:pt x="1053" y="211"/>
                  </a:lnTo>
                  <a:lnTo>
                    <a:pt x="1050" y="220"/>
                  </a:lnTo>
                  <a:lnTo>
                    <a:pt x="1048" y="226"/>
                  </a:lnTo>
                  <a:lnTo>
                    <a:pt x="1050" y="231"/>
                  </a:lnTo>
                  <a:lnTo>
                    <a:pt x="1062" y="238"/>
                  </a:lnTo>
                  <a:lnTo>
                    <a:pt x="1066" y="241"/>
                  </a:lnTo>
                  <a:lnTo>
                    <a:pt x="1066" y="246"/>
                  </a:lnTo>
                  <a:lnTo>
                    <a:pt x="1062" y="260"/>
                  </a:lnTo>
                  <a:lnTo>
                    <a:pt x="1060" y="266"/>
                  </a:lnTo>
                  <a:lnTo>
                    <a:pt x="1062" y="269"/>
                  </a:lnTo>
                  <a:lnTo>
                    <a:pt x="1066" y="274"/>
                  </a:lnTo>
                  <a:lnTo>
                    <a:pt x="1069" y="278"/>
                  </a:lnTo>
                  <a:lnTo>
                    <a:pt x="1069" y="281"/>
                  </a:lnTo>
                  <a:lnTo>
                    <a:pt x="1070" y="285"/>
                  </a:lnTo>
                  <a:lnTo>
                    <a:pt x="1073" y="290"/>
                  </a:lnTo>
                  <a:lnTo>
                    <a:pt x="1085" y="302"/>
                  </a:lnTo>
                  <a:lnTo>
                    <a:pt x="1089" y="310"/>
                  </a:lnTo>
                  <a:lnTo>
                    <a:pt x="1095" y="324"/>
                  </a:lnTo>
                  <a:lnTo>
                    <a:pt x="1101" y="339"/>
                  </a:lnTo>
                  <a:lnTo>
                    <a:pt x="1108" y="353"/>
                  </a:lnTo>
                  <a:lnTo>
                    <a:pt x="1114" y="363"/>
                  </a:lnTo>
                  <a:lnTo>
                    <a:pt x="1117" y="371"/>
                  </a:lnTo>
                  <a:lnTo>
                    <a:pt x="1118" y="380"/>
                  </a:lnTo>
                  <a:lnTo>
                    <a:pt x="1121" y="388"/>
                  </a:lnTo>
                  <a:lnTo>
                    <a:pt x="1123" y="392"/>
                  </a:lnTo>
                  <a:lnTo>
                    <a:pt x="1125" y="396"/>
                  </a:lnTo>
                  <a:lnTo>
                    <a:pt x="1128" y="402"/>
                  </a:lnTo>
                  <a:lnTo>
                    <a:pt x="1132" y="410"/>
                  </a:lnTo>
                  <a:lnTo>
                    <a:pt x="1136" y="421"/>
                  </a:lnTo>
                  <a:lnTo>
                    <a:pt x="1140" y="438"/>
                  </a:lnTo>
                  <a:lnTo>
                    <a:pt x="1146" y="459"/>
                  </a:lnTo>
                  <a:lnTo>
                    <a:pt x="1147" y="478"/>
                  </a:lnTo>
                  <a:lnTo>
                    <a:pt x="1144" y="497"/>
                  </a:lnTo>
                  <a:lnTo>
                    <a:pt x="1137" y="517"/>
                  </a:lnTo>
                  <a:lnTo>
                    <a:pt x="1128" y="535"/>
                  </a:lnTo>
                  <a:lnTo>
                    <a:pt x="1117" y="552"/>
                  </a:lnTo>
                  <a:lnTo>
                    <a:pt x="1106" y="567"/>
                  </a:lnTo>
                  <a:lnTo>
                    <a:pt x="1095" y="580"/>
                  </a:lnTo>
                  <a:lnTo>
                    <a:pt x="1086" y="590"/>
                  </a:lnTo>
                  <a:lnTo>
                    <a:pt x="1080" y="596"/>
                  </a:lnTo>
                  <a:lnTo>
                    <a:pt x="1072" y="601"/>
                  </a:lnTo>
                  <a:lnTo>
                    <a:pt x="1060" y="604"/>
                  </a:lnTo>
                  <a:lnTo>
                    <a:pt x="1047" y="606"/>
                  </a:lnTo>
                  <a:lnTo>
                    <a:pt x="1031" y="609"/>
                  </a:lnTo>
                  <a:lnTo>
                    <a:pt x="1018" y="612"/>
                  </a:lnTo>
                  <a:lnTo>
                    <a:pt x="1005" y="615"/>
                  </a:lnTo>
                  <a:lnTo>
                    <a:pt x="997" y="618"/>
                  </a:lnTo>
                  <a:lnTo>
                    <a:pt x="993" y="621"/>
                  </a:lnTo>
                  <a:lnTo>
                    <a:pt x="994" y="627"/>
                  </a:lnTo>
                  <a:lnTo>
                    <a:pt x="996" y="639"/>
                  </a:lnTo>
                  <a:lnTo>
                    <a:pt x="999" y="654"/>
                  </a:lnTo>
                  <a:lnTo>
                    <a:pt x="1002" y="672"/>
                  </a:lnTo>
                  <a:lnTo>
                    <a:pt x="1006" y="690"/>
                  </a:lnTo>
                  <a:lnTo>
                    <a:pt x="1011" y="709"/>
                  </a:lnTo>
                  <a:lnTo>
                    <a:pt x="1014" y="727"/>
                  </a:lnTo>
                  <a:lnTo>
                    <a:pt x="1018" y="744"/>
                  </a:lnTo>
                  <a:lnTo>
                    <a:pt x="1021" y="756"/>
                  </a:lnTo>
                  <a:lnTo>
                    <a:pt x="1022" y="766"/>
                  </a:lnTo>
                  <a:lnTo>
                    <a:pt x="1026" y="779"/>
                  </a:lnTo>
                  <a:lnTo>
                    <a:pt x="1030" y="795"/>
                  </a:lnTo>
                  <a:lnTo>
                    <a:pt x="1036" y="813"/>
                  </a:lnTo>
                  <a:lnTo>
                    <a:pt x="1043" y="832"/>
                  </a:lnTo>
                  <a:lnTo>
                    <a:pt x="1050" y="852"/>
                  </a:lnTo>
                  <a:lnTo>
                    <a:pt x="1069" y="898"/>
                  </a:lnTo>
                  <a:lnTo>
                    <a:pt x="1070" y="906"/>
                  </a:lnTo>
                  <a:lnTo>
                    <a:pt x="1070" y="911"/>
                  </a:lnTo>
                  <a:lnTo>
                    <a:pt x="1067" y="912"/>
                  </a:lnTo>
                  <a:lnTo>
                    <a:pt x="1066" y="912"/>
                  </a:lnTo>
                  <a:lnTo>
                    <a:pt x="1065" y="913"/>
                  </a:lnTo>
                  <a:lnTo>
                    <a:pt x="1065" y="920"/>
                  </a:lnTo>
                  <a:lnTo>
                    <a:pt x="1070" y="934"/>
                  </a:lnTo>
                  <a:lnTo>
                    <a:pt x="1073" y="951"/>
                  </a:lnTo>
                  <a:lnTo>
                    <a:pt x="1079" y="972"/>
                  </a:lnTo>
                  <a:lnTo>
                    <a:pt x="1084" y="996"/>
                  </a:lnTo>
                  <a:lnTo>
                    <a:pt x="1089" y="1023"/>
                  </a:lnTo>
                  <a:lnTo>
                    <a:pt x="1096" y="1052"/>
                  </a:lnTo>
                  <a:lnTo>
                    <a:pt x="1108" y="1112"/>
                  </a:lnTo>
                  <a:lnTo>
                    <a:pt x="1115" y="1143"/>
                  </a:lnTo>
                  <a:lnTo>
                    <a:pt x="1120" y="1170"/>
                  </a:lnTo>
                  <a:lnTo>
                    <a:pt x="1125" y="1196"/>
                  </a:lnTo>
                  <a:lnTo>
                    <a:pt x="1129" y="1218"/>
                  </a:lnTo>
                  <a:lnTo>
                    <a:pt x="1132" y="1236"/>
                  </a:lnTo>
                  <a:lnTo>
                    <a:pt x="1135" y="1248"/>
                  </a:lnTo>
                  <a:lnTo>
                    <a:pt x="1136" y="1255"/>
                  </a:lnTo>
                  <a:lnTo>
                    <a:pt x="1133" y="1260"/>
                  </a:lnTo>
                  <a:lnTo>
                    <a:pt x="1125" y="1267"/>
                  </a:lnTo>
                  <a:lnTo>
                    <a:pt x="1111" y="1273"/>
                  </a:lnTo>
                  <a:lnTo>
                    <a:pt x="1094" y="1281"/>
                  </a:lnTo>
                  <a:lnTo>
                    <a:pt x="1074" y="1288"/>
                  </a:lnTo>
                  <a:lnTo>
                    <a:pt x="1053" y="1295"/>
                  </a:lnTo>
                  <a:lnTo>
                    <a:pt x="1031" y="1302"/>
                  </a:lnTo>
                  <a:lnTo>
                    <a:pt x="1035" y="1316"/>
                  </a:lnTo>
                  <a:lnTo>
                    <a:pt x="1037" y="1326"/>
                  </a:lnTo>
                  <a:lnTo>
                    <a:pt x="1038" y="1350"/>
                  </a:lnTo>
                  <a:lnTo>
                    <a:pt x="1038" y="1377"/>
                  </a:lnTo>
                  <a:lnTo>
                    <a:pt x="1037" y="1409"/>
                  </a:lnTo>
                  <a:lnTo>
                    <a:pt x="1037" y="1441"/>
                  </a:lnTo>
                  <a:lnTo>
                    <a:pt x="1036" y="1474"/>
                  </a:lnTo>
                  <a:lnTo>
                    <a:pt x="1035" y="1504"/>
                  </a:lnTo>
                  <a:lnTo>
                    <a:pt x="1035" y="1533"/>
                  </a:lnTo>
                  <a:lnTo>
                    <a:pt x="1036" y="1559"/>
                  </a:lnTo>
                  <a:lnTo>
                    <a:pt x="1038" y="1579"/>
                  </a:lnTo>
                  <a:lnTo>
                    <a:pt x="1042" y="1596"/>
                  </a:lnTo>
                  <a:lnTo>
                    <a:pt x="1047" y="1621"/>
                  </a:lnTo>
                  <a:lnTo>
                    <a:pt x="1051" y="1648"/>
                  </a:lnTo>
                  <a:lnTo>
                    <a:pt x="1058" y="1682"/>
                  </a:lnTo>
                  <a:lnTo>
                    <a:pt x="1065" y="1718"/>
                  </a:lnTo>
                  <a:lnTo>
                    <a:pt x="1072" y="1755"/>
                  </a:lnTo>
                  <a:lnTo>
                    <a:pt x="1078" y="1794"/>
                  </a:lnTo>
                  <a:lnTo>
                    <a:pt x="1085" y="1832"/>
                  </a:lnTo>
                  <a:lnTo>
                    <a:pt x="1092" y="1868"/>
                  </a:lnTo>
                  <a:lnTo>
                    <a:pt x="1096" y="1902"/>
                  </a:lnTo>
                  <a:lnTo>
                    <a:pt x="1101" y="1932"/>
                  </a:lnTo>
                  <a:lnTo>
                    <a:pt x="1106" y="1961"/>
                  </a:lnTo>
                  <a:lnTo>
                    <a:pt x="1110" y="1995"/>
                  </a:lnTo>
                  <a:lnTo>
                    <a:pt x="1117" y="2030"/>
                  </a:lnTo>
                  <a:lnTo>
                    <a:pt x="1131" y="2102"/>
                  </a:lnTo>
                  <a:lnTo>
                    <a:pt x="1138" y="2137"/>
                  </a:lnTo>
                  <a:lnTo>
                    <a:pt x="1145" y="2171"/>
                  </a:lnTo>
                  <a:lnTo>
                    <a:pt x="1151" y="2201"/>
                  </a:lnTo>
                  <a:lnTo>
                    <a:pt x="1157" y="2228"/>
                  </a:lnTo>
                  <a:lnTo>
                    <a:pt x="1161" y="2250"/>
                  </a:lnTo>
                  <a:lnTo>
                    <a:pt x="1165" y="2265"/>
                  </a:lnTo>
                  <a:lnTo>
                    <a:pt x="1168" y="2283"/>
                  </a:lnTo>
                  <a:lnTo>
                    <a:pt x="1169" y="2304"/>
                  </a:lnTo>
                  <a:lnTo>
                    <a:pt x="1172" y="2349"/>
                  </a:lnTo>
                  <a:lnTo>
                    <a:pt x="1174" y="2370"/>
                  </a:lnTo>
                  <a:lnTo>
                    <a:pt x="1176" y="2388"/>
                  </a:lnTo>
                  <a:lnTo>
                    <a:pt x="1180" y="2404"/>
                  </a:lnTo>
                  <a:lnTo>
                    <a:pt x="1186" y="2416"/>
                  </a:lnTo>
                  <a:lnTo>
                    <a:pt x="1201" y="2433"/>
                  </a:lnTo>
                  <a:lnTo>
                    <a:pt x="1215" y="2450"/>
                  </a:lnTo>
                  <a:lnTo>
                    <a:pt x="1225" y="2466"/>
                  </a:lnTo>
                  <a:lnTo>
                    <a:pt x="1232" y="2481"/>
                  </a:lnTo>
                  <a:lnTo>
                    <a:pt x="1233" y="2490"/>
                  </a:lnTo>
                  <a:lnTo>
                    <a:pt x="1232" y="2504"/>
                  </a:lnTo>
                  <a:lnTo>
                    <a:pt x="1231" y="2523"/>
                  </a:lnTo>
                  <a:lnTo>
                    <a:pt x="1227" y="2543"/>
                  </a:lnTo>
                  <a:lnTo>
                    <a:pt x="1224" y="2565"/>
                  </a:lnTo>
                  <a:lnTo>
                    <a:pt x="1220" y="2585"/>
                  </a:lnTo>
                  <a:lnTo>
                    <a:pt x="1217" y="2603"/>
                  </a:lnTo>
                  <a:lnTo>
                    <a:pt x="1211" y="2627"/>
                  </a:lnTo>
                  <a:lnTo>
                    <a:pt x="1222" y="2649"/>
                  </a:lnTo>
                  <a:lnTo>
                    <a:pt x="1233" y="2670"/>
                  </a:lnTo>
                  <a:lnTo>
                    <a:pt x="1256" y="2709"/>
                  </a:lnTo>
                  <a:lnTo>
                    <a:pt x="1268" y="2725"/>
                  </a:lnTo>
                  <a:lnTo>
                    <a:pt x="1277" y="2741"/>
                  </a:lnTo>
                  <a:lnTo>
                    <a:pt x="1283" y="2752"/>
                  </a:lnTo>
                  <a:lnTo>
                    <a:pt x="1286" y="2768"/>
                  </a:lnTo>
                  <a:lnTo>
                    <a:pt x="1284" y="2785"/>
                  </a:lnTo>
                  <a:lnTo>
                    <a:pt x="1278" y="2800"/>
                  </a:lnTo>
                  <a:lnTo>
                    <a:pt x="1268" y="2810"/>
                  </a:lnTo>
                  <a:lnTo>
                    <a:pt x="1257" y="2817"/>
                  </a:lnTo>
                  <a:lnTo>
                    <a:pt x="1246" y="2821"/>
                  </a:lnTo>
                  <a:lnTo>
                    <a:pt x="1230" y="2822"/>
                  </a:lnTo>
                  <a:lnTo>
                    <a:pt x="1212" y="2823"/>
                  </a:lnTo>
                  <a:lnTo>
                    <a:pt x="1194" y="2822"/>
                  </a:lnTo>
                  <a:lnTo>
                    <a:pt x="1179" y="2821"/>
                  </a:lnTo>
                  <a:lnTo>
                    <a:pt x="1168" y="2818"/>
                  </a:lnTo>
                  <a:lnTo>
                    <a:pt x="1166" y="2818"/>
                  </a:lnTo>
                  <a:lnTo>
                    <a:pt x="1160" y="2817"/>
                  </a:lnTo>
                  <a:lnTo>
                    <a:pt x="1151" y="2815"/>
                  </a:lnTo>
                  <a:lnTo>
                    <a:pt x="1140" y="2811"/>
                  </a:lnTo>
                  <a:lnTo>
                    <a:pt x="1129" y="2804"/>
                  </a:lnTo>
                  <a:lnTo>
                    <a:pt x="1122" y="2798"/>
                  </a:lnTo>
                  <a:lnTo>
                    <a:pt x="1114" y="2791"/>
                  </a:lnTo>
                  <a:lnTo>
                    <a:pt x="1108" y="2784"/>
                  </a:lnTo>
                  <a:lnTo>
                    <a:pt x="1104" y="2772"/>
                  </a:lnTo>
                  <a:lnTo>
                    <a:pt x="1100" y="2746"/>
                  </a:lnTo>
                  <a:lnTo>
                    <a:pt x="1098" y="2738"/>
                  </a:lnTo>
                  <a:lnTo>
                    <a:pt x="1095" y="2734"/>
                  </a:lnTo>
                  <a:lnTo>
                    <a:pt x="1094" y="2734"/>
                  </a:lnTo>
                  <a:lnTo>
                    <a:pt x="1092" y="2735"/>
                  </a:lnTo>
                  <a:lnTo>
                    <a:pt x="1089" y="2735"/>
                  </a:lnTo>
                  <a:lnTo>
                    <a:pt x="1085" y="2737"/>
                  </a:lnTo>
                  <a:lnTo>
                    <a:pt x="1082" y="2737"/>
                  </a:lnTo>
                  <a:lnTo>
                    <a:pt x="1078" y="2736"/>
                  </a:lnTo>
                  <a:lnTo>
                    <a:pt x="1071" y="2732"/>
                  </a:lnTo>
                  <a:lnTo>
                    <a:pt x="1063" y="2728"/>
                  </a:lnTo>
                  <a:lnTo>
                    <a:pt x="1053" y="2722"/>
                  </a:lnTo>
                  <a:lnTo>
                    <a:pt x="1047" y="2717"/>
                  </a:lnTo>
                  <a:lnTo>
                    <a:pt x="1042" y="2713"/>
                  </a:lnTo>
                  <a:lnTo>
                    <a:pt x="1040" y="2708"/>
                  </a:lnTo>
                  <a:lnTo>
                    <a:pt x="1038" y="2697"/>
                  </a:lnTo>
                  <a:lnTo>
                    <a:pt x="1037" y="2685"/>
                  </a:lnTo>
                  <a:lnTo>
                    <a:pt x="1036" y="2670"/>
                  </a:lnTo>
                  <a:lnTo>
                    <a:pt x="1036" y="2652"/>
                  </a:lnTo>
                  <a:lnTo>
                    <a:pt x="1035" y="2636"/>
                  </a:lnTo>
                  <a:lnTo>
                    <a:pt x="1035" y="2621"/>
                  </a:lnTo>
                  <a:lnTo>
                    <a:pt x="1030" y="2617"/>
                  </a:lnTo>
                  <a:lnTo>
                    <a:pt x="1024" y="2615"/>
                  </a:lnTo>
                  <a:lnTo>
                    <a:pt x="1019" y="2611"/>
                  </a:lnTo>
                  <a:lnTo>
                    <a:pt x="1006" y="2600"/>
                  </a:lnTo>
                  <a:lnTo>
                    <a:pt x="994" y="2585"/>
                  </a:lnTo>
                  <a:lnTo>
                    <a:pt x="985" y="2567"/>
                  </a:lnTo>
                  <a:lnTo>
                    <a:pt x="978" y="2549"/>
                  </a:lnTo>
                  <a:lnTo>
                    <a:pt x="972" y="2530"/>
                  </a:lnTo>
                  <a:lnTo>
                    <a:pt x="968" y="2514"/>
                  </a:lnTo>
                  <a:lnTo>
                    <a:pt x="965" y="2501"/>
                  </a:lnTo>
                  <a:lnTo>
                    <a:pt x="960" y="2487"/>
                  </a:lnTo>
                  <a:lnTo>
                    <a:pt x="949" y="2474"/>
                  </a:lnTo>
                  <a:lnTo>
                    <a:pt x="936" y="2464"/>
                  </a:lnTo>
                  <a:lnTo>
                    <a:pt x="925" y="2451"/>
                  </a:lnTo>
                  <a:lnTo>
                    <a:pt x="914" y="2437"/>
                  </a:lnTo>
                  <a:lnTo>
                    <a:pt x="911" y="2427"/>
                  </a:lnTo>
                  <a:lnTo>
                    <a:pt x="907" y="2409"/>
                  </a:lnTo>
                  <a:lnTo>
                    <a:pt x="904" y="2387"/>
                  </a:lnTo>
                  <a:lnTo>
                    <a:pt x="899" y="2359"/>
                  </a:lnTo>
                  <a:lnTo>
                    <a:pt x="896" y="2328"/>
                  </a:lnTo>
                  <a:lnTo>
                    <a:pt x="891" y="2294"/>
                  </a:lnTo>
                  <a:lnTo>
                    <a:pt x="888" y="2259"/>
                  </a:lnTo>
                  <a:lnTo>
                    <a:pt x="883" y="2224"/>
                  </a:lnTo>
                  <a:lnTo>
                    <a:pt x="880" y="2190"/>
                  </a:lnTo>
                  <a:lnTo>
                    <a:pt x="876" y="2159"/>
                  </a:lnTo>
                  <a:lnTo>
                    <a:pt x="871" y="2131"/>
                  </a:lnTo>
                  <a:lnTo>
                    <a:pt x="868" y="2107"/>
                  </a:lnTo>
                  <a:lnTo>
                    <a:pt x="863" y="2079"/>
                  </a:lnTo>
                  <a:lnTo>
                    <a:pt x="856" y="2046"/>
                  </a:lnTo>
                  <a:lnTo>
                    <a:pt x="849" y="2011"/>
                  </a:lnTo>
                  <a:lnTo>
                    <a:pt x="843" y="1975"/>
                  </a:lnTo>
                  <a:lnTo>
                    <a:pt x="836" y="1938"/>
                  </a:lnTo>
                  <a:lnTo>
                    <a:pt x="827" y="1902"/>
                  </a:lnTo>
                  <a:lnTo>
                    <a:pt x="820" y="1867"/>
                  </a:lnTo>
                  <a:lnTo>
                    <a:pt x="814" y="1837"/>
                  </a:lnTo>
                  <a:lnTo>
                    <a:pt x="807" y="1811"/>
                  </a:lnTo>
                  <a:lnTo>
                    <a:pt x="802" y="1791"/>
                  </a:lnTo>
                  <a:lnTo>
                    <a:pt x="795" y="1768"/>
                  </a:lnTo>
                  <a:lnTo>
                    <a:pt x="788" y="1743"/>
                  </a:lnTo>
                  <a:lnTo>
                    <a:pt x="760" y="1662"/>
                  </a:lnTo>
                  <a:lnTo>
                    <a:pt x="751" y="1639"/>
                  </a:lnTo>
                  <a:lnTo>
                    <a:pt x="742" y="1619"/>
                  </a:lnTo>
                  <a:lnTo>
                    <a:pt x="732" y="1605"/>
                  </a:lnTo>
                  <a:lnTo>
                    <a:pt x="725" y="1593"/>
                  </a:lnTo>
                  <a:lnTo>
                    <a:pt x="717" y="1575"/>
                  </a:lnTo>
                  <a:lnTo>
                    <a:pt x="708" y="1553"/>
                  </a:lnTo>
                  <a:lnTo>
                    <a:pt x="698" y="1527"/>
                  </a:lnTo>
                  <a:lnTo>
                    <a:pt x="688" y="1501"/>
                  </a:lnTo>
                  <a:lnTo>
                    <a:pt x="678" y="1474"/>
                  </a:lnTo>
                  <a:lnTo>
                    <a:pt x="669" y="1448"/>
                  </a:lnTo>
                  <a:lnTo>
                    <a:pt x="661" y="1424"/>
                  </a:lnTo>
                  <a:lnTo>
                    <a:pt x="655" y="1404"/>
                  </a:lnTo>
                  <a:lnTo>
                    <a:pt x="650" y="1389"/>
                  </a:lnTo>
                  <a:lnTo>
                    <a:pt x="647" y="1379"/>
                  </a:lnTo>
                  <a:lnTo>
                    <a:pt x="644" y="1375"/>
                  </a:lnTo>
                  <a:lnTo>
                    <a:pt x="642" y="1377"/>
                  </a:lnTo>
                  <a:lnTo>
                    <a:pt x="640" y="1384"/>
                  </a:lnTo>
                  <a:lnTo>
                    <a:pt x="638" y="1396"/>
                  </a:lnTo>
                  <a:lnTo>
                    <a:pt x="636" y="1411"/>
                  </a:lnTo>
                  <a:lnTo>
                    <a:pt x="633" y="1427"/>
                  </a:lnTo>
                  <a:lnTo>
                    <a:pt x="629" y="1446"/>
                  </a:lnTo>
                  <a:lnTo>
                    <a:pt x="625" y="1465"/>
                  </a:lnTo>
                  <a:lnTo>
                    <a:pt x="616" y="1488"/>
                  </a:lnTo>
                  <a:lnTo>
                    <a:pt x="607" y="1517"/>
                  </a:lnTo>
                  <a:lnTo>
                    <a:pt x="597" y="1550"/>
                  </a:lnTo>
                  <a:lnTo>
                    <a:pt x="585" y="1584"/>
                  </a:lnTo>
                  <a:lnTo>
                    <a:pt x="572" y="1619"/>
                  </a:lnTo>
                  <a:lnTo>
                    <a:pt x="561" y="1654"/>
                  </a:lnTo>
                  <a:lnTo>
                    <a:pt x="548" y="1686"/>
                  </a:lnTo>
                  <a:lnTo>
                    <a:pt x="538" y="1712"/>
                  </a:lnTo>
                  <a:lnTo>
                    <a:pt x="526" y="1743"/>
                  </a:lnTo>
                  <a:lnTo>
                    <a:pt x="516" y="1774"/>
                  </a:lnTo>
                  <a:lnTo>
                    <a:pt x="507" y="1807"/>
                  </a:lnTo>
                  <a:lnTo>
                    <a:pt x="499" y="1838"/>
                  </a:lnTo>
                  <a:lnTo>
                    <a:pt x="492" y="1867"/>
                  </a:lnTo>
                  <a:lnTo>
                    <a:pt x="485" y="1892"/>
                  </a:lnTo>
                  <a:lnTo>
                    <a:pt x="479" y="1911"/>
                  </a:lnTo>
                  <a:lnTo>
                    <a:pt x="474" y="1923"/>
                  </a:lnTo>
                  <a:lnTo>
                    <a:pt x="469" y="1942"/>
                  </a:lnTo>
                  <a:lnTo>
                    <a:pt x="463" y="1964"/>
                  </a:lnTo>
                  <a:lnTo>
                    <a:pt x="458" y="1990"/>
                  </a:lnTo>
                  <a:lnTo>
                    <a:pt x="451" y="2019"/>
                  </a:lnTo>
                  <a:lnTo>
                    <a:pt x="444" y="2051"/>
                  </a:lnTo>
                  <a:lnTo>
                    <a:pt x="437" y="2083"/>
                  </a:lnTo>
                  <a:lnTo>
                    <a:pt x="431" y="2116"/>
                  </a:lnTo>
                  <a:lnTo>
                    <a:pt x="424" y="2146"/>
                  </a:lnTo>
                  <a:lnTo>
                    <a:pt x="418" y="2175"/>
                  </a:lnTo>
                  <a:lnTo>
                    <a:pt x="414" y="2201"/>
                  </a:lnTo>
                  <a:lnTo>
                    <a:pt x="410" y="2222"/>
                  </a:lnTo>
                  <a:lnTo>
                    <a:pt x="407" y="2238"/>
                  </a:lnTo>
                  <a:lnTo>
                    <a:pt x="402" y="2265"/>
                  </a:lnTo>
                  <a:lnTo>
                    <a:pt x="390" y="2328"/>
                  </a:lnTo>
                  <a:lnTo>
                    <a:pt x="383" y="2358"/>
                  </a:lnTo>
                  <a:lnTo>
                    <a:pt x="377" y="2386"/>
                  </a:lnTo>
                  <a:lnTo>
                    <a:pt x="368" y="2408"/>
                  </a:lnTo>
                  <a:lnTo>
                    <a:pt x="361" y="2423"/>
                  </a:lnTo>
                  <a:lnTo>
                    <a:pt x="353" y="2438"/>
                  </a:lnTo>
                  <a:lnTo>
                    <a:pt x="349" y="2452"/>
                  </a:lnTo>
                  <a:lnTo>
                    <a:pt x="346" y="2467"/>
                  </a:lnTo>
                  <a:lnTo>
                    <a:pt x="346" y="2531"/>
                  </a:lnTo>
                  <a:lnTo>
                    <a:pt x="345" y="2557"/>
                  </a:lnTo>
                  <a:lnTo>
                    <a:pt x="341" y="2579"/>
                  </a:lnTo>
                  <a:lnTo>
                    <a:pt x="332" y="2599"/>
                  </a:lnTo>
                  <a:lnTo>
                    <a:pt x="326" y="2608"/>
                  </a:lnTo>
                  <a:lnTo>
                    <a:pt x="315" y="2617"/>
                  </a:lnTo>
                  <a:lnTo>
                    <a:pt x="302" y="2629"/>
                  </a:lnTo>
                  <a:lnTo>
                    <a:pt x="287" y="2639"/>
                  </a:lnTo>
                  <a:lnTo>
                    <a:pt x="286" y="2654"/>
                  </a:lnTo>
                  <a:lnTo>
                    <a:pt x="285" y="2671"/>
                  </a:lnTo>
                  <a:lnTo>
                    <a:pt x="284" y="2688"/>
                  </a:lnTo>
                  <a:lnTo>
                    <a:pt x="283" y="2702"/>
                  </a:lnTo>
                  <a:lnTo>
                    <a:pt x="283" y="2714"/>
                  </a:lnTo>
                  <a:lnTo>
                    <a:pt x="281" y="2720"/>
                  </a:lnTo>
                  <a:lnTo>
                    <a:pt x="278" y="2724"/>
                  </a:lnTo>
                  <a:lnTo>
                    <a:pt x="269" y="2730"/>
                  </a:lnTo>
                  <a:lnTo>
                    <a:pt x="258" y="2736"/>
                  </a:lnTo>
                  <a:lnTo>
                    <a:pt x="248" y="2739"/>
                  </a:lnTo>
                  <a:lnTo>
                    <a:pt x="234" y="2742"/>
                  </a:lnTo>
                  <a:lnTo>
                    <a:pt x="222" y="2743"/>
                  </a:lnTo>
                  <a:lnTo>
                    <a:pt x="214" y="2745"/>
                  </a:lnTo>
                  <a:lnTo>
                    <a:pt x="211" y="2748"/>
                  </a:lnTo>
                  <a:lnTo>
                    <a:pt x="210" y="2753"/>
                  </a:lnTo>
                  <a:lnTo>
                    <a:pt x="208" y="2760"/>
                  </a:lnTo>
                  <a:lnTo>
                    <a:pt x="208" y="2768"/>
                  </a:lnTo>
                  <a:lnTo>
                    <a:pt x="206" y="2778"/>
                  </a:lnTo>
                  <a:lnTo>
                    <a:pt x="203" y="2785"/>
                  </a:lnTo>
                  <a:lnTo>
                    <a:pt x="193" y="2793"/>
                  </a:lnTo>
                  <a:lnTo>
                    <a:pt x="183" y="2802"/>
                  </a:lnTo>
                  <a:lnTo>
                    <a:pt x="169" y="2810"/>
                  </a:lnTo>
                  <a:lnTo>
                    <a:pt x="154" y="2820"/>
                  </a:lnTo>
                  <a:lnTo>
                    <a:pt x="140" y="2827"/>
                  </a:lnTo>
                  <a:lnTo>
                    <a:pt x="127" y="2832"/>
                  </a:lnTo>
                  <a:lnTo>
                    <a:pt x="109" y="2837"/>
                  </a:lnTo>
                  <a:lnTo>
                    <a:pt x="88" y="2838"/>
                  </a:lnTo>
                  <a:lnTo>
                    <a:pt x="67" y="2838"/>
                  </a:lnTo>
                  <a:lnTo>
                    <a:pt x="47" y="2837"/>
                  </a:lnTo>
                  <a:lnTo>
                    <a:pt x="29" y="2837"/>
                  </a:lnTo>
                  <a:lnTo>
                    <a:pt x="23" y="2836"/>
                  </a:lnTo>
                  <a:lnTo>
                    <a:pt x="15" y="2835"/>
                  </a:lnTo>
                  <a:lnTo>
                    <a:pt x="6" y="2832"/>
                  </a:lnTo>
                  <a:lnTo>
                    <a:pt x="1" y="2829"/>
                  </a:lnTo>
                  <a:lnTo>
                    <a:pt x="0" y="2823"/>
                  </a:lnTo>
                  <a:lnTo>
                    <a:pt x="0" y="2815"/>
                  </a:lnTo>
                  <a:lnTo>
                    <a:pt x="2" y="2808"/>
                  </a:lnTo>
                  <a:lnTo>
                    <a:pt x="6" y="2800"/>
                  </a:lnTo>
                  <a:lnTo>
                    <a:pt x="8" y="2794"/>
                  </a:lnTo>
                  <a:lnTo>
                    <a:pt x="11" y="2786"/>
                  </a:lnTo>
                  <a:lnTo>
                    <a:pt x="16" y="2772"/>
                  </a:lnTo>
                  <a:lnTo>
                    <a:pt x="21" y="2757"/>
                  </a:lnTo>
                  <a:lnTo>
                    <a:pt x="28" y="2742"/>
                  </a:lnTo>
                  <a:lnTo>
                    <a:pt x="36" y="2729"/>
                  </a:lnTo>
                  <a:lnTo>
                    <a:pt x="42" y="2722"/>
                  </a:lnTo>
                  <a:lnTo>
                    <a:pt x="48" y="2710"/>
                  </a:lnTo>
                  <a:lnTo>
                    <a:pt x="58" y="2695"/>
                  </a:lnTo>
                  <a:lnTo>
                    <a:pt x="68" y="2680"/>
                  </a:lnTo>
                  <a:lnTo>
                    <a:pt x="79" y="2663"/>
                  </a:lnTo>
                  <a:lnTo>
                    <a:pt x="89" y="2646"/>
                  </a:lnTo>
                  <a:lnTo>
                    <a:pt x="98" y="2631"/>
                  </a:lnTo>
                  <a:lnTo>
                    <a:pt x="105" y="2620"/>
                  </a:lnTo>
                  <a:lnTo>
                    <a:pt x="102" y="2611"/>
                  </a:lnTo>
                  <a:lnTo>
                    <a:pt x="102" y="2601"/>
                  </a:lnTo>
                  <a:lnTo>
                    <a:pt x="104" y="2589"/>
                  </a:lnTo>
                  <a:lnTo>
                    <a:pt x="113" y="2564"/>
                  </a:lnTo>
                  <a:lnTo>
                    <a:pt x="117" y="2551"/>
                  </a:lnTo>
                  <a:lnTo>
                    <a:pt x="118" y="2542"/>
                  </a:lnTo>
                  <a:lnTo>
                    <a:pt x="115" y="2535"/>
                  </a:lnTo>
                  <a:lnTo>
                    <a:pt x="106" y="2528"/>
                  </a:lnTo>
                  <a:lnTo>
                    <a:pt x="95" y="2518"/>
                  </a:lnTo>
                  <a:lnTo>
                    <a:pt x="89" y="2509"/>
                  </a:lnTo>
                  <a:lnTo>
                    <a:pt x="86" y="2495"/>
                  </a:lnTo>
                  <a:lnTo>
                    <a:pt x="86" y="2477"/>
                  </a:lnTo>
                  <a:lnTo>
                    <a:pt x="88" y="2456"/>
                  </a:lnTo>
                  <a:lnTo>
                    <a:pt x="91" y="2431"/>
                  </a:lnTo>
                  <a:lnTo>
                    <a:pt x="96" y="2404"/>
                  </a:lnTo>
                  <a:lnTo>
                    <a:pt x="102" y="2378"/>
                  </a:lnTo>
                  <a:lnTo>
                    <a:pt x="106" y="2349"/>
                  </a:lnTo>
                  <a:lnTo>
                    <a:pt x="117" y="2294"/>
                  </a:lnTo>
                  <a:lnTo>
                    <a:pt x="130" y="2243"/>
                  </a:lnTo>
                  <a:lnTo>
                    <a:pt x="144" y="2193"/>
                  </a:lnTo>
                  <a:lnTo>
                    <a:pt x="157" y="2142"/>
                  </a:lnTo>
                  <a:lnTo>
                    <a:pt x="163" y="2118"/>
                  </a:lnTo>
                  <a:lnTo>
                    <a:pt x="170" y="2093"/>
                  </a:lnTo>
                  <a:lnTo>
                    <a:pt x="178" y="2066"/>
                  </a:lnTo>
                  <a:lnTo>
                    <a:pt x="185" y="2038"/>
                  </a:lnTo>
                  <a:lnTo>
                    <a:pt x="199" y="1985"/>
                  </a:lnTo>
                  <a:lnTo>
                    <a:pt x="205" y="1961"/>
                  </a:lnTo>
                  <a:lnTo>
                    <a:pt x="211" y="1940"/>
                  </a:lnTo>
                  <a:lnTo>
                    <a:pt x="215" y="1924"/>
                  </a:lnTo>
                  <a:lnTo>
                    <a:pt x="218" y="1912"/>
                  </a:lnTo>
                  <a:lnTo>
                    <a:pt x="220" y="1898"/>
                  </a:lnTo>
                  <a:lnTo>
                    <a:pt x="220" y="1883"/>
                  </a:lnTo>
                  <a:lnTo>
                    <a:pt x="218" y="1867"/>
                  </a:lnTo>
                  <a:lnTo>
                    <a:pt x="217" y="1850"/>
                  </a:lnTo>
                  <a:lnTo>
                    <a:pt x="219" y="1830"/>
                  </a:lnTo>
                  <a:lnTo>
                    <a:pt x="223" y="1809"/>
                  </a:lnTo>
                  <a:lnTo>
                    <a:pt x="229" y="1786"/>
                  </a:lnTo>
                  <a:lnTo>
                    <a:pt x="232" y="1759"/>
                  </a:lnTo>
                  <a:lnTo>
                    <a:pt x="232" y="1731"/>
                  </a:lnTo>
                  <a:lnTo>
                    <a:pt x="230" y="1703"/>
                  </a:lnTo>
                  <a:lnTo>
                    <a:pt x="228" y="1678"/>
                  </a:lnTo>
                  <a:lnTo>
                    <a:pt x="225" y="1654"/>
                  </a:lnTo>
                  <a:lnTo>
                    <a:pt x="223" y="1639"/>
                  </a:lnTo>
                  <a:lnTo>
                    <a:pt x="225" y="1619"/>
                  </a:lnTo>
                  <a:lnTo>
                    <a:pt x="226" y="1596"/>
                  </a:lnTo>
                  <a:lnTo>
                    <a:pt x="229" y="1572"/>
                  </a:lnTo>
                  <a:lnTo>
                    <a:pt x="234" y="1547"/>
                  </a:lnTo>
                  <a:lnTo>
                    <a:pt x="239" y="1522"/>
                  </a:lnTo>
                  <a:lnTo>
                    <a:pt x="242" y="1498"/>
                  </a:lnTo>
                  <a:lnTo>
                    <a:pt x="247" y="1479"/>
                  </a:lnTo>
                  <a:lnTo>
                    <a:pt x="249" y="1462"/>
                  </a:lnTo>
                  <a:lnTo>
                    <a:pt x="250" y="1451"/>
                  </a:lnTo>
                  <a:lnTo>
                    <a:pt x="250" y="1430"/>
                  </a:lnTo>
                  <a:lnTo>
                    <a:pt x="248" y="1405"/>
                  </a:lnTo>
                  <a:lnTo>
                    <a:pt x="247" y="1377"/>
                  </a:lnTo>
                  <a:lnTo>
                    <a:pt x="248" y="1347"/>
                  </a:lnTo>
                  <a:lnTo>
                    <a:pt x="252" y="1318"/>
                  </a:lnTo>
                  <a:lnTo>
                    <a:pt x="257" y="1295"/>
                  </a:lnTo>
                  <a:lnTo>
                    <a:pt x="259" y="1269"/>
                  </a:lnTo>
                  <a:lnTo>
                    <a:pt x="261" y="1240"/>
                  </a:lnTo>
                  <a:lnTo>
                    <a:pt x="235" y="1231"/>
                  </a:lnTo>
                  <a:lnTo>
                    <a:pt x="211" y="1223"/>
                  </a:lnTo>
                  <a:lnTo>
                    <a:pt x="190" y="1215"/>
                  </a:lnTo>
                  <a:lnTo>
                    <a:pt x="170" y="1208"/>
                  </a:lnTo>
                  <a:lnTo>
                    <a:pt x="156" y="1203"/>
                  </a:lnTo>
                  <a:lnTo>
                    <a:pt x="146" y="1198"/>
                  </a:lnTo>
                  <a:lnTo>
                    <a:pt x="141" y="1197"/>
                  </a:lnTo>
                  <a:lnTo>
                    <a:pt x="140" y="1194"/>
                  </a:lnTo>
                  <a:lnTo>
                    <a:pt x="141" y="1186"/>
                  </a:lnTo>
                  <a:lnTo>
                    <a:pt x="145" y="1174"/>
                  </a:lnTo>
                  <a:lnTo>
                    <a:pt x="150" y="1160"/>
                  </a:lnTo>
                  <a:lnTo>
                    <a:pt x="168" y="1111"/>
                  </a:lnTo>
                  <a:lnTo>
                    <a:pt x="172" y="1096"/>
                  </a:lnTo>
                  <a:lnTo>
                    <a:pt x="176" y="1083"/>
                  </a:lnTo>
                  <a:lnTo>
                    <a:pt x="178" y="1072"/>
                  </a:lnTo>
                  <a:lnTo>
                    <a:pt x="183" y="1055"/>
                  </a:lnTo>
                  <a:lnTo>
                    <a:pt x="190" y="1036"/>
                  </a:lnTo>
                  <a:lnTo>
                    <a:pt x="197" y="1013"/>
                  </a:lnTo>
                  <a:lnTo>
                    <a:pt x="205" y="989"/>
                  </a:lnTo>
                  <a:lnTo>
                    <a:pt x="213" y="966"/>
                  </a:lnTo>
                  <a:lnTo>
                    <a:pt x="221" y="944"/>
                  </a:lnTo>
                  <a:lnTo>
                    <a:pt x="228" y="923"/>
                  </a:lnTo>
                  <a:lnTo>
                    <a:pt x="235" y="905"/>
                  </a:lnTo>
                  <a:lnTo>
                    <a:pt x="240" y="892"/>
                  </a:lnTo>
                  <a:lnTo>
                    <a:pt x="243" y="884"/>
                  </a:lnTo>
                  <a:lnTo>
                    <a:pt x="246" y="875"/>
                  </a:lnTo>
                  <a:lnTo>
                    <a:pt x="247" y="869"/>
                  </a:lnTo>
                  <a:lnTo>
                    <a:pt x="247" y="866"/>
                  </a:lnTo>
                  <a:lnTo>
                    <a:pt x="244" y="865"/>
                  </a:lnTo>
                  <a:lnTo>
                    <a:pt x="243" y="863"/>
                  </a:lnTo>
                  <a:lnTo>
                    <a:pt x="243" y="860"/>
                  </a:lnTo>
                  <a:lnTo>
                    <a:pt x="249" y="842"/>
                  </a:lnTo>
                  <a:lnTo>
                    <a:pt x="254" y="830"/>
                  </a:lnTo>
                  <a:lnTo>
                    <a:pt x="259" y="816"/>
                  </a:lnTo>
                  <a:lnTo>
                    <a:pt x="266" y="803"/>
                  </a:lnTo>
                  <a:lnTo>
                    <a:pt x="271" y="791"/>
                  </a:lnTo>
                  <a:lnTo>
                    <a:pt x="278" y="776"/>
                  </a:lnTo>
                  <a:lnTo>
                    <a:pt x="285" y="759"/>
                  </a:lnTo>
                  <a:lnTo>
                    <a:pt x="301" y="719"/>
                  </a:lnTo>
                  <a:lnTo>
                    <a:pt x="308" y="699"/>
                  </a:lnTo>
                  <a:lnTo>
                    <a:pt x="315" y="682"/>
                  </a:lnTo>
                  <a:lnTo>
                    <a:pt x="321" y="668"/>
                  </a:lnTo>
                  <a:lnTo>
                    <a:pt x="324" y="659"/>
                  </a:lnTo>
                  <a:lnTo>
                    <a:pt x="328" y="648"/>
                  </a:lnTo>
                  <a:lnTo>
                    <a:pt x="328" y="641"/>
                  </a:lnTo>
                  <a:lnTo>
                    <a:pt x="326" y="638"/>
                  </a:lnTo>
                  <a:lnTo>
                    <a:pt x="323" y="637"/>
                  </a:lnTo>
                  <a:lnTo>
                    <a:pt x="320" y="635"/>
                  </a:lnTo>
                  <a:lnTo>
                    <a:pt x="314" y="634"/>
                  </a:lnTo>
                  <a:lnTo>
                    <a:pt x="305" y="632"/>
                  </a:lnTo>
                  <a:lnTo>
                    <a:pt x="297" y="627"/>
                  </a:lnTo>
                  <a:lnTo>
                    <a:pt x="284" y="619"/>
                  </a:lnTo>
                  <a:lnTo>
                    <a:pt x="270" y="615"/>
                  </a:lnTo>
                  <a:lnTo>
                    <a:pt x="265" y="610"/>
                  </a:lnTo>
                  <a:lnTo>
                    <a:pt x="258" y="599"/>
                  </a:lnTo>
                  <a:lnTo>
                    <a:pt x="241" y="558"/>
                  </a:lnTo>
                  <a:lnTo>
                    <a:pt x="236" y="547"/>
                  </a:lnTo>
                  <a:lnTo>
                    <a:pt x="233" y="535"/>
                  </a:lnTo>
                  <a:lnTo>
                    <a:pt x="232" y="521"/>
                  </a:lnTo>
                  <a:lnTo>
                    <a:pt x="230" y="505"/>
                  </a:lnTo>
                  <a:lnTo>
                    <a:pt x="229" y="490"/>
                  </a:lnTo>
                  <a:lnTo>
                    <a:pt x="228" y="477"/>
                  </a:lnTo>
                  <a:lnTo>
                    <a:pt x="227" y="470"/>
                  </a:lnTo>
                  <a:lnTo>
                    <a:pt x="226" y="462"/>
                  </a:lnTo>
                  <a:lnTo>
                    <a:pt x="223" y="451"/>
                  </a:lnTo>
                  <a:lnTo>
                    <a:pt x="222" y="437"/>
                  </a:lnTo>
                  <a:lnTo>
                    <a:pt x="222" y="425"/>
                  </a:lnTo>
                  <a:lnTo>
                    <a:pt x="225" y="417"/>
                  </a:lnTo>
                  <a:lnTo>
                    <a:pt x="227" y="411"/>
                  </a:lnTo>
                  <a:lnTo>
                    <a:pt x="228" y="401"/>
                  </a:lnTo>
                  <a:lnTo>
                    <a:pt x="229" y="388"/>
                  </a:lnTo>
                  <a:lnTo>
                    <a:pt x="229" y="374"/>
                  </a:lnTo>
                  <a:lnTo>
                    <a:pt x="228" y="362"/>
                  </a:lnTo>
                  <a:lnTo>
                    <a:pt x="223" y="344"/>
                  </a:lnTo>
                  <a:lnTo>
                    <a:pt x="226" y="333"/>
                  </a:lnTo>
                  <a:lnTo>
                    <a:pt x="230" y="323"/>
                  </a:lnTo>
                  <a:lnTo>
                    <a:pt x="236" y="313"/>
                  </a:lnTo>
                  <a:lnTo>
                    <a:pt x="242" y="309"/>
                  </a:lnTo>
                  <a:lnTo>
                    <a:pt x="247" y="303"/>
                  </a:lnTo>
                  <a:lnTo>
                    <a:pt x="249" y="295"/>
                  </a:lnTo>
                  <a:lnTo>
                    <a:pt x="249" y="281"/>
                  </a:lnTo>
                  <a:lnTo>
                    <a:pt x="251" y="260"/>
                  </a:lnTo>
                  <a:lnTo>
                    <a:pt x="254" y="249"/>
                  </a:lnTo>
                  <a:lnTo>
                    <a:pt x="256" y="244"/>
                  </a:lnTo>
                  <a:lnTo>
                    <a:pt x="257" y="238"/>
                  </a:lnTo>
                  <a:lnTo>
                    <a:pt x="256" y="226"/>
                  </a:lnTo>
                  <a:lnTo>
                    <a:pt x="255" y="212"/>
                  </a:lnTo>
                  <a:lnTo>
                    <a:pt x="255" y="180"/>
                  </a:lnTo>
                  <a:lnTo>
                    <a:pt x="257" y="159"/>
                  </a:lnTo>
                  <a:lnTo>
                    <a:pt x="264" y="137"/>
                  </a:lnTo>
                  <a:lnTo>
                    <a:pt x="273" y="118"/>
                  </a:lnTo>
                  <a:lnTo>
                    <a:pt x="284" y="104"/>
                  </a:lnTo>
                  <a:lnTo>
                    <a:pt x="294" y="97"/>
                  </a:lnTo>
                  <a:lnTo>
                    <a:pt x="309" y="91"/>
                  </a:lnTo>
                  <a:lnTo>
                    <a:pt x="329" y="86"/>
                  </a:lnTo>
                  <a:lnTo>
                    <a:pt x="349" y="84"/>
                  </a:lnTo>
                  <a:lnTo>
                    <a:pt x="367" y="82"/>
                  </a:lnTo>
                  <a:lnTo>
                    <a:pt x="400" y="80"/>
                  </a:lnTo>
                  <a:lnTo>
                    <a:pt x="419" y="77"/>
                  </a:lnTo>
                  <a:lnTo>
                    <a:pt x="440" y="75"/>
                  </a:lnTo>
                  <a:lnTo>
                    <a:pt x="460" y="73"/>
                  </a:lnTo>
                  <a:lnTo>
                    <a:pt x="479" y="71"/>
                  </a:lnTo>
                  <a:lnTo>
                    <a:pt x="492" y="70"/>
                  </a:lnTo>
                  <a:lnTo>
                    <a:pt x="504" y="68"/>
                  </a:lnTo>
                  <a:lnTo>
                    <a:pt x="513" y="61"/>
                  </a:lnTo>
                  <a:lnTo>
                    <a:pt x="523" y="53"/>
                  </a:lnTo>
                  <a:lnTo>
                    <a:pt x="528" y="45"/>
                  </a:lnTo>
                  <a:lnTo>
                    <a:pt x="533" y="38"/>
                  </a:lnTo>
                  <a:lnTo>
                    <a:pt x="534" y="35"/>
                  </a:lnTo>
                  <a:lnTo>
                    <a:pt x="538" y="30"/>
                  </a:lnTo>
                  <a:lnTo>
                    <a:pt x="542" y="20"/>
                  </a:lnTo>
                  <a:lnTo>
                    <a:pt x="546" y="12"/>
                  </a:lnTo>
                  <a:lnTo>
                    <a:pt x="5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625275">
                <a:defRPr/>
              </a:pPr>
              <a:endParaRPr lang="en-US" sz="3199" kern="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000248" y="3903577"/>
            <a:ext cx="2410883" cy="547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03112" y="4546146"/>
            <a:ext cx="3377921" cy="1423815"/>
          </a:xfrm>
        </p:spPr>
        <p:txBody>
          <a:bodyPr anchor="ctr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 sz="1467"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/>
            </a:pPr>
            <a:r>
              <a:rPr lang="en-US" sz="160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 Insert your desired text for this label of data. Again, This is a sample text. Insert your desired text for this label of data.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4231" y="4535820"/>
            <a:ext cx="2410883" cy="547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397094" y="5178389"/>
            <a:ext cx="3377921" cy="1423815"/>
          </a:xfrm>
        </p:spPr>
        <p:txBody>
          <a:bodyPr anchor="ctr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 sz="1467"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/>
            </a:pPr>
            <a:r>
              <a:rPr lang="en-US" sz="160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 Insert your desired text for this label of data. Again, This is a sample text. Insert your desired text for this label of data.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583568" y="3908648"/>
            <a:ext cx="2410883" cy="54710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5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086432" y="4551217"/>
            <a:ext cx="3377921" cy="1423815"/>
          </a:xfrm>
        </p:spPr>
        <p:txBody>
          <a:bodyPr anchor="ctr">
            <a:norm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 sz="1467"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67B2"/>
              </a:buClr>
              <a:buSzTx/>
              <a:buFont typeface="Arial"/>
              <a:buNone/>
              <a:tabLst/>
              <a:defRPr/>
            </a:pPr>
            <a:r>
              <a:rPr lang="en-US" sz="1600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 Insert your desired text for this label of data. Again, This is a sample text. Insert your desired text for this label of data.</a:t>
            </a:r>
          </a:p>
        </p:txBody>
      </p:sp>
    </p:spTree>
    <p:extLst>
      <p:ext uri="{BB962C8B-B14F-4D97-AF65-F5344CB8AC3E}">
        <p14:creationId xmlns:p14="http://schemas.microsoft.com/office/powerpoint/2010/main" val="38597383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composi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25229" y="4185541"/>
            <a:ext cx="110202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625229" y="1326165"/>
            <a:ext cx="110202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B65B57-09AA-44BD-AD94-CC1DA25B23E7}"/>
              </a:ext>
            </a:extLst>
          </p:cNvPr>
          <p:cNvGrpSpPr/>
          <p:nvPr userDrawn="1"/>
        </p:nvGrpSpPr>
        <p:grpSpPr>
          <a:xfrm>
            <a:off x="7604619" y="1756149"/>
            <a:ext cx="1305752" cy="1160263"/>
            <a:chOff x="7491299" y="1772816"/>
            <a:chExt cx="1177418" cy="1177418"/>
          </a:xfrm>
        </p:grpSpPr>
        <p:sp>
          <p:nvSpPr>
            <p:cNvPr id="20" name="Oval 19"/>
            <p:cNvSpPr/>
            <p:nvPr/>
          </p:nvSpPr>
          <p:spPr>
            <a:xfrm>
              <a:off x="7491299" y="177281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7579081" y="1859829"/>
              <a:ext cx="1001855" cy="1002043"/>
            </a:xfrm>
            <a:custGeom>
              <a:avLst/>
              <a:gdLst>
                <a:gd name="T0" fmla="*/ 2804 w 5285"/>
                <a:gd name="T1" fmla="*/ 5 h 5286"/>
                <a:gd name="T2" fmla="*/ 3118 w 5285"/>
                <a:gd name="T3" fmla="*/ 44 h 5286"/>
                <a:gd name="T4" fmla="*/ 3419 w 5285"/>
                <a:gd name="T5" fmla="*/ 116 h 5286"/>
                <a:gd name="T6" fmla="*/ 3706 w 5285"/>
                <a:gd name="T7" fmla="*/ 223 h 5286"/>
                <a:gd name="T8" fmla="*/ 3976 w 5285"/>
                <a:gd name="T9" fmla="*/ 361 h 5286"/>
                <a:gd name="T10" fmla="*/ 4228 w 5285"/>
                <a:gd name="T11" fmla="*/ 529 h 5286"/>
                <a:gd name="T12" fmla="*/ 4457 w 5285"/>
                <a:gd name="T13" fmla="*/ 723 h 5286"/>
                <a:gd name="T14" fmla="*/ 4663 w 5285"/>
                <a:gd name="T15" fmla="*/ 941 h 5286"/>
                <a:gd name="T16" fmla="*/ 4844 w 5285"/>
                <a:gd name="T17" fmla="*/ 1181 h 5286"/>
                <a:gd name="T18" fmla="*/ 4996 w 5285"/>
                <a:gd name="T19" fmla="*/ 1442 h 5286"/>
                <a:gd name="T20" fmla="*/ 5120 w 5285"/>
                <a:gd name="T21" fmla="*/ 1721 h 5286"/>
                <a:gd name="T22" fmla="*/ 5209 w 5285"/>
                <a:gd name="T23" fmla="*/ 2015 h 5286"/>
                <a:gd name="T24" fmla="*/ 5265 w 5285"/>
                <a:gd name="T25" fmla="*/ 2324 h 5286"/>
                <a:gd name="T26" fmla="*/ 5285 w 5285"/>
                <a:gd name="T27" fmla="*/ 2643 h 5286"/>
                <a:gd name="T28" fmla="*/ 5265 w 5285"/>
                <a:gd name="T29" fmla="*/ 2962 h 5286"/>
                <a:gd name="T30" fmla="*/ 5209 w 5285"/>
                <a:gd name="T31" fmla="*/ 3271 h 5286"/>
                <a:gd name="T32" fmla="*/ 5120 w 5285"/>
                <a:gd name="T33" fmla="*/ 3566 h 5286"/>
                <a:gd name="T34" fmla="*/ 4996 w 5285"/>
                <a:gd name="T35" fmla="*/ 3844 h 5286"/>
                <a:gd name="T36" fmla="*/ 4844 w 5285"/>
                <a:gd name="T37" fmla="*/ 4106 h 5286"/>
                <a:gd name="T38" fmla="*/ 4663 w 5285"/>
                <a:gd name="T39" fmla="*/ 4346 h 5286"/>
                <a:gd name="T40" fmla="*/ 4457 w 5285"/>
                <a:gd name="T41" fmla="*/ 4564 h 5286"/>
                <a:gd name="T42" fmla="*/ 4228 w 5285"/>
                <a:gd name="T43" fmla="*/ 4757 h 5286"/>
                <a:gd name="T44" fmla="*/ 3976 w 5285"/>
                <a:gd name="T45" fmla="*/ 4926 h 5286"/>
                <a:gd name="T46" fmla="*/ 3706 w 5285"/>
                <a:gd name="T47" fmla="*/ 5063 h 5286"/>
                <a:gd name="T48" fmla="*/ 3419 w 5285"/>
                <a:gd name="T49" fmla="*/ 5171 h 5286"/>
                <a:gd name="T50" fmla="*/ 3118 w 5285"/>
                <a:gd name="T51" fmla="*/ 5243 h 5286"/>
                <a:gd name="T52" fmla="*/ 2804 w 5285"/>
                <a:gd name="T53" fmla="*/ 5281 h 5286"/>
                <a:gd name="T54" fmla="*/ 2481 w 5285"/>
                <a:gd name="T55" fmla="*/ 5281 h 5286"/>
                <a:gd name="T56" fmla="*/ 2167 w 5285"/>
                <a:gd name="T57" fmla="*/ 5243 h 5286"/>
                <a:gd name="T58" fmla="*/ 1866 w 5285"/>
                <a:gd name="T59" fmla="*/ 5171 h 5286"/>
                <a:gd name="T60" fmla="*/ 1579 w 5285"/>
                <a:gd name="T61" fmla="*/ 5063 h 5286"/>
                <a:gd name="T62" fmla="*/ 1308 w 5285"/>
                <a:gd name="T63" fmla="*/ 4926 h 5286"/>
                <a:gd name="T64" fmla="*/ 1057 w 5285"/>
                <a:gd name="T65" fmla="*/ 4757 h 5286"/>
                <a:gd name="T66" fmla="*/ 828 w 5285"/>
                <a:gd name="T67" fmla="*/ 4564 h 5286"/>
                <a:gd name="T68" fmla="*/ 621 w 5285"/>
                <a:gd name="T69" fmla="*/ 4346 h 5286"/>
                <a:gd name="T70" fmla="*/ 440 w 5285"/>
                <a:gd name="T71" fmla="*/ 4106 h 5286"/>
                <a:gd name="T72" fmla="*/ 288 w 5285"/>
                <a:gd name="T73" fmla="*/ 3844 h 5286"/>
                <a:gd name="T74" fmla="*/ 165 w 5285"/>
                <a:gd name="T75" fmla="*/ 3566 h 5286"/>
                <a:gd name="T76" fmla="*/ 75 w 5285"/>
                <a:gd name="T77" fmla="*/ 3271 h 5286"/>
                <a:gd name="T78" fmla="*/ 19 w 5285"/>
                <a:gd name="T79" fmla="*/ 2962 h 5286"/>
                <a:gd name="T80" fmla="*/ 0 w 5285"/>
                <a:gd name="T81" fmla="*/ 2643 h 5286"/>
                <a:gd name="T82" fmla="*/ 19 w 5285"/>
                <a:gd name="T83" fmla="*/ 2324 h 5286"/>
                <a:gd name="T84" fmla="*/ 75 w 5285"/>
                <a:gd name="T85" fmla="*/ 2015 h 5286"/>
                <a:gd name="T86" fmla="*/ 165 w 5285"/>
                <a:gd name="T87" fmla="*/ 1721 h 5286"/>
                <a:gd name="T88" fmla="*/ 288 w 5285"/>
                <a:gd name="T89" fmla="*/ 1442 h 5286"/>
                <a:gd name="T90" fmla="*/ 440 w 5285"/>
                <a:gd name="T91" fmla="*/ 1181 h 5286"/>
                <a:gd name="T92" fmla="*/ 621 w 5285"/>
                <a:gd name="T93" fmla="*/ 941 h 5286"/>
                <a:gd name="T94" fmla="*/ 828 w 5285"/>
                <a:gd name="T95" fmla="*/ 723 h 5286"/>
                <a:gd name="T96" fmla="*/ 1057 w 5285"/>
                <a:gd name="T97" fmla="*/ 529 h 5286"/>
                <a:gd name="T98" fmla="*/ 1308 w 5285"/>
                <a:gd name="T99" fmla="*/ 361 h 5286"/>
                <a:gd name="T100" fmla="*/ 1579 w 5285"/>
                <a:gd name="T101" fmla="*/ 223 h 5286"/>
                <a:gd name="T102" fmla="*/ 1866 w 5285"/>
                <a:gd name="T103" fmla="*/ 116 h 5286"/>
                <a:gd name="T104" fmla="*/ 2167 w 5285"/>
                <a:gd name="T105" fmla="*/ 44 h 5286"/>
                <a:gd name="T106" fmla="*/ 2481 w 5285"/>
                <a:gd name="T107" fmla="*/ 5 h 5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85" h="5286">
                  <a:moveTo>
                    <a:pt x="2641" y="0"/>
                  </a:moveTo>
                  <a:lnTo>
                    <a:pt x="2804" y="5"/>
                  </a:lnTo>
                  <a:lnTo>
                    <a:pt x="2961" y="20"/>
                  </a:lnTo>
                  <a:lnTo>
                    <a:pt x="3118" y="44"/>
                  </a:lnTo>
                  <a:lnTo>
                    <a:pt x="3270" y="76"/>
                  </a:lnTo>
                  <a:lnTo>
                    <a:pt x="3419" y="116"/>
                  </a:lnTo>
                  <a:lnTo>
                    <a:pt x="3565" y="165"/>
                  </a:lnTo>
                  <a:lnTo>
                    <a:pt x="3706" y="223"/>
                  </a:lnTo>
                  <a:lnTo>
                    <a:pt x="3843" y="289"/>
                  </a:lnTo>
                  <a:lnTo>
                    <a:pt x="3976" y="361"/>
                  </a:lnTo>
                  <a:lnTo>
                    <a:pt x="4104" y="441"/>
                  </a:lnTo>
                  <a:lnTo>
                    <a:pt x="4228" y="529"/>
                  </a:lnTo>
                  <a:lnTo>
                    <a:pt x="4345" y="622"/>
                  </a:lnTo>
                  <a:lnTo>
                    <a:pt x="4457" y="723"/>
                  </a:lnTo>
                  <a:lnTo>
                    <a:pt x="4562" y="828"/>
                  </a:lnTo>
                  <a:lnTo>
                    <a:pt x="4663" y="941"/>
                  </a:lnTo>
                  <a:lnTo>
                    <a:pt x="4756" y="1058"/>
                  </a:lnTo>
                  <a:lnTo>
                    <a:pt x="4844" y="1181"/>
                  </a:lnTo>
                  <a:lnTo>
                    <a:pt x="4924" y="1309"/>
                  </a:lnTo>
                  <a:lnTo>
                    <a:pt x="4996" y="1442"/>
                  </a:lnTo>
                  <a:lnTo>
                    <a:pt x="5062" y="1580"/>
                  </a:lnTo>
                  <a:lnTo>
                    <a:pt x="5120" y="1721"/>
                  </a:lnTo>
                  <a:lnTo>
                    <a:pt x="5169" y="1866"/>
                  </a:lnTo>
                  <a:lnTo>
                    <a:pt x="5209" y="2015"/>
                  </a:lnTo>
                  <a:lnTo>
                    <a:pt x="5241" y="2167"/>
                  </a:lnTo>
                  <a:lnTo>
                    <a:pt x="5265" y="2324"/>
                  </a:lnTo>
                  <a:lnTo>
                    <a:pt x="5280" y="2481"/>
                  </a:lnTo>
                  <a:lnTo>
                    <a:pt x="5285" y="2643"/>
                  </a:lnTo>
                  <a:lnTo>
                    <a:pt x="5280" y="2805"/>
                  </a:lnTo>
                  <a:lnTo>
                    <a:pt x="5265" y="2962"/>
                  </a:lnTo>
                  <a:lnTo>
                    <a:pt x="5241" y="3119"/>
                  </a:lnTo>
                  <a:lnTo>
                    <a:pt x="5209" y="3271"/>
                  </a:lnTo>
                  <a:lnTo>
                    <a:pt x="5169" y="3420"/>
                  </a:lnTo>
                  <a:lnTo>
                    <a:pt x="5120" y="3566"/>
                  </a:lnTo>
                  <a:lnTo>
                    <a:pt x="5062" y="3707"/>
                  </a:lnTo>
                  <a:lnTo>
                    <a:pt x="4996" y="3844"/>
                  </a:lnTo>
                  <a:lnTo>
                    <a:pt x="4924" y="3977"/>
                  </a:lnTo>
                  <a:lnTo>
                    <a:pt x="4844" y="4106"/>
                  </a:lnTo>
                  <a:lnTo>
                    <a:pt x="4756" y="4229"/>
                  </a:lnTo>
                  <a:lnTo>
                    <a:pt x="4663" y="4346"/>
                  </a:lnTo>
                  <a:lnTo>
                    <a:pt x="4562" y="4458"/>
                  </a:lnTo>
                  <a:lnTo>
                    <a:pt x="4457" y="4564"/>
                  </a:lnTo>
                  <a:lnTo>
                    <a:pt x="4345" y="4665"/>
                  </a:lnTo>
                  <a:lnTo>
                    <a:pt x="4228" y="4757"/>
                  </a:lnTo>
                  <a:lnTo>
                    <a:pt x="4104" y="4846"/>
                  </a:lnTo>
                  <a:lnTo>
                    <a:pt x="3976" y="4926"/>
                  </a:lnTo>
                  <a:lnTo>
                    <a:pt x="3843" y="4998"/>
                  </a:lnTo>
                  <a:lnTo>
                    <a:pt x="3706" y="5063"/>
                  </a:lnTo>
                  <a:lnTo>
                    <a:pt x="3565" y="5121"/>
                  </a:lnTo>
                  <a:lnTo>
                    <a:pt x="3419" y="5171"/>
                  </a:lnTo>
                  <a:lnTo>
                    <a:pt x="3270" y="5211"/>
                  </a:lnTo>
                  <a:lnTo>
                    <a:pt x="3118" y="5243"/>
                  </a:lnTo>
                  <a:lnTo>
                    <a:pt x="2961" y="5267"/>
                  </a:lnTo>
                  <a:lnTo>
                    <a:pt x="2804" y="5281"/>
                  </a:lnTo>
                  <a:lnTo>
                    <a:pt x="2641" y="5286"/>
                  </a:lnTo>
                  <a:lnTo>
                    <a:pt x="2481" y="5281"/>
                  </a:lnTo>
                  <a:lnTo>
                    <a:pt x="2324" y="5267"/>
                  </a:lnTo>
                  <a:lnTo>
                    <a:pt x="2167" y="5243"/>
                  </a:lnTo>
                  <a:lnTo>
                    <a:pt x="2015" y="5211"/>
                  </a:lnTo>
                  <a:lnTo>
                    <a:pt x="1866" y="5171"/>
                  </a:lnTo>
                  <a:lnTo>
                    <a:pt x="1720" y="5121"/>
                  </a:lnTo>
                  <a:lnTo>
                    <a:pt x="1579" y="5063"/>
                  </a:lnTo>
                  <a:lnTo>
                    <a:pt x="1441" y="4998"/>
                  </a:lnTo>
                  <a:lnTo>
                    <a:pt x="1308" y="4926"/>
                  </a:lnTo>
                  <a:lnTo>
                    <a:pt x="1180" y="4846"/>
                  </a:lnTo>
                  <a:lnTo>
                    <a:pt x="1057" y="4757"/>
                  </a:lnTo>
                  <a:lnTo>
                    <a:pt x="940" y="4665"/>
                  </a:lnTo>
                  <a:lnTo>
                    <a:pt x="828" y="4564"/>
                  </a:lnTo>
                  <a:lnTo>
                    <a:pt x="722" y="4458"/>
                  </a:lnTo>
                  <a:lnTo>
                    <a:pt x="621" y="4346"/>
                  </a:lnTo>
                  <a:lnTo>
                    <a:pt x="528" y="4229"/>
                  </a:lnTo>
                  <a:lnTo>
                    <a:pt x="440" y="4106"/>
                  </a:lnTo>
                  <a:lnTo>
                    <a:pt x="360" y="3977"/>
                  </a:lnTo>
                  <a:lnTo>
                    <a:pt x="288" y="3844"/>
                  </a:lnTo>
                  <a:lnTo>
                    <a:pt x="223" y="3707"/>
                  </a:lnTo>
                  <a:lnTo>
                    <a:pt x="165" y="3566"/>
                  </a:lnTo>
                  <a:lnTo>
                    <a:pt x="115" y="3420"/>
                  </a:lnTo>
                  <a:lnTo>
                    <a:pt x="75" y="3271"/>
                  </a:lnTo>
                  <a:lnTo>
                    <a:pt x="43" y="3119"/>
                  </a:lnTo>
                  <a:lnTo>
                    <a:pt x="19" y="2962"/>
                  </a:lnTo>
                  <a:lnTo>
                    <a:pt x="5" y="2805"/>
                  </a:lnTo>
                  <a:lnTo>
                    <a:pt x="0" y="2643"/>
                  </a:lnTo>
                  <a:lnTo>
                    <a:pt x="5" y="2481"/>
                  </a:lnTo>
                  <a:lnTo>
                    <a:pt x="19" y="2324"/>
                  </a:lnTo>
                  <a:lnTo>
                    <a:pt x="43" y="2167"/>
                  </a:lnTo>
                  <a:lnTo>
                    <a:pt x="75" y="2015"/>
                  </a:lnTo>
                  <a:lnTo>
                    <a:pt x="115" y="1866"/>
                  </a:lnTo>
                  <a:lnTo>
                    <a:pt x="165" y="1721"/>
                  </a:lnTo>
                  <a:lnTo>
                    <a:pt x="223" y="1580"/>
                  </a:lnTo>
                  <a:lnTo>
                    <a:pt x="288" y="1442"/>
                  </a:lnTo>
                  <a:lnTo>
                    <a:pt x="360" y="1309"/>
                  </a:lnTo>
                  <a:lnTo>
                    <a:pt x="440" y="1181"/>
                  </a:lnTo>
                  <a:lnTo>
                    <a:pt x="528" y="1058"/>
                  </a:lnTo>
                  <a:lnTo>
                    <a:pt x="621" y="941"/>
                  </a:lnTo>
                  <a:lnTo>
                    <a:pt x="722" y="828"/>
                  </a:lnTo>
                  <a:lnTo>
                    <a:pt x="828" y="723"/>
                  </a:lnTo>
                  <a:lnTo>
                    <a:pt x="940" y="622"/>
                  </a:lnTo>
                  <a:lnTo>
                    <a:pt x="1057" y="529"/>
                  </a:lnTo>
                  <a:lnTo>
                    <a:pt x="1180" y="441"/>
                  </a:lnTo>
                  <a:lnTo>
                    <a:pt x="1308" y="361"/>
                  </a:lnTo>
                  <a:lnTo>
                    <a:pt x="1441" y="289"/>
                  </a:lnTo>
                  <a:lnTo>
                    <a:pt x="1579" y="223"/>
                  </a:lnTo>
                  <a:lnTo>
                    <a:pt x="1720" y="165"/>
                  </a:lnTo>
                  <a:lnTo>
                    <a:pt x="1866" y="116"/>
                  </a:lnTo>
                  <a:lnTo>
                    <a:pt x="2015" y="76"/>
                  </a:lnTo>
                  <a:lnTo>
                    <a:pt x="2167" y="44"/>
                  </a:lnTo>
                  <a:lnTo>
                    <a:pt x="2324" y="20"/>
                  </a:lnTo>
                  <a:lnTo>
                    <a:pt x="2481" y="5"/>
                  </a:lnTo>
                  <a:lnTo>
                    <a:pt x="264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8075933" y="2578893"/>
              <a:ext cx="6445" cy="948"/>
            </a:xfrm>
            <a:custGeom>
              <a:avLst/>
              <a:gdLst>
                <a:gd name="T0" fmla="*/ 0 w 34"/>
                <a:gd name="T1" fmla="*/ 0 h 5"/>
                <a:gd name="T2" fmla="*/ 34 w 34"/>
                <a:gd name="T3" fmla="*/ 0 h 5"/>
                <a:gd name="T4" fmla="*/ 31 w 34"/>
                <a:gd name="T5" fmla="*/ 1 h 5"/>
                <a:gd name="T6" fmla="*/ 28 w 34"/>
                <a:gd name="T7" fmla="*/ 3 h 5"/>
                <a:gd name="T8" fmla="*/ 23 w 34"/>
                <a:gd name="T9" fmla="*/ 5 h 5"/>
                <a:gd name="T10" fmla="*/ 16 w 34"/>
                <a:gd name="T11" fmla="*/ 5 h 5"/>
                <a:gd name="T12" fmla="*/ 13 w 34"/>
                <a:gd name="T13" fmla="*/ 5 h 5"/>
                <a:gd name="T14" fmla="*/ 10 w 34"/>
                <a:gd name="T15" fmla="*/ 3 h 5"/>
                <a:gd name="T16" fmla="*/ 5 w 34"/>
                <a:gd name="T17" fmla="*/ 1 h 5"/>
                <a:gd name="T18" fmla="*/ 0 w 3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">
                  <a:moveTo>
                    <a:pt x="0" y="0"/>
                  </a:moveTo>
                  <a:lnTo>
                    <a:pt x="34" y="0"/>
                  </a:lnTo>
                  <a:lnTo>
                    <a:pt x="31" y="1"/>
                  </a:lnTo>
                  <a:lnTo>
                    <a:pt x="28" y="3"/>
                  </a:lnTo>
                  <a:lnTo>
                    <a:pt x="23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0" y="3"/>
                  </a:lnTo>
                  <a:lnTo>
                    <a:pt x="5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7675380" y="2521623"/>
              <a:ext cx="807740" cy="341597"/>
            </a:xfrm>
            <a:custGeom>
              <a:avLst/>
              <a:gdLst>
                <a:gd name="T0" fmla="*/ 1300 w 4261"/>
                <a:gd name="T1" fmla="*/ 111 h 1802"/>
                <a:gd name="T2" fmla="*/ 1314 w 4261"/>
                <a:gd name="T3" fmla="*/ 282 h 1802"/>
                <a:gd name="T4" fmla="*/ 1346 w 4261"/>
                <a:gd name="T5" fmla="*/ 444 h 1802"/>
                <a:gd name="T6" fmla="*/ 1385 w 4261"/>
                <a:gd name="T7" fmla="*/ 578 h 1802"/>
                <a:gd name="T8" fmla="*/ 1417 w 4261"/>
                <a:gd name="T9" fmla="*/ 670 h 1802"/>
                <a:gd name="T10" fmla="*/ 1431 w 4261"/>
                <a:gd name="T11" fmla="*/ 698 h 1802"/>
                <a:gd name="T12" fmla="*/ 1531 w 4261"/>
                <a:gd name="T13" fmla="*/ 549 h 1802"/>
                <a:gd name="T14" fmla="*/ 1665 w 4261"/>
                <a:gd name="T15" fmla="*/ 442 h 1802"/>
                <a:gd name="T16" fmla="*/ 1814 w 4261"/>
                <a:gd name="T17" fmla="*/ 372 h 1802"/>
                <a:gd name="T18" fmla="*/ 1953 w 4261"/>
                <a:gd name="T19" fmla="*/ 328 h 1802"/>
                <a:gd name="T20" fmla="*/ 2064 w 4261"/>
                <a:gd name="T21" fmla="*/ 306 h 1802"/>
                <a:gd name="T22" fmla="*/ 2121 w 4261"/>
                <a:gd name="T23" fmla="*/ 300 h 1802"/>
                <a:gd name="T24" fmla="*/ 2142 w 4261"/>
                <a:gd name="T25" fmla="*/ 301 h 1802"/>
                <a:gd name="T26" fmla="*/ 2221 w 4261"/>
                <a:gd name="T27" fmla="*/ 311 h 1802"/>
                <a:gd name="T28" fmla="*/ 2344 w 4261"/>
                <a:gd name="T29" fmla="*/ 338 h 1802"/>
                <a:gd name="T30" fmla="*/ 2488 w 4261"/>
                <a:gd name="T31" fmla="*/ 389 h 1802"/>
                <a:gd name="T32" fmla="*/ 2636 w 4261"/>
                <a:gd name="T33" fmla="*/ 473 h 1802"/>
                <a:gd name="T34" fmla="*/ 2762 w 4261"/>
                <a:gd name="T35" fmla="*/ 593 h 1802"/>
                <a:gd name="T36" fmla="*/ 2828 w 4261"/>
                <a:gd name="T37" fmla="*/ 697 h 1802"/>
                <a:gd name="T38" fmla="*/ 2849 w 4261"/>
                <a:gd name="T39" fmla="*/ 644 h 1802"/>
                <a:gd name="T40" fmla="*/ 2884 w 4261"/>
                <a:gd name="T41" fmla="*/ 535 h 1802"/>
                <a:gd name="T42" fmla="*/ 2921 w 4261"/>
                <a:gd name="T43" fmla="*/ 391 h 1802"/>
                <a:gd name="T44" fmla="*/ 2948 w 4261"/>
                <a:gd name="T45" fmla="*/ 224 h 1802"/>
                <a:gd name="T46" fmla="*/ 2954 w 4261"/>
                <a:gd name="T47" fmla="*/ 55 h 1802"/>
                <a:gd name="T48" fmla="*/ 3153 w 4261"/>
                <a:gd name="T49" fmla="*/ 58 h 1802"/>
                <a:gd name="T50" fmla="*/ 3467 w 4261"/>
                <a:gd name="T51" fmla="*/ 176 h 1802"/>
                <a:gd name="T52" fmla="*/ 3782 w 4261"/>
                <a:gd name="T53" fmla="*/ 338 h 1802"/>
                <a:gd name="T54" fmla="*/ 4078 w 4261"/>
                <a:gd name="T55" fmla="*/ 548 h 1802"/>
                <a:gd name="T56" fmla="*/ 4168 w 4261"/>
                <a:gd name="T57" fmla="*/ 839 h 1802"/>
                <a:gd name="T58" fmla="*/ 3849 w 4261"/>
                <a:gd name="T59" fmla="*/ 1165 h 1802"/>
                <a:gd name="T60" fmla="*/ 3478 w 4261"/>
                <a:gd name="T61" fmla="*/ 1432 h 1802"/>
                <a:gd name="T62" fmla="*/ 3062 w 4261"/>
                <a:gd name="T63" fmla="*/ 1632 h 1802"/>
                <a:gd name="T64" fmla="*/ 2610 w 4261"/>
                <a:gd name="T65" fmla="*/ 1759 h 1802"/>
                <a:gd name="T66" fmla="*/ 2129 w 4261"/>
                <a:gd name="T67" fmla="*/ 1802 h 1802"/>
                <a:gd name="T68" fmla="*/ 1651 w 4261"/>
                <a:gd name="T69" fmla="*/ 1759 h 1802"/>
                <a:gd name="T70" fmla="*/ 1199 w 4261"/>
                <a:gd name="T71" fmla="*/ 1632 h 1802"/>
                <a:gd name="T72" fmla="*/ 784 w 4261"/>
                <a:gd name="T73" fmla="*/ 1434 h 1802"/>
                <a:gd name="T74" fmla="*/ 413 w 4261"/>
                <a:gd name="T75" fmla="*/ 1166 h 1802"/>
                <a:gd name="T76" fmla="*/ 94 w 4261"/>
                <a:gd name="T77" fmla="*/ 841 h 1802"/>
                <a:gd name="T78" fmla="*/ 181 w 4261"/>
                <a:gd name="T79" fmla="*/ 548 h 1802"/>
                <a:gd name="T80" fmla="*/ 478 w 4261"/>
                <a:gd name="T81" fmla="*/ 338 h 1802"/>
                <a:gd name="T82" fmla="*/ 792 w 4261"/>
                <a:gd name="T83" fmla="*/ 176 h 1802"/>
                <a:gd name="T84" fmla="*/ 1105 w 4261"/>
                <a:gd name="T85" fmla="*/ 58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1" h="1802">
                  <a:moveTo>
                    <a:pt x="1306" y="0"/>
                  </a:moveTo>
                  <a:lnTo>
                    <a:pt x="1302" y="55"/>
                  </a:lnTo>
                  <a:lnTo>
                    <a:pt x="1300" y="111"/>
                  </a:lnTo>
                  <a:lnTo>
                    <a:pt x="1303" y="168"/>
                  </a:lnTo>
                  <a:lnTo>
                    <a:pt x="1308" y="224"/>
                  </a:lnTo>
                  <a:lnTo>
                    <a:pt x="1314" y="282"/>
                  </a:lnTo>
                  <a:lnTo>
                    <a:pt x="1324" y="338"/>
                  </a:lnTo>
                  <a:lnTo>
                    <a:pt x="1335" y="391"/>
                  </a:lnTo>
                  <a:lnTo>
                    <a:pt x="1346" y="444"/>
                  </a:lnTo>
                  <a:lnTo>
                    <a:pt x="1359" y="492"/>
                  </a:lnTo>
                  <a:lnTo>
                    <a:pt x="1372" y="537"/>
                  </a:lnTo>
                  <a:lnTo>
                    <a:pt x="1385" y="578"/>
                  </a:lnTo>
                  <a:lnTo>
                    <a:pt x="1396" y="615"/>
                  </a:lnTo>
                  <a:lnTo>
                    <a:pt x="1407" y="646"/>
                  </a:lnTo>
                  <a:lnTo>
                    <a:pt x="1417" y="670"/>
                  </a:lnTo>
                  <a:lnTo>
                    <a:pt x="1423" y="687"/>
                  </a:lnTo>
                  <a:lnTo>
                    <a:pt x="1428" y="697"/>
                  </a:lnTo>
                  <a:lnTo>
                    <a:pt x="1431" y="698"/>
                  </a:lnTo>
                  <a:lnTo>
                    <a:pt x="1459" y="644"/>
                  </a:lnTo>
                  <a:lnTo>
                    <a:pt x="1492" y="594"/>
                  </a:lnTo>
                  <a:lnTo>
                    <a:pt x="1531" y="549"/>
                  </a:lnTo>
                  <a:lnTo>
                    <a:pt x="1572" y="509"/>
                  </a:lnTo>
                  <a:lnTo>
                    <a:pt x="1619" y="474"/>
                  </a:lnTo>
                  <a:lnTo>
                    <a:pt x="1665" y="442"/>
                  </a:lnTo>
                  <a:lnTo>
                    <a:pt x="1715" y="415"/>
                  </a:lnTo>
                  <a:lnTo>
                    <a:pt x="1764" y="391"/>
                  </a:lnTo>
                  <a:lnTo>
                    <a:pt x="1814" y="372"/>
                  </a:lnTo>
                  <a:lnTo>
                    <a:pt x="1862" y="354"/>
                  </a:lnTo>
                  <a:lnTo>
                    <a:pt x="1909" y="340"/>
                  </a:lnTo>
                  <a:lnTo>
                    <a:pt x="1953" y="328"/>
                  </a:lnTo>
                  <a:lnTo>
                    <a:pt x="1995" y="319"/>
                  </a:lnTo>
                  <a:lnTo>
                    <a:pt x="2032" y="312"/>
                  </a:lnTo>
                  <a:lnTo>
                    <a:pt x="2064" y="306"/>
                  </a:lnTo>
                  <a:lnTo>
                    <a:pt x="2089" y="303"/>
                  </a:lnTo>
                  <a:lnTo>
                    <a:pt x="2109" y="301"/>
                  </a:lnTo>
                  <a:lnTo>
                    <a:pt x="2121" y="300"/>
                  </a:lnTo>
                  <a:lnTo>
                    <a:pt x="2126" y="300"/>
                  </a:lnTo>
                  <a:lnTo>
                    <a:pt x="2131" y="300"/>
                  </a:lnTo>
                  <a:lnTo>
                    <a:pt x="2142" y="301"/>
                  </a:lnTo>
                  <a:lnTo>
                    <a:pt x="2163" y="303"/>
                  </a:lnTo>
                  <a:lnTo>
                    <a:pt x="2189" y="306"/>
                  </a:lnTo>
                  <a:lnTo>
                    <a:pt x="2221" y="311"/>
                  </a:lnTo>
                  <a:lnTo>
                    <a:pt x="2258" y="319"/>
                  </a:lnTo>
                  <a:lnTo>
                    <a:pt x="2299" y="327"/>
                  </a:lnTo>
                  <a:lnTo>
                    <a:pt x="2344" y="338"/>
                  </a:lnTo>
                  <a:lnTo>
                    <a:pt x="2391" y="352"/>
                  </a:lnTo>
                  <a:lnTo>
                    <a:pt x="2439" y="368"/>
                  </a:lnTo>
                  <a:lnTo>
                    <a:pt x="2488" y="389"/>
                  </a:lnTo>
                  <a:lnTo>
                    <a:pt x="2539" y="413"/>
                  </a:lnTo>
                  <a:lnTo>
                    <a:pt x="2587" y="441"/>
                  </a:lnTo>
                  <a:lnTo>
                    <a:pt x="2636" y="473"/>
                  </a:lnTo>
                  <a:lnTo>
                    <a:pt x="2682" y="508"/>
                  </a:lnTo>
                  <a:lnTo>
                    <a:pt x="2724" y="548"/>
                  </a:lnTo>
                  <a:lnTo>
                    <a:pt x="2762" y="593"/>
                  </a:lnTo>
                  <a:lnTo>
                    <a:pt x="2796" y="644"/>
                  </a:lnTo>
                  <a:lnTo>
                    <a:pt x="2825" y="698"/>
                  </a:lnTo>
                  <a:lnTo>
                    <a:pt x="2828" y="697"/>
                  </a:lnTo>
                  <a:lnTo>
                    <a:pt x="2833" y="686"/>
                  </a:lnTo>
                  <a:lnTo>
                    <a:pt x="2839" y="668"/>
                  </a:lnTo>
                  <a:lnTo>
                    <a:pt x="2849" y="644"/>
                  </a:lnTo>
                  <a:lnTo>
                    <a:pt x="2860" y="612"/>
                  </a:lnTo>
                  <a:lnTo>
                    <a:pt x="2871" y="577"/>
                  </a:lnTo>
                  <a:lnTo>
                    <a:pt x="2884" y="535"/>
                  </a:lnTo>
                  <a:lnTo>
                    <a:pt x="2897" y="490"/>
                  </a:lnTo>
                  <a:lnTo>
                    <a:pt x="2909" y="442"/>
                  </a:lnTo>
                  <a:lnTo>
                    <a:pt x="2921" y="391"/>
                  </a:lnTo>
                  <a:lnTo>
                    <a:pt x="2932" y="336"/>
                  </a:lnTo>
                  <a:lnTo>
                    <a:pt x="2941" y="280"/>
                  </a:lnTo>
                  <a:lnTo>
                    <a:pt x="2948" y="224"/>
                  </a:lnTo>
                  <a:lnTo>
                    <a:pt x="2953" y="167"/>
                  </a:lnTo>
                  <a:lnTo>
                    <a:pt x="2956" y="111"/>
                  </a:lnTo>
                  <a:lnTo>
                    <a:pt x="2954" y="55"/>
                  </a:lnTo>
                  <a:lnTo>
                    <a:pt x="2949" y="0"/>
                  </a:lnTo>
                  <a:lnTo>
                    <a:pt x="3050" y="27"/>
                  </a:lnTo>
                  <a:lnTo>
                    <a:pt x="3153" y="58"/>
                  </a:lnTo>
                  <a:lnTo>
                    <a:pt x="3257" y="93"/>
                  </a:lnTo>
                  <a:lnTo>
                    <a:pt x="3363" y="131"/>
                  </a:lnTo>
                  <a:lnTo>
                    <a:pt x="3467" y="176"/>
                  </a:lnTo>
                  <a:lnTo>
                    <a:pt x="3572" y="224"/>
                  </a:lnTo>
                  <a:lnTo>
                    <a:pt x="3678" y="279"/>
                  </a:lnTo>
                  <a:lnTo>
                    <a:pt x="3782" y="338"/>
                  </a:lnTo>
                  <a:lnTo>
                    <a:pt x="3883" y="402"/>
                  </a:lnTo>
                  <a:lnTo>
                    <a:pt x="3982" y="473"/>
                  </a:lnTo>
                  <a:lnTo>
                    <a:pt x="4078" y="548"/>
                  </a:lnTo>
                  <a:lnTo>
                    <a:pt x="4171" y="631"/>
                  </a:lnTo>
                  <a:lnTo>
                    <a:pt x="4261" y="719"/>
                  </a:lnTo>
                  <a:lnTo>
                    <a:pt x="4168" y="839"/>
                  </a:lnTo>
                  <a:lnTo>
                    <a:pt x="4067" y="955"/>
                  </a:lnTo>
                  <a:lnTo>
                    <a:pt x="3961" y="1062"/>
                  </a:lnTo>
                  <a:lnTo>
                    <a:pt x="3849" y="1165"/>
                  </a:lnTo>
                  <a:lnTo>
                    <a:pt x="3731" y="1261"/>
                  </a:lnTo>
                  <a:lnTo>
                    <a:pt x="3606" y="1349"/>
                  </a:lnTo>
                  <a:lnTo>
                    <a:pt x="3478" y="1432"/>
                  </a:lnTo>
                  <a:lnTo>
                    <a:pt x="3343" y="1506"/>
                  </a:lnTo>
                  <a:lnTo>
                    <a:pt x="3206" y="1573"/>
                  </a:lnTo>
                  <a:lnTo>
                    <a:pt x="3062" y="1632"/>
                  </a:lnTo>
                  <a:lnTo>
                    <a:pt x="2916" y="1682"/>
                  </a:lnTo>
                  <a:lnTo>
                    <a:pt x="2764" y="1725"/>
                  </a:lnTo>
                  <a:lnTo>
                    <a:pt x="2610" y="1759"/>
                  </a:lnTo>
                  <a:lnTo>
                    <a:pt x="2453" y="1783"/>
                  </a:lnTo>
                  <a:lnTo>
                    <a:pt x="2293" y="1797"/>
                  </a:lnTo>
                  <a:lnTo>
                    <a:pt x="2129" y="1802"/>
                  </a:lnTo>
                  <a:lnTo>
                    <a:pt x="1968" y="1797"/>
                  </a:lnTo>
                  <a:lnTo>
                    <a:pt x="1808" y="1783"/>
                  </a:lnTo>
                  <a:lnTo>
                    <a:pt x="1651" y="1759"/>
                  </a:lnTo>
                  <a:lnTo>
                    <a:pt x="1497" y="1725"/>
                  </a:lnTo>
                  <a:lnTo>
                    <a:pt x="1346" y="1683"/>
                  </a:lnTo>
                  <a:lnTo>
                    <a:pt x="1199" y="1632"/>
                  </a:lnTo>
                  <a:lnTo>
                    <a:pt x="1057" y="1575"/>
                  </a:lnTo>
                  <a:lnTo>
                    <a:pt x="919" y="1507"/>
                  </a:lnTo>
                  <a:lnTo>
                    <a:pt x="784" y="1434"/>
                  </a:lnTo>
                  <a:lnTo>
                    <a:pt x="656" y="1352"/>
                  </a:lnTo>
                  <a:lnTo>
                    <a:pt x="531" y="1262"/>
                  </a:lnTo>
                  <a:lnTo>
                    <a:pt x="413" y="1166"/>
                  </a:lnTo>
                  <a:lnTo>
                    <a:pt x="301" y="1064"/>
                  </a:lnTo>
                  <a:lnTo>
                    <a:pt x="193" y="955"/>
                  </a:lnTo>
                  <a:lnTo>
                    <a:pt x="94" y="841"/>
                  </a:lnTo>
                  <a:lnTo>
                    <a:pt x="0" y="719"/>
                  </a:lnTo>
                  <a:lnTo>
                    <a:pt x="88" y="631"/>
                  </a:lnTo>
                  <a:lnTo>
                    <a:pt x="181" y="548"/>
                  </a:lnTo>
                  <a:lnTo>
                    <a:pt x="278" y="473"/>
                  </a:lnTo>
                  <a:lnTo>
                    <a:pt x="378" y="402"/>
                  </a:lnTo>
                  <a:lnTo>
                    <a:pt x="478" y="338"/>
                  </a:lnTo>
                  <a:lnTo>
                    <a:pt x="583" y="279"/>
                  </a:lnTo>
                  <a:lnTo>
                    <a:pt x="687" y="224"/>
                  </a:lnTo>
                  <a:lnTo>
                    <a:pt x="792" y="176"/>
                  </a:lnTo>
                  <a:lnTo>
                    <a:pt x="896" y="131"/>
                  </a:lnTo>
                  <a:lnTo>
                    <a:pt x="1002" y="93"/>
                  </a:lnTo>
                  <a:lnTo>
                    <a:pt x="1105" y="58"/>
                  </a:lnTo>
                  <a:lnTo>
                    <a:pt x="1207" y="27"/>
                  </a:lnTo>
                  <a:lnTo>
                    <a:pt x="13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7954611" y="2409990"/>
              <a:ext cx="249279" cy="168903"/>
            </a:xfrm>
            <a:custGeom>
              <a:avLst/>
              <a:gdLst>
                <a:gd name="T0" fmla="*/ 75 w 1315"/>
                <a:gd name="T1" fmla="*/ 0 h 891"/>
                <a:gd name="T2" fmla="*/ 131 w 1315"/>
                <a:gd name="T3" fmla="*/ 61 h 891"/>
                <a:gd name="T4" fmla="*/ 190 w 1315"/>
                <a:gd name="T5" fmla="*/ 116 h 891"/>
                <a:gd name="T6" fmla="*/ 251 w 1315"/>
                <a:gd name="T7" fmla="*/ 165 h 891"/>
                <a:gd name="T8" fmla="*/ 315 w 1315"/>
                <a:gd name="T9" fmla="*/ 208 h 891"/>
                <a:gd name="T10" fmla="*/ 379 w 1315"/>
                <a:gd name="T11" fmla="*/ 244 h 891"/>
                <a:gd name="T12" fmla="*/ 447 w 1315"/>
                <a:gd name="T13" fmla="*/ 274 h 891"/>
                <a:gd name="T14" fmla="*/ 516 w 1315"/>
                <a:gd name="T15" fmla="*/ 295 h 891"/>
                <a:gd name="T16" fmla="*/ 586 w 1315"/>
                <a:gd name="T17" fmla="*/ 308 h 891"/>
                <a:gd name="T18" fmla="*/ 656 w 1315"/>
                <a:gd name="T19" fmla="*/ 313 h 891"/>
                <a:gd name="T20" fmla="*/ 737 w 1315"/>
                <a:gd name="T21" fmla="*/ 308 h 891"/>
                <a:gd name="T22" fmla="*/ 815 w 1315"/>
                <a:gd name="T23" fmla="*/ 292 h 891"/>
                <a:gd name="T24" fmla="*/ 890 w 1315"/>
                <a:gd name="T25" fmla="*/ 265 h 891"/>
                <a:gd name="T26" fmla="*/ 966 w 1315"/>
                <a:gd name="T27" fmla="*/ 229 h 891"/>
                <a:gd name="T28" fmla="*/ 1038 w 1315"/>
                <a:gd name="T29" fmla="*/ 183 h 891"/>
                <a:gd name="T30" fmla="*/ 1108 w 1315"/>
                <a:gd name="T31" fmla="*/ 130 h 891"/>
                <a:gd name="T32" fmla="*/ 1175 w 1315"/>
                <a:gd name="T33" fmla="*/ 69 h 891"/>
                <a:gd name="T34" fmla="*/ 1239 w 1315"/>
                <a:gd name="T35" fmla="*/ 0 h 891"/>
                <a:gd name="T36" fmla="*/ 1271 w 1315"/>
                <a:gd name="T37" fmla="*/ 77 h 891"/>
                <a:gd name="T38" fmla="*/ 1294 w 1315"/>
                <a:gd name="T39" fmla="*/ 156 h 891"/>
                <a:gd name="T40" fmla="*/ 1310 w 1315"/>
                <a:gd name="T41" fmla="*/ 236 h 891"/>
                <a:gd name="T42" fmla="*/ 1315 w 1315"/>
                <a:gd name="T43" fmla="*/ 317 h 891"/>
                <a:gd name="T44" fmla="*/ 1315 w 1315"/>
                <a:gd name="T45" fmla="*/ 329 h 891"/>
                <a:gd name="T46" fmla="*/ 1313 w 1315"/>
                <a:gd name="T47" fmla="*/ 343 h 891"/>
                <a:gd name="T48" fmla="*/ 1310 w 1315"/>
                <a:gd name="T49" fmla="*/ 362 h 891"/>
                <a:gd name="T50" fmla="*/ 1303 w 1315"/>
                <a:gd name="T51" fmla="*/ 385 h 891"/>
                <a:gd name="T52" fmla="*/ 1295 w 1315"/>
                <a:gd name="T53" fmla="*/ 410 h 891"/>
                <a:gd name="T54" fmla="*/ 1284 w 1315"/>
                <a:gd name="T55" fmla="*/ 438 h 891"/>
                <a:gd name="T56" fmla="*/ 1268 w 1315"/>
                <a:gd name="T57" fmla="*/ 470 h 891"/>
                <a:gd name="T58" fmla="*/ 1247 w 1315"/>
                <a:gd name="T59" fmla="*/ 502 h 891"/>
                <a:gd name="T60" fmla="*/ 1222 w 1315"/>
                <a:gd name="T61" fmla="*/ 537 h 891"/>
                <a:gd name="T62" fmla="*/ 1191 w 1315"/>
                <a:gd name="T63" fmla="*/ 574 h 891"/>
                <a:gd name="T64" fmla="*/ 1155 w 1315"/>
                <a:gd name="T65" fmla="*/ 612 h 891"/>
                <a:gd name="T66" fmla="*/ 1110 w 1315"/>
                <a:gd name="T67" fmla="*/ 651 h 891"/>
                <a:gd name="T68" fmla="*/ 1058 w 1315"/>
                <a:gd name="T69" fmla="*/ 691 h 891"/>
                <a:gd name="T70" fmla="*/ 999 w 1315"/>
                <a:gd name="T71" fmla="*/ 731 h 891"/>
                <a:gd name="T72" fmla="*/ 932 w 1315"/>
                <a:gd name="T73" fmla="*/ 772 h 891"/>
                <a:gd name="T74" fmla="*/ 855 w 1315"/>
                <a:gd name="T75" fmla="*/ 812 h 891"/>
                <a:gd name="T76" fmla="*/ 770 w 1315"/>
                <a:gd name="T77" fmla="*/ 852 h 891"/>
                <a:gd name="T78" fmla="*/ 674 w 1315"/>
                <a:gd name="T79" fmla="*/ 891 h 891"/>
                <a:gd name="T80" fmla="*/ 640 w 1315"/>
                <a:gd name="T81" fmla="*/ 891 h 891"/>
                <a:gd name="T82" fmla="*/ 544 w 1315"/>
                <a:gd name="T83" fmla="*/ 852 h 891"/>
                <a:gd name="T84" fmla="*/ 458 w 1315"/>
                <a:gd name="T85" fmla="*/ 812 h 891"/>
                <a:gd name="T86" fmla="*/ 383 w 1315"/>
                <a:gd name="T87" fmla="*/ 772 h 891"/>
                <a:gd name="T88" fmla="*/ 315 w 1315"/>
                <a:gd name="T89" fmla="*/ 731 h 891"/>
                <a:gd name="T90" fmla="*/ 256 w 1315"/>
                <a:gd name="T91" fmla="*/ 691 h 891"/>
                <a:gd name="T92" fmla="*/ 205 w 1315"/>
                <a:gd name="T93" fmla="*/ 651 h 891"/>
                <a:gd name="T94" fmla="*/ 160 w 1315"/>
                <a:gd name="T95" fmla="*/ 612 h 891"/>
                <a:gd name="T96" fmla="*/ 123 w 1315"/>
                <a:gd name="T97" fmla="*/ 574 h 891"/>
                <a:gd name="T98" fmla="*/ 93 w 1315"/>
                <a:gd name="T99" fmla="*/ 537 h 891"/>
                <a:gd name="T100" fmla="*/ 67 w 1315"/>
                <a:gd name="T101" fmla="*/ 502 h 891"/>
                <a:gd name="T102" fmla="*/ 46 w 1315"/>
                <a:gd name="T103" fmla="*/ 470 h 891"/>
                <a:gd name="T104" fmla="*/ 30 w 1315"/>
                <a:gd name="T105" fmla="*/ 438 h 891"/>
                <a:gd name="T106" fmla="*/ 19 w 1315"/>
                <a:gd name="T107" fmla="*/ 410 h 891"/>
                <a:gd name="T108" fmla="*/ 11 w 1315"/>
                <a:gd name="T109" fmla="*/ 385 h 891"/>
                <a:gd name="T110" fmla="*/ 5 w 1315"/>
                <a:gd name="T111" fmla="*/ 362 h 891"/>
                <a:gd name="T112" fmla="*/ 2 w 1315"/>
                <a:gd name="T113" fmla="*/ 343 h 891"/>
                <a:gd name="T114" fmla="*/ 0 w 1315"/>
                <a:gd name="T115" fmla="*/ 329 h 891"/>
                <a:gd name="T116" fmla="*/ 0 w 1315"/>
                <a:gd name="T117" fmla="*/ 317 h 891"/>
                <a:gd name="T118" fmla="*/ 6 w 1315"/>
                <a:gd name="T119" fmla="*/ 236 h 891"/>
                <a:gd name="T120" fmla="*/ 21 w 1315"/>
                <a:gd name="T121" fmla="*/ 156 h 891"/>
                <a:gd name="T122" fmla="*/ 45 w 1315"/>
                <a:gd name="T123" fmla="*/ 77 h 891"/>
                <a:gd name="T124" fmla="*/ 75 w 1315"/>
                <a:gd name="T125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891">
                  <a:moveTo>
                    <a:pt x="75" y="0"/>
                  </a:moveTo>
                  <a:lnTo>
                    <a:pt x="131" y="61"/>
                  </a:lnTo>
                  <a:lnTo>
                    <a:pt x="190" y="116"/>
                  </a:lnTo>
                  <a:lnTo>
                    <a:pt x="251" y="165"/>
                  </a:lnTo>
                  <a:lnTo>
                    <a:pt x="315" y="208"/>
                  </a:lnTo>
                  <a:lnTo>
                    <a:pt x="379" y="244"/>
                  </a:lnTo>
                  <a:lnTo>
                    <a:pt x="447" y="274"/>
                  </a:lnTo>
                  <a:lnTo>
                    <a:pt x="516" y="295"/>
                  </a:lnTo>
                  <a:lnTo>
                    <a:pt x="586" y="308"/>
                  </a:lnTo>
                  <a:lnTo>
                    <a:pt x="656" y="313"/>
                  </a:lnTo>
                  <a:lnTo>
                    <a:pt x="737" y="308"/>
                  </a:lnTo>
                  <a:lnTo>
                    <a:pt x="815" y="292"/>
                  </a:lnTo>
                  <a:lnTo>
                    <a:pt x="890" y="265"/>
                  </a:lnTo>
                  <a:lnTo>
                    <a:pt x="966" y="229"/>
                  </a:lnTo>
                  <a:lnTo>
                    <a:pt x="1038" y="183"/>
                  </a:lnTo>
                  <a:lnTo>
                    <a:pt x="1108" y="130"/>
                  </a:lnTo>
                  <a:lnTo>
                    <a:pt x="1175" y="69"/>
                  </a:lnTo>
                  <a:lnTo>
                    <a:pt x="1239" y="0"/>
                  </a:lnTo>
                  <a:lnTo>
                    <a:pt x="1271" y="77"/>
                  </a:lnTo>
                  <a:lnTo>
                    <a:pt x="1294" y="156"/>
                  </a:lnTo>
                  <a:lnTo>
                    <a:pt x="1310" y="236"/>
                  </a:lnTo>
                  <a:lnTo>
                    <a:pt x="1315" y="317"/>
                  </a:lnTo>
                  <a:lnTo>
                    <a:pt x="1315" y="329"/>
                  </a:lnTo>
                  <a:lnTo>
                    <a:pt x="1313" y="343"/>
                  </a:lnTo>
                  <a:lnTo>
                    <a:pt x="1310" y="362"/>
                  </a:lnTo>
                  <a:lnTo>
                    <a:pt x="1303" y="385"/>
                  </a:lnTo>
                  <a:lnTo>
                    <a:pt x="1295" y="410"/>
                  </a:lnTo>
                  <a:lnTo>
                    <a:pt x="1284" y="438"/>
                  </a:lnTo>
                  <a:lnTo>
                    <a:pt x="1268" y="470"/>
                  </a:lnTo>
                  <a:lnTo>
                    <a:pt x="1247" y="502"/>
                  </a:lnTo>
                  <a:lnTo>
                    <a:pt x="1222" y="537"/>
                  </a:lnTo>
                  <a:lnTo>
                    <a:pt x="1191" y="574"/>
                  </a:lnTo>
                  <a:lnTo>
                    <a:pt x="1155" y="612"/>
                  </a:lnTo>
                  <a:lnTo>
                    <a:pt x="1110" y="651"/>
                  </a:lnTo>
                  <a:lnTo>
                    <a:pt x="1058" y="691"/>
                  </a:lnTo>
                  <a:lnTo>
                    <a:pt x="999" y="731"/>
                  </a:lnTo>
                  <a:lnTo>
                    <a:pt x="932" y="772"/>
                  </a:lnTo>
                  <a:lnTo>
                    <a:pt x="855" y="812"/>
                  </a:lnTo>
                  <a:lnTo>
                    <a:pt x="770" y="852"/>
                  </a:lnTo>
                  <a:lnTo>
                    <a:pt x="674" y="891"/>
                  </a:lnTo>
                  <a:lnTo>
                    <a:pt x="640" y="891"/>
                  </a:lnTo>
                  <a:lnTo>
                    <a:pt x="544" y="852"/>
                  </a:lnTo>
                  <a:lnTo>
                    <a:pt x="458" y="812"/>
                  </a:lnTo>
                  <a:lnTo>
                    <a:pt x="383" y="772"/>
                  </a:lnTo>
                  <a:lnTo>
                    <a:pt x="315" y="731"/>
                  </a:lnTo>
                  <a:lnTo>
                    <a:pt x="256" y="691"/>
                  </a:lnTo>
                  <a:lnTo>
                    <a:pt x="205" y="651"/>
                  </a:lnTo>
                  <a:lnTo>
                    <a:pt x="160" y="612"/>
                  </a:lnTo>
                  <a:lnTo>
                    <a:pt x="123" y="574"/>
                  </a:lnTo>
                  <a:lnTo>
                    <a:pt x="93" y="537"/>
                  </a:lnTo>
                  <a:lnTo>
                    <a:pt x="67" y="502"/>
                  </a:lnTo>
                  <a:lnTo>
                    <a:pt x="46" y="470"/>
                  </a:lnTo>
                  <a:lnTo>
                    <a:pt x="30" y="438"/>
                  </a:lnTo>
                  <a:lnTo>
                    <a:pt x="19" y="410"/>
                  </a:lnTo>
                  <a:lnTo>
                    <a:pt x="11" y="385"/>
                  </a:lnTo>
                  <a:lnTo>
                    <a:pt x="5" y="362"/>
                  </a:lnTo>
                  <a:lnTo>
                    <a:pt x="2" y="343"/>
                  </a:lnTo>
                  <a:lnTo>
                    <a:pt x="0" y="329"/>
                  </a:lnTo>
                  <a:lnTo>
                    <a:pt x="0" y="317"/>
                  </a:lnTo>
                  <a:lnTo>
                    <a:pt x="6" y="236"/>
                  </a:lnTo>
                  <a:lnTo>
                    <a:pt x="21" y="156"/>
                  </a:lnTo>
                  <a:lnTo>
                    <a:pt x="45" y="7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8010533" y="2579841"/>
              <a:ext cx="137056" cy="67675"/>
            </a:xfrm>
            <a:custGeom>
              <a:avLst/>
              <a:gdLst>
                <a:gd name="T0" fmla="*/ 361 w 723"/>
                <a:gd name="T1" fmla="*/ 0 h 357"/>
                <a:gd name="T2" fmla="*/ 368 w 723"/>
                <a:gd name="T3" fmla="*/ 0 h 357"/>
                <a:gd name="T4" fmla="*/ 382 w 723"/>
                <a:gd name="T5" fmla="*/ 1 h 357"/>
                <a:gd name="T6" fmla="*/ 406 w 723"/>
                <a:gd name="T7" fmla="*/ 4 h 357"/>
                <a:gd name="T8" fmla="*/ 438 w 723"/>
                <a:gd name="T9" fmla="*/ 9 h 357"/>
                <a:gd name="T10" fmla="*/ 477 w 723"/>
                <a:gd name="T11" fmla="*/ 16 h 357"/>
                <a:gd name="T12" fmla="*/ 520 w 723"/>
                <a:gd name="T13" fmla="*/ 25 h 357"/>
                <a:gd name="T14" fmla="*/ 566 w 723"/>
                <a:gd name="T15" fmla="*/ 36 h 357"/>
                <a:gd name="T16" fmla="*/ 618 w 723"/>
                <a:gd name="T17" fmla="*/ 51 h 357"/>
                <a:gd name="T18" fmla="*/ 671 w 723"/>
                <a:gd name="T19" fmla="*/ 70 h 357"/>
                <a:gd name="T20" fmla="*/ 723 w 723"/>
                <a:gd name="T21" fmla="*/ 91 h 357"/>
                <a:gd name="T22" fmla="*/ 590 w 723"/>
                <a:gd name="T23" fmla="*/ 357 h 357"/>
                <a:gd name="T24" fmla="*/ 132 w 723"/>
                <a:gd name="T25" fmla="*/ 357 h 357"/>
                <a:gd name="T26" fmla="*/ 0 w 723"/>
                <a:gd name="T27" fmla="*/ 91 h 357"/>
                <a:gd name="T28" fmla="*/ 54 w 723"/>
                <a:gd name="T29" fmla="*/ 70 h 357"/>
                <a:gd name="T30" fmla="*/ 108 w 723"/>
                <a:gd name="T31" fmla="*/ 51 h 357"/>
                <a:gd name="T32" fmla="*/ 160 w 723"/>
                <a:gd name="T33" fmla="*/ 36 h 357"/>
                <a:gd name="T34" fmla="*/ 206 w 723"/>
                <a:gd name="T35" fmla="*/ 25 h 357"/>
                <a:gd name="T36" fmla="*/ 249 w 723"/>
                <a:gd name="T37" fmla="*/ 16 h 357"/>
                <a:gd name="T38" fmla="*/ 288 w 723"/>
                <a:gd name="T39" fmla="*/ 9 h 357"/>
                <a:gd name="T40" fmla="*/ 318 w 723"/>
                <a:gd name="T41" fmla="*/ 4 h 357"/>
                <a:gd name="T42" fmla="*/ 342 w 723"/>
                <a:gd name="T43" fmla="*/ 1 h 357"/>
                <a:gd name="T44" fmla="*/ 357 w 723"/>
                <a:gd name="T45" fmla="*/ 0 h 357"/>
                <a:gd name="T46" fmla="*/ 361 w 723"/>
                <a:gd name="T4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3" h="357">
                  <a:moveTo>
                    <a:pt x="361" y="0"/>
                  </a:moveTo>
                  <a:lnTo>
                    <a:pt x="368" y="0"/>
                  </a:lnTo>
                  <a:lnTo>
                    <a:pt x="382" y="1"/>
                  </a:lnTo>
                  <a:lnTo>
                    <a:pt x="406" y="4"/>
                  </a:lnTo>
                  <a:lnTo>
                    <a:pt x="438" y="9"/>
                  </a:lnTo>
                  <a:lnTo>
                    <a:pt x="477" y="16"/>
                  </a:lnTo>
                  <a:lnTo>
                    <a:pt x="520" y="25"/>
                  </a:lnTo>
                  <a:lnTo>
                    <a:pt x="566" y="36"/>
                  </a:lnTo>
                  <a:lnTo>
                    <a:pt x="618" y="51"/>
                  </a:lnTo>
                  <a:lnTo>
                    <a:pt x="671" y="70"/>
                  </a:lnTo>
                  <a:lnTo>
                    <a:pt x="723" y="91"/>
                  </a:lnTo>
                  <a:lnTo>
                    <a:pt x="590" y="357"/>
                  </a:lnTo>
                  <a:lnTo>
                    <a:pt x="132" y="357"/>
                  </a:lnTo>
                  <a:lnTo>
                    <a:pt x="0" y="91"/>
                  </a:lnTo>
                  <a:lnTo>
                    <a:pt x="54" y="70"/>
                  </a:lnTo>
                  <a:lnTo>
                    <a:pt x="108" y="51"/>
                  </a:lnTo>
                  <a:lnTo>
                    <a:pt x="160" y="36"/>
                  </a:lnTo>
                  <a:lnTo>
                    <a:pt x="206" y="25"/>
                  </a:lnTo>
                  <a:lnTo>
                    <a:pt x="249" y="16"/>
                  </a:lnTo>
                  <a:lnTo>
                    <a:pt x="288" y="9"/>
                  </a:lnTo>
                  <a:lnTo>
                    <a:pt x="318" y="4"/>
                  </a:lnTo>
                  <a:lnTo>
                    <a:pt x="342" y="1"/>
                  </a:lnTo>
                  <a:lnTo>
                    <a:pt x="357" y="0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8007668" y="2645767"/>
              <a:ext cx="141985" cy="216105"/>
            </a:xfrm>
            <a:custGeom>
              <a:avLst/>
              <a:gdLst>
                <a:gd name="T0" fmla="*/ 145 w 749"/>
                <a:gd name="T1" fmla="*/ 0 h 1140"/>
                <a:gd name="T2" fmla="*/ 603 w 749"/>
                <a:gd name="T3" fmla="*/ 0 h 1140"/>
                <a:gd name="T4" fmla="*/ 749 w 749"/>
                <a:gd name="T5" fmla="*/ 1114 h 1140"/>
                <a:gd name="T6" fmla="*/ 562 w 749"/>
                <a:gd name="T7" fmla="*/ 1134 h 1140"/>
                <a:gd name="T8" fmla="*/ 373 w 749"/>
                <a:gd name="T9" fmla="*/ 1140 h 1140"/>
                <a:gd name="T10" fmla="*/ 246 w 749"/>
                <a:gd name="T11" fmla="*/ 1137 h 1140"/>
                <a:gd name="T12" fmla="*/ 121 w 749"/>
                <a:gd name="T13" fmla="*/ 1129 h 1140"/>
                <a:gd name="T14" fmla="*/ 0 w 749"/>
                <a:gd name="T15" fmla="*/ 1114 h 1140"/>
                <a:gd name="T16" fmla="*/ 145 w 749"/>
                <a:gd name="T17" fmla="*/ 0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9" h="1140">
                  <a:moveTo>
                    <a:pt x="145" y="0"/>
                  </a:moveTo>
                  <a:lnTo>
                    <a:pt x="603" y="0"/>
                  </a:lnTo>
                  <a:lnTo>
                    <a:pt x="749" y="1114"/>
                  </a:lnTo>
                  <a:lnTo>
                    <a:pt x="562" y="1134"/>
                  </a:lnTo>
                  <a:lnTo>
                    <a:pt x="373" y="1140"/>
                  </a:lnTo>
                  <a:lnTo>
                    <a:pt x="246" y="1137"/>
                  </a:lnTo>
                  <a:lnTo>
                    <a:pt x="121" y="1129"/>
                  </a:lnTo>
                  <a:lnTo>
                    <a:pt x="0" y="1114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8078966" y="2468566"/>
              <a:ext cx="157340" cy="186722"/>
            </a:xfrm>
            <a:custGeom>
              <a:avLst/>
              <a:gdLst>
                <a:gd name="T0" fmla="*/ 699 w 830"/>
                <a:gd name="T1" fmla="*/ 26 h 985"/>
                <a:gd name="T2" fmla="*/ 760 w 830"/>
                <a:gd name="T3" fmla="*/ 95 h 985"/>
                <a:gd name="T4" fmla="*/ 801 w 830"/>
                <a:gd name="T5" fmla="*/ 180 h 985"/>
                <a:gd name="T6" fmla="*/ 824 w 830"/>
                <a:gd name="T7" fmla="*/ 276 h 985"/>
                <a:gd name="T8" fmla="*/ 830 w 830"/>
                <a:gd name="T9" fmla="*/ 382 h 985"/>
                <a:gd name="T10" fmla="*/ 825 w 830"/>
                <a:gd name="T11" fmla="*/ 491 h 985"/>
                <a:gd name="T12" fmla="*/ 811 w 830"/>
                <a:gd name="T13" fmla="*/ 599 h 985"/>
                <a:gd name="T14" fmla="*/ 790 w 830"/>
                <a:gd name="T15" fmla="*/ 702 h 985"/>
                <a:gd name="T16" fmla="*/ 766 w 830"/>
                <a:gd name="T17" fmla="*/ 796 h 985"/>
                <a:gd name="T18" fmla="*/ 744 w 830"/>
                <a:gd name="T19" fmla="*/ 875 h 985"/>
                <a:gd name="T20" fmla="*/ 721 w 830"/>
                <a:gd name="T21" fmla="*/ 937 h 985"/>
                <a:gd name="T22" fmla="*/ 707 w 830"/>
                <a:gd name="T23" fmla="*/ 974 h 985"/>
                <a:gd name="T24" fmla="*/ 700 w 830"/>
                <a:gd name="T25" fmla="*/ 985 h 985"/>
                <a:gd name="T26" fmla="*/ 638 w 830"/>
                <a:gd name="T27" fmla="*/ 880 h 985"/>
                <a:gd name="T28" fmla="*/ 556 w 830"/>
                <a:gd name="T29" fmla="*/ 795 h 985"/>
                <a:gd name="T30" fmla="*/ 463 w 830"/>
                <a:gd name="T31" fmla="*/ 728 h 985"/>
                <a:gd name="T32" fmla="*/ 364 w 830"/>
                <a:gd name="T33" fmla="*/ 676 h 985"/>
                <a:gd name="T34" fmla="*/ 266 w 830"/>
                <a:gd name="T35" fmla="*/ 639 h 985"/>
                <a:gd name="T36" fmla="*/ 173 w 830"/>
                <a:gd name="T37" fmla="*/ 614 h 985"/>
                <a:gd name="T38" fmla="*/ 97 w 830"/>
                <a:gd name="T39" fmla="*/ 598 h 985"/>
                <a:gd name="T40" fmla="*/ 37 w 830"/>
                <a:gd name="T41" fmla="*/ 590 h 985"/>
                <a:gd name="T42" fmla="*/ 5 w 830"/>
                <a:gd name="T43" fmla="*/ 587 h 985"/>
                <a:gd name="T44" fmla="*/ 98 w 830"/>
                <a:gd name="T45" fmla="*/ 548 h 985"/>
                <a:gd name="T46" fmla="*/ 265 w 830"/>
                <a:gd name="T47" fmla="*/ 468 h 985"/>
                <a:gd name="T48" fmla="*/ 393 w 830"/>
                <a:gd name="T49" fmla="*/ 388 h 985"/>
                <a:gd name="T50" fmla="*/ 491 w 830"/>
                <a:gd name="T51" fmla="*/ 308 h 985"/>
                <a:gd name="T52" fmla="*/ 561 w 830"/>
                <a:gd name="T53" fmla="*/ 233 h 985"/>
                <a:gd name="T54" fmla="*/ 609 w 830"/>
                <a:gd name="T55" fmla="*/ 164 h 985"/>
                <a:gd name="T56" fmla="*/ 638 w 830"/>
                <a:gd name="T57" fmla="*/ 104 h 985"/>
                <a:gd name="T58" fmla="*/ 652 w 830"/>
                <a:gd name="T59" fmla="*/ 56 h 985"/>
                <a:gd name="T60" fmla="*/ 659 w 830"/>
                <a:gd name="T61" fmla="*/ 21 h 985"/>
                <a:gd name="T62" fmla="*/ 659 w 830"/>
                <a:gd name="T63" fmla="*/ 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659" y="0"/>
                  </a:moveTo>
                  <a:lnTo>
                    <a:pt x="699" y="26"/>
                  </a:lnTo>
                  <a:lnTo>
                    <a:pt x="732" y="58"/>
                  </a:lnTo>
                  <a:lnTo>
                    <a:pt x="760" y="95"/>
                  </a:lnTo>
                  <a:lnTo>
                    <a:pt x="784" y="135"/>
                  </a:lnTo>
                  <a:lnTo>
                    <a:pt x="801" y="180"/>
                  </a:lnTo>
                  <a:lnTo>
                    <a:pt x="814" y="226"/>
                  </a:lnTo>
                  <a:lnTo>
                    <a:pt x="824" y="276"/>
                  </a:lnTo>
                  <a:lnTo>
                    <a:pt x="828" y="329"/>
                  </a:lnTo>
                  <a:lnTo>
                    <a:pt x="830" y="382"/>
                  </a:lnTo>
                  <a:lnTo>
                    <a:pt x="828" y="436"/>
                  </a:lnTo>
                  <a:lnTo>
                    <a:pt x="825" y="491"/>
                  </a:lnTo>
                  <a:lnTo>
                    <a:pt x="819" y="545"/>
                  </a:lnTo>
                  <a:lnTo>
                    <a:pt x="811" y="599"/>
                  </a:lnTo>
                  <a:lnTo>
                    <a:pt x="801" y="652"/>
                  </a:lnTo>
                  <a:lnTo>
                    <a:pt x="790" y="702"/>
                  </a:lnTo>
                  <a:lnTo>
                    <a:pt x="779" y="750"/>
                  </a:lnTo>
                  <a:lnTo>
                    <a:pt x="766" y="796"/>
                  </a:lnTo>
                  <a:lnTo>
                    <a:pt x="755" y="838"/>
                  </a:lnTo>
                  <a:lnTo>
                    <a:pt x="744" y="875"/>
                  </a:lnTo>
                  <a:lnTo>
                    <a:pt x="732" y="909"/>
                  </a:lnTo>
                  <a:lnTo>
                    <a:pt x="721" y="937"/>
                  </a:lnTo>
                  <a:lnTo>
                    <a:pt x="713" y="958"/>
                  </a:lnTo>
                  <a:lnTo>
                    <a:pt x="707" y="974"/>
                  </a:lnTo>
                  <a:lnTo>
                    <a:pt x="702" y="984"/>
                  </a:lnTo>
                  <a:lnTo>
                    <a:pt x="700" y="985"/>
                  </a:lnTo>
                  <a:lnTo>
                    <a:pt x="671" y="931"/>
                  </a:lnTo>
                  <a:lnTo>
                    <a:pt x="638" y="880"/>
                  </a:lnTo>
                  <a:lnTo>
                    <a:pt x="599" y="835"/>
                  </a:lnTo>
                  <a:lnTo>
                    <a:pt x="556" y="795"/>
                  </a:lnTo>
                  <a:lnTo>
                    <a:pt x="511" y="760"/>
                  </a:lnTo>
                  <a:lnTo>
                    <a:pt x="463" y="728"/>
                  </a:lnTo>
                  <a:lnTo>
                    <a:pt x="414" y="700"/>
                  </a:lnTo>
                  <a:lnTo>
                    <a:pt x="364" y="676"/>
                  </a:lnTo>
                  <a:lnTo>
                    <a:pt x="314" y="655"/>
                  </a:lnTo>
                  <a:lnTo>
                    <a:pt x="266" y="639"/>
                  </a:lnTo>
                  <a:lnTo>
                    <a:pt x="218" y="625"/>
                  </a:lnTo>
                  <a:lnTo>
                    <a:pt x="173" y="614"/>
                  </a:lnTo>
                  <a:lnTo>
                    <a:pt x="133" y="606"/>
                  </a:lnTo>
                  <a:lnTo>
                    <a:pt x="97" y="598"/>
                  </a:lnTo>
                  <a:lnTo>
                    <a:pt x="65" y="593"/>
                  </a:lnTo>
                  <a:lnTo>
                    <a:pt x="37" y="590"/>
                  </a:lnTo>
                  <a:lnTo>
                    <a:pt x="18" y="588"/>
                  </a:lnTo>
                  <a:lnTo>
                    <a:pt x="5" y="587"/>
                  </a:lnTo>
                  <a:lnTo>
                    <a:pt x="0" y="587"/>
                  </a:lnTo>
                  <a:lnTo>
                    <a:pt x="98" y="548"/>
                  </a:lnTo>
                  <a:lnTo>
                    <a:pt x="186" y="508"/>
                  </a:lnTo>
                  <a:lnTo>
                    <a:pt x="265" y="468"/>
                  </a:lnTo>
                  <a:lnTo>
                    <a:pt x="334" y="428"/>
                  </a:lnTo>
                  <a:lnTo>
                    <a:pt x="393" y="388"/>
                  </a:lnTo>
                  <a:lnTo>
                    <a:pt x="446" y="348"/>
                  </a:lnTo>
                  <a:lnTo>
                    <a:pt x="491" y="308"/>
                  </a:lnTo>
                  <a:lnTo>
                    <a:pt x="529" y="271"/>
                  </a:lnTo>
                  <a:lnTo>
                    <a:pt x="561" y="233"/>
                  </a:lnTo>
                  <a:lnTo>
                    <a:pt x="587" y="197"/>
                  </a:lnTo>
                  <a:lnTo>
                    <a:pt x="609" y="164"/>
                  </a:lnTo>
                  <a:lnTo>
                    <a:pt x="625" y="133"/>
                  </a:lnTo>
                  <a:lnTo>
                    <a:pt x="638" y="104"/>
                  </a:lnTo>
                  <a:lnTo>
                    <a:pt x="646" y="79"/>
                  </a:lnTo>
                  <a:lnTo>
                    <a:pt x="652" y="56"/>
                  </a:lnTo>
                  <a:lnTo>
                    <a:pt x="655" y="36"/>
                  </a:lnTo>
                  <a:lnTo>
                    <a:pt x="659" y="21"/>
                  </a:lnTo>
                  <a:lnTo>
                    <a:pt x="659" y="10"/>
                  </a:lnTo>
                  <a:lnTo>
                    <a:pt x="659" y="2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Freeform 13"/>
            <p:cNvSpPr>
              <a:spLocks/>
            </p:cNvSpPr>
            <p:nvPr/>
          </p:nvSpPr>
          <p:spPr bwMode="auto">
            <a:xfrm>
              <a:off x="7922385" y="2468566"/>
              <a:ext cx="157340" cy="186722"/>
            </a:xfrm>
            <a:custGeom>
              <a:avLst/>
              <a:gdLst>
                <a:gd name="T0" fmla="*/ 170 w 830"/>
                <a:gd name="T1" fmla="*/ 2 h 985"/>
                <a:gd name="T2" fmla="*/ 170 w 830"/>
                <a:gd name="T3" fmla="*/ 21 h 985"/>
                <a:gd name="T4" fmla="*/ 176 w 830"/>
                <a:gd name="T5" fmla="*/ 56 h 985"/>
                <a:gd name="T6" fmla="*/ 191 w 830"/>
                <a:gd name="T7" fmla="*/ 104 h 985"/>
                <a:gd name="T8" fmla="*/ 220 w 830"/>
                <a:gd name="T9" fmla="*/ 164 h 985"/>
                <a:gd name="T10" fmla="*/ 268 w 830"/>
                <a:gd name="T11" fmla="*/ 233 h 985"/>
                <a:gd name="T12" fmla="*/ 338 w 830"/>
                <a:gd name="T13" fmla="*/ 308 h 985"/>
                <a:gd name="T14" fmla="*/ 436 w 830"/>
                <a:gd name="T15" fmla="*/ 388 h 985"/>
                <a:gd name="T16" fmla="*/ 567 w 830"/>
                <a:gd name="T17" fmla="*/ 468 h 985"/>
                <a:gd name="T18" fmla="*/ 734 w 830"/>
                <a:gd name="T19" fmla="*/ 548 h 985"/>
                <a:gd name="T20" fmla="*/ 826 w 830"/>
                <a:gd name="T21" fmla="*/ 587 h 985"/>
                <a:gd name="T22" fmla="*/ 794 w 830"/>
                <a:gd name="T23" fmla="*/ 590 h 985"/>
                <a:gd name="T24" fmla="*/ 735 w 830"/>
                <a:gd name="T25" fmla="*/ 599 h 985"/>
                <a:gd name="T26" fmla="*/ 657 w 830"/>
                <a:gd name="T27" fmla="*/ 615 h 985"/>
                <a:gd name="T28" fmla="*/ 565 w 830"/>
                <a:gd name="T29" fmla="*/ 641 h 985"/>
                <a:gd name="T30" fmla="*/ 466 w 830"/>
                <a:gd name="T31" fmla="*/ 678 h 985"/>
                <a:gd name="T32" fmla="*/ 367 w 830"/>
                <a:gd name="T33" fmla="*/ 729 h 985"/>
                <a:gd name="T34" fmla="*/ 274 w 830"/>
                <a:gd name="T35" fmla="*/ 796 h 985"/>
                <a:gd name="T36" fmla="*/ 194 w 830"/>
                <a:gd name="T37" fmla="*/ 881 h 985"/>
                <a:gd name="T38" fmla="*/ 131 w 830"/>
                <a:gd name="T39" fmla="*/ 985 h 985"/>
                <a:gd name="T40" fmla="*/ 125 w 830"/>
                <a:gd name="T41" fmla="*/ 974 h 985"/>
                <a:gd name="T42" fmla="*/ 109 w 830"/>
                <a:gd name="T43" fmla="*/ 936 h 985"/>
                <a:gd name="T44" fmla="*/ 88 w 830"/>
                <a:gd name="T45" fmla="*/ 873 h 985"/>
                <a:gd name="T46" fmla="*/ 64 w 830"/>
                <a:gd name="T47" fmla="*/ 795 h 985"/>
                <a:gd name="T48" fmla="*/ 40 w 830"/>
                <a:gd name="T49" fmla="*/ 700 h 985"/>
                <a:gd name="T50" fmla="*/ 19 w 830"/>
                <a:gd name="T51" fmla="*/ 598 h 985"/>
                <a:gd name="T52" fmla="*/ 5 w 830"/>
                <a:gd name="T53" fmla="*/ 489 h 985"/>
                <a:gd name="T54" fmla="*/ 0 w 830"/>
                <a:gd name="T55" fmla="*/ 382 h 985"/>
                <a:gd name="T56" fmla="*/ 7 w 830"/>
                <a:gd name="T57" fmla="*/ 276 h 985"/>
                <a:gd name="T58" fmla="*/ 29 w 830"/>
                <a:gd name="T59" fmla="*/ 178 h 985"/>
                <a:gd name="T60" fmla="*/ 69 w 830"/>
                <a:gd name="T61" fmla="*/ 93 h 985"/>
                <a:gd name="T62" fmla="*/ 130 w 830"/>
                <a:gd name="T63" fmla="*/ 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170" y="0"/>
                  </a:moveTo>
                  <a:lnTo>
                    <a:pt x="170" y="2"/>
                  </a:lnTo>
                  <a:lnTo>
                    <a:pt x="170" y="10"/>
                  </a:lnTo>
                  <a:lnTo>
                    <a:pt x="170" y="21"/>
                  </a:lnTo>
                  <a:lnTo>
                    <a:pt x="172" y="36"/>
                  </a:lnTo>
                  <a:lnTo>
                    <a:pt x="176" y="56"/>
                  </a:lnTo>
                  <a:lnTo>
                    <a:pt x="183" y="79"/>
                  </a:lnTo>
                  <a:lnTo>
                    <a:pt x="191" y="104"/>
                  </a:lnTo>
                  <a:lnTo>
                    <a:pt x="204" y="133"/>
                  </a:lnTo>
                  <a:lnTo>
                    <a:pt x="220" y="164"/>
                  </a:lnTo>
                  <a:lnTo>
                    <a:pt x="242" y="197"/>
                  </a:lnTo>
                  <a:lnTo>
                    <a:pt x="268" y="233"/>
                  </a:lnTo>
                  <a:lnTo>
                    <a:pt x="300" y="271"/>
                  </a:lnTo>
                  <a:lnTo>
                    <a:pt x="338" y="308"/>
                  </a:lnTo>
                  <a:lnTo>
                    <a:pt x="385" y="348"/>
                  </a:lnTo>
                  <a:lnTo>
                    <a:pt x="436" y="388"/>
                  </a:lnTo>
                  <a:lnTo>
                    <a:pt x="497" y="428"/>
                  </a:lnTo>
                  <a:lnTo>
                    <a:pt x="567" y="468"/>
                  </a:lnTo>
                  <a:lnTo>
                    <a:pt x="646" y="508"/>
                  </a:lnTo>
                  <a:lnTo>
                    <a:pt x="734" y="548"/>
                  </a:lnTo>
                  <a:lnTo>
                    <a:pt x="830" y="587"/>
                  </a:lnTo>
                  <a:lnTo>
                    <a:pt x="826" y="587"/>
                  </a:lnTo>
                  <a:lnTo>
                    <a:pt x="814" y="588"/>
                  </a:lnTo>
                  <a:lnTo>
                    <a:pt x="794" y="590"/>
                  </a:lnTo>
                  <a:lnTo>
                    <a:pt x="767" y="593"/>
                  </a:lnTo>
                  <a:lnTo>
                    <a:pt x="735" y="599"/>
                  </a:lnTo>
                  <a:lnTo>
                    <a:pt x="698" y="606"/>
                  </a:lnTo>
                  <a:lnTo>
                    <a:pt x="657" y="615"/>
                  </a:lnTo>
                  <a:lnTo>
                    <a:pt x="612" y="627"/>
                  </a:lnTo>
                  <a:lnTo>
                    <a:pt x="565" y="641"/>
                  </a:lnTo>
                  <a:lnTo>
                    <a:pt x="516" y="659"/>
                  </a:lnTo>
                  <a:lnTo>
                    <a:pt x="466" y="678"/>
                  </a:lnTo>
                  <a:lnTo>
                    <a:pt x="417" y="702"/>
                  </a:lnTo>
                  <a:lnTo>
                    <a:pt x="367" y="729"/>
                  </a:lnTo>
                  <a:lnTo>
                    <a:pt x="320" y="761"/>
                  </a:lnTo>
                  <a:lnTo>
                    <a:pt x="274" y="796"/>
                  </a:lnTo>
                  <a:lnTo>
                    <a:pt x="232" y="836"/>
                  </a:lnTo>
                  <a:lnTo>
                    <a:pt x="194" y="881"/>
                  </a:lnTo>
                  <a:lnTo>
                    <a:pt x="160" y="931"/>
                  </a:lnTo>
                  <a:lnTo>
                    <a:pt x="131" y="985"/>
                  </a:lnTo>
                  <a:lnTo>
                    <a:pt x="130" y="984"/>
                  </a:lnTo>
                  <a:lnTo>
                    <a:pt x="125" y="974"/>
                  </a:lnTo>
                  <a:lnTo>
                    <a:pt x="119" y="958"/>
                  </a:lnTo>
                  <a:lnTo>
                    <a:pt x="109" y="936"/>
                  </a:lnTo>
                  <a:lnTo>
                    <a:pt x="99" y="907"/>
                  </a:lnTo>
                  <a:lnTo>
                    <a:pt x="88" y="873"/>
                  </a:lnTo>
                  <a:lnTo>
                    <a:pt x="75" y="836"/>
                  </a:lnTo>
                  <a:lnTo>
                    <a:pt x="64" y="795"/>
                  </a:lnTo>
                  <a:lnTo>
                    <a:pt x="51" y="748"/>
                  </a:lnTo>
                  <a:lnTo>
                    <a:pt x="40" y="700"/>
                  </a:lnTo>
                  <a:lnTo>
                    <a:pt x="29" y="651"/>
                  </a:lnTo>
                  <a:lnTo>
                    <a:pt x="19" y="598"/>
                  </a:lnTo>
                  <a:lnTo>
                    <a:pt x="11" y="543"/>
                  </a:lnTo>
                  <a:lnTo>
                    <a:pt x="5" y="489"/>
                  </a:lnTo>
                  <a:lnTo>
                    <a:pt x="2" y="434"/>
                  </a:lnTo>
                  <a:lnTo>
                    <a:pt x="0" y="382"/>
                  </a:lnTo>
                  <a:lnTo>
                    <a:pt x="2" y="327"/>
                  </a:lnTo>
                  <a:lnTo>
                    <a:pt x="7" y="276"/>
                  </a:lnTo>
                  <a:lnTo>
                    <a:pt x="16" y="226"/>
                  </a:lnTo>
                  <a:lnTo>
                    <a:pt x="29" y="178"/>
                  </a:lnTo>
                  <a:lnTo>
                    <a:pt x="47" y="135"/>
                  </a:lnTo>
                  <a:lnTo>
                    <a:pt x="69" y="93"/>
                  </a:lnTo>
                  <a:lnTo>
                    <a:pt x="96" y="58"/>
                  </a:lnTo>
                  <a:lnTo>
                    <a:pt x="130" y="26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Freeform 14"/>
            <p:cNvSpPr>
              <a:spLocks/>
            </p:cNvSpPr>
            <p:nvPr/>
          </p:nvSpPr>
          <p:spPr bwMode="auto">
            <a:xfrm>
              <a:off x="7962572" y="2409990"/>
              <a:ext cx="233355" cy="74499"/>
            </a:xfrm>
            <a:custGeom>
              <a:avLst/>
              <a:gdLst>
                <a:gd name="T0" fmla="*/ 33 w 1231"/>
                <a:gd name="T1" fmla="*/ 0 h 393"/>
                <a:gd name="T2" fmla="*/ 89 w 1231"/>
                <a:gd name="T3" fmla="*/ 61 h 393"/>
                <a:gd name="T4" fmla="*/ 148 w 1231"/>
                <a:gd name="T5" fmla="*/ 116 h 393"/>
                <a:gd name="T6" fmla="*/ 209 w 1231"/>
                <a:gd name="T7" fmla="*/ 165 h 393"/>
                <a:gd name="T8" fmla="*/ 273 w 1231"/>
                <a:gd name="T9" fmla="*/ 208 h 393"/>
                <a:gd name="T10" fmla="*/ 337 w 1231"/>
                <a:gd name="T11" fmla="*/ 244 h 393"/>
                <a:gd name="T12" fmla="*/ 405 w 1231"/>
                <a:gd name="T13" fmla="*/ 274 h 393"/>
                <a:gd name="T14" fmla="*/ 474 w 1231"/>
                <a:gd name="T15" fmla="*/ 295 h 393"/>
                <a:gd name="T16" fmla="*/ 544 w 1231"/>
                <a:gd name="T17" fmla="*/ 308 h 393"/>
                <a:gd name="T18" fmla="*/ 614 w 1231"/>
                <a:gd name="T19" fmla="*/ 313 h 393"/>
                <a:gd name="T20" fmla="*/ 687 w 1231"/>
                <a:gd name="T21" fmla="*/ 308 h 393"/>
                <a:gd name="T22" fmla="*/ 757 w 1231"/>
                <a:gd name="T23" fmla="*/ 295 h 393"/>
                <a:gd name="T24" fmla="*/ 826 w 1231"/>
                <a:gd name="T25" fmla="*/ 274 h 393"/>
                <a:gd name="T26" fmla="*/ 892 w 1231"/>
                <a:gd name="T27" fmla="*/ 245 h 393"/>
                <a:gd name="T28" fmla="*/ 957 w 1231"/>
                <a:gd name="T29" fmla="*/ 210 h 393"/>
                <a:gd name="T30" fmla="*/ 1021 w 1231"/>
                <a:gd name="T31" fmla="*/ 167 h 393"/>
                <a:gd name="T32" fmla="*/ 1082 w 1231"/>
                <a:gd name="T33" fmla="*/ 117 h 393"/>
                <a:gd name="T34" fmla="*/ 1141 w 1231"/>
                <a:gd name="T35" fmla="*/ 61 h 393"/>
                <a:gd name="T36" fmla="*/ 1197 w 1231"/>
                <a:gd name="T37" fmla="*/ 0 h 393"/>
                <a:gd name="T38" fmla="*/ 1217 w 1231"/>
                <a:gd name="T39" fmla="*/ 40 h 393"/>
                <a:gd name="T40" fmla="*/ 1231 w 1231"/>
                <a:gd name="T41" fmla="*/ 84 h 393"/>
                <a:gd name="T42" fmla="*/ 1172 w 1231"/>
                <a:gd name="T43" fmla="*/ 144 h 393"/>
                <a:gd name="T44" fmla="*/ 1109 w 1231"/>
                <a:gd name="T45" fmla="*/ 199 h 393"/>
                <a:gd name="T46" fmla="*/ 1045 w 1231"/>
                <a:gd name="T47" fmla="*/ 247 h 393"/>
                <a:gd name="T48" fmla="*/ 980 w 1231"/>
                <a:gd name="T49" fmla="*/ 290 h 393"/>
                <a:gd name="T50" fmla="*/ 911 w 1231"/>
                <a:gd name="T51" fmla="*/ 325 h 393"/>
                <a:gd name="T52" fmla="*/ 840 w 1231"/>
                <a:gd name="T53" fmla="*/ 354 h 393"/>
                <a:gd name="T54" fmla="*/ 767 w 1231"/>
                <a:gd name="T55" fmla="*/ 375 h 393"/>
                <a:gd name="T56" fmla="*/ 691 w 1231"/>
                <a:gd name="T57" fmla="*/ 388 h 393"/>
                <a:gd name="T58" fmla="*/ 614 w 1231"/>
                <a:gd name="T59" fmla="*/ 393 h 393"/>
                <a:gd name="T60" fmla="*/ 538 w 1231"/>
                <a:gd name="T61" fmla="*/ 388 h 393"/>
                <a:gd name="T62" fmla="*/ 464 w 1231"/>
                <a:gd name="T63" fmla="*/ 375 h 393"/>
                <a:gd name="T64" fmla="*/ 390 w 1231"/>
                <a:gd name="T65" fmla="*/ 354 h 393"/>
                <a:gd name="T66" fmla="*/ 320 w 1231"/>
                <a:gd name="T67" fmla="*/ 325 h 393"/>
                <a:gd name="T68" fmla="*/ 251 w 1231"/>
                <a:gd name="T69" fmla="*/ 290 h 393"/>
                <a:gd name="T70" fmla="*/ 185 w 1231"/>
                <a:gd name="T71" fmla="*/ 247 h 393"/>
                <a:gd name="T72" fmla="*/ 121 w 1231"/>
                <a:gd name="T73" fmla="*/ 199 h 393"/>
                <a:gd name="T74" fmla="*/ 59 w 1231"/>
                <a:gd name="T75" fmla="*/ 144 h 393"/>
                <a:gd name="T76" fmla="*/ 0 w 1231"/>
                <a:gd name="T77" fmla="*/ 84 h 393"/>
                <a:gd name="T78" fmla="*/ 14 w 1231"/>
                <a:gd name="T79" fmla="*/ 40 h 393"/>
                <a:gd name="T80" fmla="*/ 33 w 1231"/>
                <a:gd name="T81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1" h="393">
                  <a:moveTo>
                    <a:pt x="33" y="0"/>
                  </a:moveTo>
                  <a:lnTo>
                    <a:pt x="89" y="61"/>
                  </a:lnTo>
                  <a:lnTo>
                    <a:pt x="148" y="116"/>
                  </a:lnTo>
                  <a:lnTo>
                    <a:pt x="209" y="165"/>
                  </a:lnTo>
                  <a:lnTo>
                    <a:pt x="273" y="208"/>
                  </a:lnTo>
                  <a:lnTo>
                    <a:pt x="337" y="244"/>
                  </a:lnTo>
                  <a:lnTo>
                    <a:pt x="405" y="274"/>
                  </a:lnTo>
                  <a:lnTo>
                    <a:pt x="474" y="295"/>
                  </a:lnTo>
                  <a:lnTo>
                    <a:pt x="544" y="308"/>
                  </a:lnTo>
                  <a:lnTo>
                    <a:pt x="614" y="313"/>
                  </a:lnTo>
                  <a:lnTo>
                    <a:pt x="687" y="308"/>
                  </a:lnTo>
                  <a:lnTo>
                    <a:pt x="757" y="295"/>
                  </a:lnTo>
                  <a:lnTo>
                    <a:pt x="826" y="274"/>
                  </a:lnTo>
                  <a:lnTo>
                    <a:pt x="892" y="245"/>
                  </a:lnTo>
                  <a:lnTo>
                    <a:pt x="957" y="210"/>
                  </a:lnTo>
                  <a:lnTo>
                    <a:pt x="1021" y="167"/>
                  </a:lnTo>
                  <a:lnTo>
                    <a:pt x="1082" y="117"/>
                  </a:lnTo>
                  <a:lnTo>
                    <a:pt x="1141" y="61"/>
                  </a:lnTo>
                  <a:lnTo>
                    <a:pt x="1197" y="0"/>
                  </a:lnTo>
                  <a:lnTo>
                    <a:pt x="1217" y="40"/>
                  </a:lnTo>
                  <a:lnTo>
                    <a:pt x="1231" y="84"/>
                  </a:lnTo>
                  <a:lnTo>
                    <a:pt x="1172" y="144"/>
                  </a:lnTo>
                  <a:lnTo>
                    <a:pt x="1109" y="199"/>
                  </a:lnTo>
                  <a:lnTo>
                    <a:pt x="1045" y="247"/>
                  </a:lnTo>
                  <a:lnTo>
                    <a:pt x="980" y="290"/>
                  </a:lnTo>
                  <a:lnTo>
                    <a:pt x="911" y="325"/>
                  </a:lnTo>
                  <a:lnTo>
                    <a:pt x="840" y="354"/>
                  </a:lnTo>
                  <a:lnTo>
                    <a:pt x="767" y="375"/>
                  </a:lnTo>
                  <a:lnTo>
                    <a:pt x="691" y="388"/>
                  </a:lnTo>
                  <a:lnTo>
                    <a:pt x="614" y="393"/>
                  </a:lnTo>
                  <a:lnTo>
                    <a:pt x="538" y="388"/>
                  </a:lnTo>
                  <a:lnTo>
                    <a:pt x="464" y="375"/>
                  </a:lnTo>
                  <a:lnTo>
                    <a:pt x="390" y="354"/>
                  </a:lnTo>
                  <a:lnTo>
                    <a:pt x="320" y="325"/>
                  </a:lnTo>
                  <a:lnTo>
                    <a:pt x="251" y="290"/>
                  </a:lnTo>
                  <a:lnTo>
                    <a:pt x="185" y="247"/>
                  </a:lnTo>
                  <a:lnTo>
                    <a:pt x="121" y="199"/>
                  </a:lnTo>
                  <a:lnTo>
                    <a:pt x="59" y="144"/>
                  </a:lnTo>
                  <a:lnTo>
                    <a:pt x="0" y="84"/>
                  </a:lnTo>
                  <a:lnTo>
                    <a:pt x="14" y="4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6D1A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0" name="Freeform 15"/>
            <p:cNvSpPr>
              <a:spLocks/>
            </p:cNvSpPr>
            <p:nvPr/>
          </p:nvSpPr>
          <p:spPr bwMode="auto">
            <a:xfrm>
              <a:off x="7848644" y="2066877"/>
              <a:ext cx="460834" cy="401689"/>
            </a:xfrm>
            <a:custGeom>
              <a:avLst/>
              <a:gdLst>
                <a:gd name="T0" fmla="*/ 543 w 2431"/>
                <a:gd name="T1" fmla="*/ 10 h 2119"/>
                <a:gd name="T2" fmla="*/ 567 w 2431"/>
                <a:gd name="T3" fmla="*/ 50 h 2119"/>
                <a:gd name="T4" fmla="*/ 613 w 2431"/>
                <a:gd name="T5" fmla="*/ 112 h 2119"/>
                <a:gd name="T6" fmla="*/ 685 w 2431"/>
                <a:gd name="T7" fmla="*/ 181 h 2119"/>
                <a:gd name="T8" fmla="*/ 785 w 2431"/>
                <a:gd name="T9" fmla="*/ 244 h 2119"/>
                <a:gd name="T10" fmla="*/ 913 w 2431"/>
                <a:gd name="T11" fmla="*/ 287 h 2119"/>
                <a:gd name="T12" fmla="*/ 1070 w 2431"/>
                <a:gd name="T13" fmla="*/ 298 h 2119"/>
                <a:gd name="T14" fmla="*/ 1262 w 2431"/>
                <a:gd name="T15" fmla="*/ 260 h 2119"/>
                <a:gd name="T16" fmla="*/ 1486 w 2431"/>
                <a:gd name="T17" fmla="*/ 162 h 2119"/>
                <a:gd name="T18" fmla="*/ 1584 w 2431"/>
                <a:gd name="T19" fmla="*/ 242 h 2119"/>
                <a:gd name="T20" fmla="*/ 1770 w 2431"/>
                <a:gd name="T21" fmla="*/ 247 h 2119"/>
                <a:gd name="T22" fmla="*/ 1911 w 2431"/>
                <a:gd name="T23" fmla="*/ 297 h 2119"/>
                <a:gd name="T24" fmla="*/ 2011 w 2431"/>
                <a:gd name="T25" fmla="*/ 378 h 2119"/>
                <a:gd name="T26" fmla="*/ 2080 w 2431"/>
                <a:gd name="T27" fmla="*/ 487 h 2119"/>
                <a:gd name="T28" fmla="*/ 2119 w 2431"/>
                <a:gd name="T29" fmla="*/ 612 h 2119"/>
                <a:gd name="T30" fmla="*/ 2135 w 2431"/>
                <a:gd name="T31" fmla="*/ 745 h 2119"/>
                <a:gd name="T32" fmla="*/ 2135 w 2431"/>
                <a:gd name="T33" fmla="*/ 878 h 2119"/>
                <a:gd name="T34" fmla="*/ 2123 w 2431"/>
                <a:gd name="T35" fmla="*/ 1000 h 2119"/>
                <a:gd name="T36" fmla="*/ 2107 w 2431"/>
                <a:gd name="T37" fmla="*/ 1106 h 2119"/>
                <a:gd name="T38" fmla="*/ 2090 w 2431"/>
                <a:gd name="T39" fmla="*/ 1184 h 2119"/>
                <a:gd name="T40" fmla="*/ 2079 w 2431"/>
                <a:gd name="T41" fmla="*/ 1227 h 2119"/>
                <a:gd name="T42" fmla="*/ 2192 w 2431"/>
                <a:gd name="T43" fmla="*/ 1064 h 2119"/>
                <a:gd name="T44" fmla="*/ 2303 w 2431"/>
                <a:gd name="T45" fmla="*/ 820 h 2119"/>
                <a:gd name="T46" fmla="*/ 2352 w 2431"/>
                <a:gd name="T47" fmla="*/ 836 h 2119"/>
                <a:gd name="T48" fmla="*/ 2417 w 2431"/>
                <a:gd name="T49" fmla="*/ 912 h 2119"/>
                <a:gd name="T50" fmla="*/ 2431 w 2431"/>
                <a:gd name="T51" fmla="*/ 1025 h 2119"/>
                <a:gd name="T52" fmla="*/ 2399 w 2431"/>
                <a:gd name="T53" fmla="*/ 1163 h 2119"/>
                <a:gd name="T54" fmla="*/ 2322 w 2431"/>
                <a:gd name="T55" fmla="*/ 1304 h 2119"/>
                <a:gd name="T56" fmla="*/ 2215 w 2431"/>
                <a:gd name="T57" fmla="*/ 1413 h 2119"/>
                <a:gd name="T58" fmla="*/ 2103 w 2431"/>
                <a:gd name="T59" fmla="*/ 1469 h 2119"/>
                <a:gd name="T60" fmla="*/ 1984 w 2431"/>
                <a:gd name="T61" fmla="*/ 1557 h 2119"/>
                <a:gd name="T62" fmla="*/ 1822 w 2431"/>
                <a:gd name="T63" fmla="*/ 1783 h 2119"/>
                <a:gd name="T64" fmla="*/ 1638 w 2431"/>
                <a:gd name="T65" fmla="*/ 1961 h 2119"/>
                <a:gd name="T66" fmla="*/ 1435 w 2431"/>
                <a:gd name="T67" fmla="*/ 2078 h 2119"/>
                <a:gd name="T68" fmla="*/ 1215 w 2431"/>
                <a:gd name="T69" fmla="*/ 2119 h 2119"/>
                <a:gd name="T70" fmla="*/ 998 w 2431"/>
                <a:gd name="T71" fmla="*/ 2076 h 2119"/>
                <a:gd name="T72" fmla="*/ 794 w 2431"/>
                <a:gd name="T73" fmla="*/ 1959 h 2119"/>
                <a:gd name="T74" fmla="*/ 609 w 2431"/>
                <a:gd name="T75" fmla="*/ 1781 h 2119"/>
                <a:gd name="T76" fmla="*/ 448 w 2431"/>
                <a:gd name="T77" fmla="*/ 1557 h 2119"/>
                <a:gd name="T78" fmla="*/ 320 w 2431"/>
                <a:gd name="T79" fmla="*/ 1466 h 2119"/>
                <a:gd name="T80" fmla="*/ 194 w 2431"/>
                <a:gd name="T81" fmla="*/ 1392 h 2119"/>
                <a:gd name="T82" fmla="*/ 80 w 2431"/>
                <a:gd name="T83" fmla="*/ 1258 h 2119"/>
                <a:gd name="T84" fmla="*/ 18 w 2431"/>
                <a:gd name="T85" fmla="*/ 1117 h 2119"/>
                <a:gd name="T86" fmla="*/ 0 w 2431"/>
                <a:gd name="T87" fmla="*/ 985 h 2119"/>
                <a:gd name="T88" fmla="*/ 27 w 2431"/>
                <a:gd name="T89" fmla="*/ 883 h 2119"/>
                <a:gd name="T90" fmla="*/ 98 w 2431"/>
                <a:gd name="T91" fmla="*/ 827 h 2119"/>
                <a:gd name="T92" fmla="*/ 171 w 2431"/>
                <a:gd name="T93" fmla="*/ 870 h 2119"/>
                <a:gd name="T94" fmla="*/ 235 w 2431"/>
                <a:gd name="T95" fmla="*/ 990 h 2119"/>
                <a:gd name="T96" fmla="*/ 287 w 2431"/>
                <a:gd name="T97" fmla="*/ 1067 h 2119"/>
                <a:gd name="T98" fmla="*/ 309 w 2431"/>
                <a:gd name="T99" fmla="*/ 1094 h 2119"/>
                <a:gd name="T100" fmla="*/ 295 w 2431"/>
                <a:gd name="T101" fmla="*/ 902 h 2119"/>
                <a:gd name="T102" fmla="*/ 320 w 2431"/>
                <a:gd name="T103" fmla="*/ 748 h 2119"/>
                <a:gd name="T104" fmla="*/ 372 w 2431"/>
                <a:gd name="T105" fmla="*/ 619 h 2119"/>
                <a:gd name="T106" fmla="*/ 434 w 2431"/>
                <a:gd name="T107" fmla="*/ 500 h 2119"/>
                <a:gd name="T108" fmla="*/ 493 w 2431"/>
                <a:gd name="T109" fmla="*/ 378 h 2119"/>
                <a:gd name="T110" fmla="*/ 535 w 2431"/>
                <a:gd name="T111" fmla="*/ 239 h 2119"/>
                <a:gd name="T112" fmla="*/ 545 w 2431"/>
                <a:gd name="T113" fmla="*/ 68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31" h="2119">
                  <a:moveTo>
                    <a:pt x="538" y="0"/>
                  </a:moveTo>
                  <a:lnTo>
                    <a:pt x="540" y="2"/>
                  </a:lnTo>
                  <a:lnTo>
                    <a:pt x="543" y="10"/>
                  </a:lnTo>
                  <a:lnTo>
                    <a:pt x="548" y="20"/>
                  </a:lnTo>
                  <a:lnTo>
                    <a:pt x="556" y="34"/>
                  </a:lnTo>
                  <a:lnTo>
                    <a:pt x="567" y="50"/>
                  </a:lnTo>
                  <a:lnTo>
                    <a:pt x="580" y="69"/>
                  </a:lnTo>
                  <a:lnTo>
                    <a:pt x="596" y="90"/>
                  </a:lnTo>
                  <a:lnTo>
                    <a:pt x="613" y="112"/>
                  </a:lnTo>
                  <a:lnTo>
                    <a:pt x="634" y="135"/>
                  </a:lnTo>
                  <a:lnTo>
                    <a:pt x="658" y="159"/>
                  </a:lnTo>
                  <a:lnTo>
                    <a:pt x="685" y="181"/>
                  </a:lnTo>
                  <a:lnTo>
                    <a:pt x="716" y="204"/>
                  </a:lnTo>
                  <a:lnTo>
                    <a:pt x="748" y="225"/>
                  </a:lnTo>
                  <a:lnTo>
                    <a:pt x="785" y="244"/>
                  </a:lnTo>
                  <a:lnTo>
                    <a:pt x="823" y="261"/>
                  </a:lnTo>
                  <a:lnTo>
                    <a:pt x="866" y="276"/>
                  </a:lnTo>
                  <a:lnTo>
                    <a:pt x="913" y="287"/>
                  </a:lnTo>
                  <a:lnTo>
                    <a:pt x="961" y="295"/>
                  </a:lnTo>
                  <a:lnTo>
                    <a:pt x="1014" y="298"/>
                  </a:lnTo>
                  <a:lnTo>
                    <a:pt x="1070" y="298"/>
                  </a:lnTo>
                  <a:lnTo>
                    <a:pt x="1131" y="292"/>
                  </a:lnTo>
                  <a:lnTo>
                    <a:pt x="1193" y="279"/>
                  </a:lnTo>
                  <a:lnTo>
                    <a:pt x="1262" y="260"/>
                  </a:lnTo>
                  <a:lnTo>
                    <a:pt x="1332" y="236"/>
                  </a:lnTo>
                  <a:lnTo>
                    <a:pt x="1408" y="202"/>
                  </a:lnTo>
                  <a:lnTo>
                    <a:pt x="1486" y="162"/>
                  </a:lnTo>
                  <a:lnTo>
                    <a:pt x="1433" y="266"/>
                  </a:lnTo>
                  <a:lnTo>
                    <a:pt x="1512" y="252"/>
                  </a:lnTo>
                  <a:lnTo>
                    <a:pt x="1584" y="242"/>
                  </a:lnTo>
                  <a:lnTo>
                    <a:pt x="1651" y="239"/>
                  </a:lnTo>
                  <a:lnTo>
                    <a:pt x="1714" y="241"/>
                  </a:lnTo>
                  <a:lnTo>
                    <a:pt x="1770" y="247"/>
                  </a:lnTo>
                  <a:lnTo>
                    <a:pt x="1822" y="260"/>
                  </a:lnTo>
                  <a:lnTo>
                    <a:pt x="1869" y="276"/>
                  </a:lnTo>
                  <a:lnTo>
                    <a:pt x="1911" y="297"/>
                  </a:lnTo>
                  <a:lnTo>
                    <a:pt x="1949" y="321"/>
                  </a:lnTo>
                  <a:lnTo>
                    <a:pt x="1983" y="348"/>
                  </a:lnTo>
                  <a:lnTo>
                    <a:pt x="2011" y="378"/>
                  </a:lnTo>
                  <a:lnTo>
                    <a:pt x="2039" y="412"/>
                  </a:lnTo>
                  <a:lnTo>
                    <a:pt x="2061" y="449"/>
                  </a:lnTo>
                  <a:lnTo>
                    <a:pt x="2080" y="487"/>
                  </a:lnTo>
                  <a:lnTo>
                    <a:pt x="2095" y="527"/>
                  </a:lnTo>
                  <a:lnTo>
                    <a:pt x="2109" y="569"/>
                  </a:lnTo>
                  <a:lnTo>
                    <a:pt x="2119" y="612"/>
                  </a:lnTo>
                  <a:lnTo>
                    <a:pt x="2127" y="655"/>
                  </a:lnTo>
                  <a:lnTo>
                    <a:pt x="2131" y="700"/>
                  </a:lnTo>
                  <a:lnTo>
                    <a:pt x="2135" y="745"/>
                  </a:lnTo>
                  <a:lnTo>
                    <a:pt x="2136" y="790"/>
                  </a:lnTo>
                  <a:lnTo>
                    <a:pt x="2136" y="833"/>
                  </a:lnTo>
                  <a:lnTo>
                    <a:pt x="2135" y="878"/>
                  </a:lnTo>
                  <a:lnTo>
                    <a:pt x="2131" y="920"/>
                  </a:lnTo>
                  <a:lnTo>
                    <a:pt x="2128" y="961"/>
                  </a:lnTo>
                  <a:lnTo>
                    <a:pt x="2123" y="1000"/>
                  </a:lnTo>
                  <a:lnTo>
                    <a:pt x="2119" y="1038"/>
                  </a:lnTo>
                  <a:lnTo>
                    <a:pt x="2112" y="1073"/>
                  </a:lnTo>
                  <a:lnTo>
                    <a:pt x="2107" y="1106"/>
                  </a:lnTo>
                  <a:lnTo>
                    <a:pt x="2101" y="1136"/>
                  </a:lnTo>
                  <a:lnTo>
                    <a:pt x="2095" y="1162"/>
                  </a:lnTo>
                  <a:lnTo>
                    <a:pt x="2090" y="1184"/>
                  </a:lnTo>
                  <a:lnTo>
                    <a:pt x="2085" y="1203"/>
                  </a:lnTo>
                  <a:lnTo>
                    <a:pt x="2082" y="1218"/>
                  </a:lnTo>
                  <a:lnTo>
                    <a:pt x="2079" y="1227"/>
                  </a:lnTo>
                  <a:lnTo>
                    <a:pt x="2077" y="1232"/>
                  </a:lnTo>
                  <a:lnTo>
                    <a:pt x="2140" y="1147"/>
                  </a:lnTo>
                  <a:lnTo>
                    <a:pt x="2192" y="1064"/>
                  </a:lnTo>
                  <a:lnTo>
                    <a:pt x="2237" y="981"/>
                  </a:lnTo>
                  <a:lnTo>
                    <a:pt x="2274" y="899"/>
                  </a:lnTo>
                  <a:lnTo>
                    <a:pt x="2303" y="820"/>
                  </a:lnTo>
                  <a:lnTo>
                    <a:pt x="2320" y="822"/>
                  </a:lnTo>
                  <a:lnTo>
                    <a:pt x="2338" y="828"/>
                  </a:lnTo>
                  <a:lnTo>
                    <a:pt x="2352" y="836"/>
                  </a:lnTo>
                  <a:lnTo>
                    <a:pt x="2378" y="856"/>
                  </a:lnTo>
                  <a:lnTo>
                    <a:pt x="2401" y="881"/>
                  </a:lnTo>
                  <a:lnTo>
                    <a:pt x="2417" y="912"/>
                  </a:lnTo>
                  <a:lnTo>
                    <a:pt x="2426" y="945"/>
                  </a:lnTo>
                  <a:lnTo>
                    <a:pt x="2431" y="984"/>
                  </a:lnTo>
                  <a:lnTo>
                    <a:pt x="2431" y="1025"/>
                  </a:lnTo>
                  <a:lnTo>
                    <a:pt x="2426" y="1070"/>
                  </a:lnTo>
                  <a:lnTo>
                    <a:pt x="2415" y="1117"/>
                  </a:lnTo>
                  <a:lnTo>
                    <a:pt x="2399" y="1163"/>
                  </a:lnTo>
                  <a:lnTo>
                    <a:pt x="2378" y="1210"/>
                  </a:lnTo>
                  <a:lnTo>
                    <a:pt x="2352" y="1258"/>
                  </a:lnTo>
                  <a:lnTo>
                    <a:pt x="2322" y="1304"/>
                  </a:lnTo>
                  <a:lnTo>
                    <a:pt x="2288" y="1346"/>
                  </a:lnTo>
                  <a:lnTo>
                    <a:pt x="2253" y="1381"/>
                  </a:lnTo>
                  <a:lnTo>
                    <a:pt x="2215" y="1413"/>
                  </a:lnTo>
                  <a:lnTo>
                    <a:pt x="2178" y="1439"/>
                  </a:lnTo>
                  <a:lnTo>
                    <a:pt x="2140" y="1458"/>
                  </a:lnTo>
                  <a:lnTo>
                    <a:pt x="2103" y="1469"/>
                  </a:lnTo>
                  <a:lnTo>
                    <a:pt x="2066" y="1476"/>
                  </a:lnTo>
                  <a:lnTo>
                    <a:pt x="2032" y="1474"/>
                  </a:lnTo>
                  <a:lnTo>
                    <a:pt x="1984" y="1557"/>
                  </a:lnTo>
                  <a:lnTo>
                    <a:pt x="1933" y="1637"/>
                  </a:lnTo>
                  <a:lnTo>
                    <a:pt x="1880" y="1713"/>
                  </a:lnTo>
                  <a:lnTo>
                    <a:pt x="1822" y="1783"/>
                  </a:lnTo>
                  <a:lnTo>
                    <a:pt x="1763" y="1849"/>
                  </a:lnTo>
                  <a:lnTo>
                    <a:pt x="1702" y="1908"/>
                  </a:lnTo>
                  <a:lnTo>
                    <a:pt x="1638" y="1961"/>
                  </a:lnTo>
                  <a:lnTo>
                    <a:pt x="1573" y="2007"/>
                  </a:lnTo>
                  <a:lnTo>
                    <a:pt x="1505" y="2046"/>
                  </a:lnTo>
                  <a:lnTo>
                    <a:pt x="1435" y="2078"/>
                  </a:lnTo>
                  <a:lnTo>
                    <a:pt x="1363" y="2100"/>
                  </a:lnTo>
                  <a:lnTo>
                    <a:pt x="1291" y="2115"/>
                  </a:lnTo>
                  <a:lnTo>
                    <a:pt x="1215" y="2119"/>
                  </a:lnTo>
                  <a:lnTo>
                    <a:pt x="1142" y="2115"/>
                  </a:lnTo>
                  <a:lnTo>
                    <a:pt x="1068" y="2100"/>
                  </a:lnTo>
                  <a:lnTo>
                    <a:pt x="998" y="2076"/>
                  </a:lnTo>
                  <a:lnTo>
                    <a:pt x="927" y="2046"/>
                  </a:lnTo>
                  <a:lnTo>
                    <a:pt x="860" y="2006"/>
                  </a:lnTo>
                  <a:lnTo>
                    <a:pt x="794" y="1959"/>
                  </a:lnTo>
                  <a:lnTo>
                    <a:pt x="730" y="1906"/>
                  </a:lnTo>
                  <a:lnTo>
                    <a:pt x="668" y="1847"/>
                  </a:lnTo>
                  <a:lnTo>
                    <a:pt x="609" y="1781"/>
                  </a:lnTo>
                  <a:lnTo>
                    <a:pt x="553" y="1711"/>
                  </a:lnTo>
                  <a:lnTo>
                    <a:pt x="500" y="1636"/>
                  </a:lnTo>
                  <a:lnTo>
                    <a:pt x="448" y="1557"/>
                  </a:lnTo>
                  <a:lnTo>
                    <a:pt x="400" y="1474"/>
                  </a:lnTo>
                  <a:lnTo>
                    <a:pt x="362" y="1474"/>
                  </a:lnTo>
                  <a:lnTo>
                    <a:pt x="320" y="1466"/>
                  </a:lnTo>
                  <a:lnTo>
                    <a:pt x="279" y="1448"/>
                  </a:lnTo>
                  <a:lnTo>
                    <a:pt x="235" y="1424"/>
                  </a:lnTo>
                  <a:lnTo>
                    <a:pt x="194" y="1392"/>
                  </a:lnTo>
                  <a:lnTo>
                    <a:pt x="154" y="1354"/>
                  </a:lnTo>
                  <a:lnTo>
                    <a:pt x="115" y="1309"/>
                  </a:lnTo>
                  <a:lnTo>
                    <a:pt x="80" y="1258"/>
                  </a:lnTo>
                  <a:lnTo>
                    <a:pt x="54" y="1210"/>
                  </a:lnTo>
                  <a:lnTo>
                    <a:pt x="34" y="1163"/>
                  </a:lnTo>
                  <a:lnTo>
                    <a:pt x="18" y="1117"/>
                  </a:lnTo>
                  <a:lnTo>
                    <a:pt x="6" y="1072"/>
                  </a:lnTo>
                  <a:lnTo>
                    <a:pt x="0" y="1027"/>
                  </a:lnTo>
                  <a:lnTo>
                    <a:pt x="0" y="985"/>
                  </a:lnTo>
                  <a:lnTo>
                    <a:pt x="3" y="947"/>
                  </a:lnTo>
                  <a:lnTo>
                    <a:pt x="13" y="913"/>
                  </a:lnTo>
                  <a:lnTo>
                    <a:pt x="27" y="883"/>
                  </a:lnTo>
                  <a:lnTo>
                    <a:pt x="46" y="857"/>
                  </a:lnTo>
                  <a:lnTo>
                    <a:pt x="72" y="836"/>
                  </a:lnTo>
                  <a:lnTo>
                    <a:pt x="98" y="827"/>
                  </a:lnTo>
                  <a:lnTo>
                    <a:pt x="123" y="820"/>
                  </a:lnTo>
                  <a:lnTo>
                    <a:pt x="151" y="820"/>
                  </a:lnTo>
                  <a:lnTo>
                    <a:pt x="171" y="870"/>
                  </a:lnTo>
                  <a:lnTo>
                    <a:pt x="192" y="915"/>
                  </a:lnTo>
                  <a:lnTo>
                    <a:pt x="215" y="955"/>
                  </a:lnTo>
                  <a:lnTo>
                    <a:pt x="235" y="990"/>
                  </a:lnTo>
                  <a:lnTo>
                    <a:pt x="255" y="1022"/>
                  </a:lnTo>
                  <a:lnTo>
                    <a:pt x="272" y="1048"/>
                  </a:lnTo>
                  <a:lnTo>
                    <a:pt x="287" y="1067"/>
                  </a:lnTo>
                  <a:lnTo>
                    <a:pt x="299" y="1083"/>
                  </a:lnTo>
                  <a:lnTo>
                    <a:pt x="306" y="1091"/>
                  </a:lnTo>
                  <a:lnTo>
                    <a:pt x="309" y="1094"/>
                  </a:lnTo>
                  <a:lnTo>
                    <a:pt x="299" y="1025"/>
                  </a:lnTo>
                  <a:lnTo>
                    <a:pt x="295" y="961"/>
                  </a:lnTo>
                  <a:lnTo>
                    <a:pt x="295" y="902"/>
                  </a:lnTo>
                  <a:lnTo>
                    <a:pt x="299" y="848"/>
                  </a:lnTo>
                  <a:lnTo>
                    <a:pt x="308" y="796"/>
                  </a:lnTo>
                  <a:lnTo>
                    <a:pt x="320" y="748"/>
                  </a:lnTo>
                  <a:lnTo>
                    <a:pt x="335" y="703"/>
                  </a:lnTo>
                  <a:lnTo>
                    <a:pt x="352" y="660"/>
                  </a:lnTo>
                  <a:lnTo>
                    <a:pt x="372" y="619"/>
                  </a:lnTo>
                  <a:lnTo>
                    <a:pt x="391" y="579"/>
                  </a:lnTo>
                  <a:lnTo>
                    <a:pt x="413" y="540"/>
                  </a:lnTo>
                  <a:lnTo>
                    <a:pt x="434" y="500"/>
                  </a:lnTo>
                  <a:lnTo>
                    <a:pt x="455" y="460"/>
                  </a:lnTo>
                  <a:lnTo>
                    <a:pt x="474" y="420"/>
                  </a:lnTo>
                  <a:lnTo>
                    <a:pt x="493" y="378"/>
                  </a:lnTo>
                  <a:lnTo>
                    <a:pt x="509" y="333"/>
                  </a:lnTo>
                  <a:lnTo>
                    <a:pt x="524" y="287"/>
                  </a:lnTo>
                  <a:lnTo>
                    <a:pt x="535" y="239"/>
                  </a:lnTo>
                  <a:lnTo>
                    <a:pt x="541" y="185"/>
                  </a:lnTo>
                  <a:lnTo>
                    <a:pt x="546" y="128"/>
                  </a:lnTo>
                  <a:lnTo>
                    <a:pt x="545" y="68"/>
                  </a:lnTo>
                  <a:lnTo>
                    <a:pt x="538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Freeform 16"/>
            <p:cNvSpPr>
              <a:spLocks/>
            </p:cNvSpPr>
            <p:nvPr/>
          </p:nvSpPr>
          <p:spPr bwMode="auto">
            <a:xfrm>
              <a:off x="7849591" y="1914845"/>
              <a:ext cx="460455" cy="385576"/>
            </a:xfrm>
            <a:custGeom>
              <a:avLst/>
              <a:gdLst>
                <a:gd name="T0" fmla="*/ 1419 w 2429"/>
                <a:gd name="T1" fmla="*/ 19 h 2034"/>
                <a:gd name="T2" fmla="*/ 1268 w 2429"/>
                <a:gd name="T3" fmla="*/ 45 h 2034"/>
                <a:gd name="T4" fmla="*/ 1057 w 2429"/>
                <a:gd name="T5" fmla="*/ 168 h 2034"/>
                <a:gd name="T6" fmla="*/ 1175 w 2429"/>
                <a:gd name="T7" fmla="*/ 128 h 2034"/>
                <a:gd name="T8" fmla="*/ 1414 w 2429"/>
                <a:gd name="T9" fmla="*/ 90 h 2034"/>
                <a:gd name="T10" fmla="*/ 1705 w 2429"/>
                <a:gd name="T11" fmla="*/ 126 h 2034"/>
                <a:gd name="T12" fmla="*/ 1986 w 2429"/>
                <a:gd name="T13" fmla="*/ 315 h 2034"/>
                <a:gd name="T14" fmla="*/ 1910 w 2429"/>
                <a:gd name="T15" fmla="*/ 282 h 2034"/>
                <a:gd name="T16" fmla="*/ 1777 w 2429"/>
                <a:gd name="T17" fmla="*/ 253 h 2034"/>
                <a:gd name="T18" fmla="*/ 1854 w 2429"/>
                <a:gd name="T19" fmla="*/ 288 h 2034"/>
                <a:gd name="T20" fmla="*/ 2035 w 2429"/>
                <a:gd name="T21" fmla="*/ 402 h 2034"/>
                <a:gd name="T22" fmla="*/ 2240 w 2429"/>
                <a:gd name="T23" fmla="*/ 601 h 2034"/>
                <a:gd name="T24" fmla="*/ 2394 w 2429"/>
                <a:gd name="T25" fmla="*/ 894 h 2034"/>
                <a:gd name="T26" fmla="*/ 2418 w 2429"/>
                <a:gd name="T27" fmla="*/ 1289 h 2034"/>
                <a:gd name="T28" fmla="*/ 2380 w 2429"/>
                <a:gd name="T29" fmla="*/ 1203 h 2034"/>
                <a:gd name="T30" fmla="*/ 2346 w 2429"/>
                <a:gd name="T31" fmla="*/ 1477 h 2034"/>
                <a:gd name="T32" fmla="*/ 2191 w 2429"/>
                <a:gd name="T33" fmla="*/ 1866 h 2034"/>
                <a:gd name="T34" fmla="*/ 2083 w 2429"/>
                <a:gd name="T35" fmla="*/ 2012 h 2034"/>
                <a:gd name="T36" fmla="*/ 2110 w 2429"/>
                <a:gd name="T37" fmla="*/ 1887 h 2034"/>
                <a:gd name="T38" fmla="*/ 2133 w 2429"/>
                <a:gd name="T39" fmla="*/ 1690 h 2034"/>
                <a:gd name="T40" fmla="*/ 2126 w 2429"/>
                <a:gd name="T41" fmla="*/ 1465 h 2034"/>
                <a:gd name="T42" fmla="*/ 2062 w 2429"/>
                <a:gd name="T43" fmla="*/ 1252 h 2034"/>
                <a:gd name="T44" fmla="*/ 1914 w 2429"/>
                <a:gd name="T45" fmla="*/ 1097 h 2034"/>
                <a:gd name="T46" fmla="*/ 1654 w 2429"/>
                <a:gd name="T47" fmla="*/ 1036 h 2034"/>
                <a:gd name="T48" fmla="*/ 1406 w 2429"/>
                <a:gd name="T49" fmla="*/ 1001 h 2034"/>
                <a:gd name="T50" fmla="*/ 1070 w 2429"/>
                <a:gd name="T51" fmla="*/ 1095 h 2034"/>
                <a:gd name="T52" fmla="*/ 823 w 2429"/>
                <a:gd name="T53" fmla="*/ 1060 h 2034"/>
                <a:gd name="T54" fmla="*/ 658 w 2429"/>
                <a:gd name="T55" fmla="*/ 956 h 2034"/>
                <a:gd name="T56" fmla="*/ 565 w 2429"/>
                <a:gd name="T57" fmla="*/ 849 h 2034"/>
                <a:gd name="T58" fmla="*/ 536 w 2429"/>
                <a:gd name="T59" fmla="*/ 798 h 2034"/>
                <a:gd name="T60" fmla="*/ 522 w 2429"/>
                <a:gd name="T61" fmla="*/ 1086 h 2034"/>
                <a:gd name="T62" fmla="*/ 432 w 2429"/>
                <a:gd name="T63" fmla="*/ 1299 h 2034"/>
                <a:gd name="T64" fmla="*/ 335 w 2429"/>
                <a:gd name="T65" fmla="*/ 1501 h 2034"/>
                <a:gd name="T66" fmla="*/ 293 w 2429"/>
                <a:gd name="T67" fmla="*/ 1760 h 2034"/>
                <a:gd name="T68" fmla="*/ 286 w 2429"/>
                <a:gd name="T69" fmla="*/ 1866 h 2034"/>
                <a:gd name="T70" fmla="*/ 192 w 2429"/>
                <a:gd name="T71" fmla="*/ 1709 h 2034"/>
                <a:gd name="T72" fmla="*/ 99 w 2429"/>
                <a:gd name="T73" fmla="*/ 1441 h 2034"/>
                <a:gd name="T74" fmla="*/ 91 w 2429"/>
                <a:gd name="T75" fmla="*/ 1092 h 2034"/>
                <a:gd name="T76" fmla="*/ 1 w 2429"/>
                <a:gd name="T77" fmla="*/ 1111 h 2034"/>
                <a:gd name="T78" fmla="*/ 6 w 2429"/>
                <a:gd name="T79" fmla="*/ 969 h 2034"/>
                <a:gd name="T80" fmla="*/ 70 w 2429"/>
                <a:gd name="T81" fmla="*/ 769 h 2034"/>
                <a:gd name="T82" fmla="*/ 250 w 2429"/>
                <a:gd name="T83" fmla="*/ 580 h 2034"/>
                <a:gd name="T84" fmla="*/ 357 w 2429"/>
                <a:gd name="T85" fmla="*/ 503 h 2034"/>
                <a:gd name="T86" fmla="*/ 275 w 2429"/>
                <a:gd name="T87" fmla="*/ 424 h 2034"/>
                <a:gd name="T88" fmla="*/ 176 w 2429"/>
                <a:gd name="T89" fmla="*/ 384 h 2034"/>
                <a:gd name="T90" fmla="*/ 285 w 2429"/>
                <a:gd name="T91" fmla="*/ 396 h 2034"/>
                <a:gd name="T92" fmla="*/ 408 w 2429"/>
                <a:gd name="T93" fmla="*/ 476 h 2034"/>
                <a:gd name="T94" fmla="*/ 411 w 2429"/>
                <a:gd name="T95" fmla="*/ 452 h 2034"/>
                <a:gd name="T96" fmla="*/ 397 w 2429"/>
                <a:gd name="T97" fmla="*/ 296 h 2034"/>
                <a:gd name="T98" fmla="*/ 419 w 2429"/>
                <a:gd name="T99" fmla="*/ 261 h 2034"/>
                <a:gd name="T100" fmla="*/ 455 w 2429"/>
                <a:gd name="T101" fmla="*/ 388 h 2034"/>
                <a:gd name="T102" fmla="*/ 485 w 2429"/>
                <a:gd name="T103" fmla="*/ 320 h 2034"/>
                <a:gd name="T104" fmla="*/ 583 w 2429"/>
                <a:gd name="T105" fmla="*/ 197 h 2034"/>
                <a:gd name="T106" fmla="*/ 770 w 2429"/>
                <a:gd name="T107" fmla="*/ 74 h 2034"/>
                <a:gd name="T108" fmla="*/ 1076 w 2429"/>
                <a:gd name="T109" fmla="*/ 3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29" h="2034">
                  <a:moveTo>
                    <a:pt x="1154" y="0"/>
                  </a:moveTo>
                  <a:lnTo>
                    <a:pt x="1238" y="1"/>
                  </a:lnTo>
                  <a:lnTo>
                    <a:pt x="1327" y="8"/>
                  </a:lnTo>
                  <a:lnTo>
                    <a:pt x="1423" y="19"/>
                  </a:lnTo>
                  <a:lnTo>
                    <a:pt x="1419" y="19"/>
                  </a:lnTo>
                  <a:lnTo>
                    <a:pt x="1404" y="19"/>
                  </a:lnTo>
                  <a:lnTo>
                    <a:pt x="1380" y="21"/>
                  </a:lnTo>
                  <a:lnTo>
                    <a:pt x="1350" y="24"/>
                  </a:lnTo>
                  <a:lnTo>
                    <a:pt x="1311" y="32"/>
                  </a:lnTo>
                  <a:lnTo>
                    <a:pt x="1268" y="45"/>
                  </a:lnTo>
                  <a:lnTo>
                    <a:pt x="1219" y="64"/>
                  </a:lnTo>
                  <a:lnTo>
                    <a:pt x="1167" y="90"/>
                  </a:lnTo>
                  <a:lnTo>
                    <a:pt x="1111" y="125"/>
                  </a:lnTo>
                  <a:lnTo>
                    <a:pt x="1054" y="170"/>
                  </a:lnTo>
                  <a:lnTo>
                    <a:pt x="1057" y="168"/>
                  </a:lnTo>
                  <a:lnTo>
                    <a:pt x="1068" y="163"/>
                  </a:lnTo>
                  <a:lnTo>
                    <a:pt x="1086" y="157"/>
                  </a:lnTo>
                  <a:lnTo>
                    <a:pt x="1111" y="147"/>
                  </a:lnTo>
                  <a:lnTo>
                    <a:pt x="1140" y="138"/>
                  </a:lnTo>
                  <a:lnTo>
                    <a:pt x="1175" y="128"/>
                  </a:lnTo>
                  <a:lnTo>
                    <a:pt x="1215" y="118"/>
                  </a:lnTo>
                  <a:lnTo>
                    <a:pt x="1260" y="109"/>
                  </a:lnTo>
                  <a:lnTo>
                    <a:pt x="1308" y="99"/>
                  </a:lnTo>
                  <a:lnTo>
                    <a:pt x="1359" y="93"/>
                  </a:lnTo>
                  <a:lnTo>
                    <a:pt x="1414" y="90"/>
                  </a:lnTo>
                  <a:lnTo>
                    <a:pt x="1470" y="88"/>
                  </a:lnTo>
                  <a:lnTo>
                    <a:pt x="1528" y="91"/>
                  </a:lnTo>
                  <a:lnTo>
                    <a:pt x="1587" y="98"/>
                  </a:lnTo>
                  <a:lnTo>
                    <a:pt x="1646" y="110"/>
                  </a:lnTo>
                  <a:lnTo>
                    <a:pt x="1705" y="126"/>
                  </a:lnTo>
                  <a:lnTo>
                    <a:pt x="1765" y="150"/>
                  </a:lnTo>
                  <a:lnTo>
                    <a:pt x="1822" y="181"/>
                  </a:lnTo>
                  <a:lnTo>
                    <a:pt x="1878" y="218"/>
                  </a:lnTo>
                  <a:lnTo>
                    <a:pt x="1933" y="263"/>
                  </a:lnTo>
                  <a:lnTo>
                    <a:pt x="1986" y="315"/>
                  </a:lnTo>
                  <a:lnTo>
                    <a:pt x="1981" y="314"/>
                  </a:lnTo>
                  <a:lnTo>
                    <a:pt x="1971" y="307"/>
                  </a:lnTo>
                  <a:lnTo>
                    <a:pt x="1955" y="301"/>
                  </a:lnTo>
                  <a:lnTo>
                    <a:pt x="1934" y="291"/>
                  </a:lnTo>
                  <a:lnTo>
                    <a:pt x="1910" y="282"/>
                  </a:lnTo>
                  <a:lnTo>
                    <a:pt x="1885" y="271"/>
                  </a:lnTo>
                  <a:lnTo>
                    <a:pt x="1857" y="263"/>
                  </a:lnTo>
                  <a:lnTo>
                    <a:pt x="1829" y="256"/>
                  </a:lnTo>
                  <a:lnTo>
                    <a:pt x="1801" y="253"/>
                  </a:lnTo>
                  <a:lnTo>
                    <a:pt x="1777" y="253"/>
                  </a:lnTo>
                  <a:lnTo>
                    <a:pt x="1781" y="255"/>
                  </a:lnTo>
                  <a:lnTo>
                    <a:pt x="1790" y="258"/>
                  </a:lnTo>
                  <a:lnTo>
                    <a:pt x="1806" y="266"/>
                  </a:lnTo>
                  <a:lnTo>
                    <a:pt x="1829" y="275"/>
                  </a:lnTo>
                  <a:lnTo>
                    <a:pt x="1854" y="288"/>
                  </a:lnTo>
                  <a:lnTo>
                    <a:pt x="1885" y="304"/>
                  </a:lnTo>
                  <a:lnTo>
                    <a:pt x="1918" y="325"/>
                  </a:lnTo>
                  <a:lnTo>
                    <a:pt x="1955" y="347"/>
                  </a:lnTo>
                  <a:lnTo>
                    <a:pt x="1994" y="373"/>
                  </a:lnTo>
                  <a:lnTo>
                    <a:pt x="2035" y="402"/>
                  </a:lnTo>
                  <a:lnTo>
                    <a:pt x="2077" y="434"/>
                  </a:lnTo>
                  <a:lnTo>
                    <a:pt x="2118" y="471"/>
                  </a:lnTo>
                  <a:lnTo>
                    <a:pt x="2160" y="511"/>
                  </a:lnTo>
                  <a:lnTo>
                    <a:pt x="2202" y="554"/>
                  </a:lnTo>
                  <a:lnTo>
                    <a:pt x="2240" y="601"/>
                  </a:lnTo>
                  <a:lnTo>
                    <a:pt x="2279" y="652"/>
                  </a:lnTo>
                  <a:lnTo>
                    <a:pt x="2312" y="706"/>
                  </a:lnTo>
                  <a:lnTo>
                    <a:pt x="2344" y="766"/>
                  </a:lnTo>
                  <a:lnTo>
                    <a:pt x="2372" y="828"/>
                  </a:lnTo>
                  <a:lnTo>
                    <a:pt x="2394" y="894"/>
                  </a:lnTo>
                  <a:lnTo>
                    <a:pt x="2412" y="964"/>
                  </a:lnTo>
                  <a:lnTo>
                    <a:pt x="2424" y="1039"/>
                  </a:lnTo>
                  <a:lnTo>
                    <a:pt x="2429" y="1118"/>
                  </a:lnTo>
                  <a:lnTo>
                    <a:pt x="2428" y="1201"/>
                  </a:lnTo>
                  <a:lnTo>
                    <a:pt x="2418" y="1289"/>
                  </a:lnTo>
                  <a:lnTo>
                    <a:pt x="2376" y="1123"/>
                  </a:lnTo>
                  <a:lnTo>
                    <a:pt x="2376" y="1127"/>
                  </a:lnTo>
                  <a:lnTo>
                    <a:pt x="2378" y="1144"/>
                  </a:lnTo>
                  <a:lnTo>
                    <a:pt x="2380" y="1169"/>
                  </a:lnTo>
                  <a:lnTo>
                    <a:pt x="2380" y="1203"/>
                  </a:lnTo>
                  <a:lnTo>
                    <a:pt x="2378" y="1244"/>
                  </a:lnTo>
                  <a:lnTo>
                    <a:pt x="2375" y="1292"/>
                  </a:lnTo>
                  <a:lnTo>
                    <a:pt x="2368" y="1349"/>
                  </a:lnTo>
                  <a:lnTo>
                    <a:pt x="2359" y="1409"/>
                  </a:lnTo>
                  <a:lnTo>
                    <a:pt x="2346" y="1477"/>
                  </a:lnTo>
                  <a:lnTo>
                    <a:pt x="2327" y="1549"/>
                  </a:lnTo>
                  <a:lnTo>
                    <a:pt x="2303" y="1624"/>
                  </a:lnTo>
                  <a:lnTo>
                    <a:pt x="2272" y="1702"/>
                  </a:lnTo>
                  <a:lnTo>
                    <a:pt x="2235" y="1783"/>
                  </a:lnTo>
                  <a:lnTo>
                    <a:pt x="2191" y="1866"/>
                  </a:lnTo>
                  <a:lnTo>
                    <a:pt x="2138" y="1949"/>
                  </a:lnTo>
                  <a:lnTo>
                    <a:pt x="2077" y="2034"/>
                  </a:lnTo>
                  <a:lnTo>
                    <a:pt x="2077" y="2031"/>
                  </a:lnTo>
                  <a:lnTo>
                    <a:pt x="2080" y="2024"/>
                  </a:lnTo>
                  <a:lnTo>
                    <a:pt x="2083" y="2012"/>
                  </a:lnTo>
                  <a:lnTo>
                    <a:pt x="2088" y="1994"/>
                  </a:lnTo>
                  <a:lnTo>
                    <a:pt x="2093" y="1972"/>
                  </a:lnTo>
                  <a:lnTo>
                    <a:pt x="2098" y="1948"/>
                  </a:lnTo>
                  <a:lnTo>
                    <a:pt x="2104" y="1919"/>
                  </a:lnTo>
                  <a:lnTo>
                    <a:pt x="2110" y="1887"/>
                  </a:lnTo>
                  <a:lnTo>
                    <a:pt x="2115" y="1851"/>
                  </a:lnTo>
                  <a:lnTo>
                    <a:pt x="2122" y="1813"/>
                  </a:lnTo>
                  <a:lnTo>
                    <a:pt x="2126" y="1775"/>
                  </a:lnTo>
                  <a:lnTo>
                    <a:pt x="2130" y="1733"/>
                  </a:lnTo>
                  <a:lnTo>
                    <a:pt x="2133" y="1690"/>
                  </a:lnTo>
                  <a:lnTo>
                    <a:pt x="2136" y="1646"/>
                  </a:lnTo>
                  <a:lnTo>
                    <a:pt x="2136" y="1602"/>
                  </a:lnTo>
                  <a:lnTo>
                    <a:pt x="2135" y="1555"/>
                  </a:lnTo>
                  <a:lnTo>
                    <a:pt x="2133" y="1510"/>
                  </a:lnTo>
                  <a:lnTo>
                    <a:pt x="2126" y="1465"/>
                  </a:lnTo>
                  <a:lnTo>
                    <a:pt x="2120" y="1421"/>
                  </a:lnTo>
                  <a:lnTo>
                    <a:pt x="2110" y="1376"/>
                  </a:lnTo>
                  <a:lnTo>
                    <a:pt x="2098" y="1334"/>
                  </a:lnTo>
                  <a:lnTo>
                    <a:pt x="2082" y="1292"/>
                  </a:lnTo>
                  <a:lnTo>
                    <a:pt x="2062" y="1252"/>
                  </a:lnTo>
                  <a:lnTo>
                    <a:pt x="2042" y="1216"/>
                  </a:lnTo>
                  <a:lnTo>
                    <a:pt x="2014" y="1182"/>
                  </a:lnTo>
                  <a:lnTo>
                    <a:pt x="1986" y="1150"/>
                  </a:lnTo>
                  <a:lnTo>
                    <a:pt x="1952" y="1121"/>
                  </a:lnTo>
                  <a:lnTo>
                    <a:pt x="1914" y="1097"/>
                  </a:lnTo>
                  <a:lnTo>
                    <a:pt x="1872" y="1075"/>
                  </a:lnTo>
                  <a:lnTo>
                    <a:pt x="1825" y="1059"/>
                  </a:lnTo>
                  <a:lnTo>
                    <a:pt x="1773" y="1046"/>
                  </a:lnTo>
                  <a:lnTo>
                    <a:pt x="1715" y="1039"/>
                  </a:lnTo>
                  <a:lnTo>
                    <a:pt x="1654" y="1036"/>
                  </a:lnTo>
                  <a:lnTo>
                    <a:pt x="1585" y="1039"/>
                  </a:lnTo>
                  <a:lnTo>
                    <a:pt x="1512" y="1049"/>
                  </a:lnTo>
                  <a:lnTo>
                    <a:pt x="1431" y="1065"/>
                  </a:lnTo>
                  <a:lnTo>
                    <a:pt x="1486" y="961"/>
                  </a:lnTo>
                  <a:lnTo>
                    <a:pt x="1406" y="1001"/>
                  </a:lnTo>
                  <a:lnTo>
                    <a:pt x="1332" y="1033"/>
                  </a:lnTo>
                  <a:lnTo>
                    <a:pt x="1260" y="1059"/>
                  </a:lnTo>
                  <a:lnTo>
                    <a:pt x="1193" y="1076"/>
                  </a:lnTo>
                  <a:lnTo>
                    <a:pt x="1129" y="1089"/>
                  </a:lnTo>
                  <a:lnTo>
                    <a:pt x="1070" y="1095"/>
                  </a:lnTo>
                  <a:lnTo>
                    <a:pt x="1014" y="1097"/>
                  </a:lnTo>
                  <a:lnTo>
                    <a:pt x="961" y="1094"/>
                  </a:lnTo>
                  <a:lnTo>
                    <a:pt x="911" y="1086"/>
                  </a:lnTo>
                  <a:lnTo>
                    <a:pt x="866" y="1075"/>
                  </a:lnTo>
                  <a:lnTo>
                    <a:pt x="823" y="1060"/>
                  </a:lnTo>
                  <a:lnTo>
                    <a:pt x="783" y="1043"/>
                  </a:lnTo>
                  <a:lnTo>
                    <a:pt x="748" y="1023"/>
                  </a:lnTo>
                  <a:lnTo>
                    <a:pt x="714" y="1001"/>
                  </a:lnTo>
                  <a:lnTo>
                    <a:pt x="685" y="980"/>
                  </a:lnTo>
                  <a:lnTo>
                    <a:pt x="658" y="956"/>
                  </a:lnTo>
                  <a:lnTo>
                    <a:pt x="634" y="934"/>
                  </a:lnTo>
                  <a:lnTo>
                    <a:pt x="613" y="910"/>
                  </a:lnTo>
                  <a:lnTo>
                    <a:pt x="594" y="887"/>
                  </a:lnTo>
                  <a:lnTo>
                    <a:pt x="580" y="866"/>
                  </a:lnTo>
                  <a:lnTo>
                    <a:pt x="565" y="849"/>
                  </a:lnTo>
                  <a:lnTo>
                    <a:pt x="556" y="831"/>
                  </a:lnTo>
                  <a:lnTo>
                    <a:pt x="548" y="818"/>
                  </a:lnTo>
                  <a:lnTo>
                    <a:pt x="541" y="807"/>
                  </a:lnTo>
                  <a:lnTo>
                    <a:pt x="538" y="801"/>
                  </a:lnTo>
                  <a:lnTo>
                    <a:pt x="536" y="798"/>
                  </a:lnTo>
                  <a:lnTo>
                    <a:pt x="543" y="865"/>
                  </a:lnTo>
                  <a:lnTo>
                    <a:pt x="544" y="926"/>
                  </a:lnTo>
                  <a:lnTo>
                    <a:pt x="541" y="983"/>
                  </a:lnTo>
                  <a:lnTo>
                    <a:pt x="533" y="1036"/>
                  </a:lnTo>
                  <a:lnTo>
                    <a:pt x="522" y="1086"/>
                  </a:lnTo>
                  <a:lnTo>
                    <a:pt x="509" y="1132"/>
                  </a:lnTo>
                  <a:lnTo>
                    <a:pt x="491" y="1176"/>
                  </a:lnTo>
                  <a:lnTo>
                    <a:pt x="474" y="1219"/>
                  </a:lnTo>
                  <a:lnTo>
                    <a:pt x="453" y="1259"/>
                  </a:lnTo>
                  <a:lnTo>
                    <a:pt x="432" y="1299"/>
                  </a:lnTo>
                  <a:lnTo>
                    <a:pt x="411" y="1337"/>
                  </a:lnTo>
                  <a:lnTo>
                    <a:pt x="391" y="1377"/>
                  </a:lnTo>
                  <a:lnTo>
                    <a:pt x="370" y="1417"/>
                  </a:lnTo>
                  <a:lnTo>
                    <a:pt x="352" y="1459"/>
                  </a:lnTo>
                  <a:lnTo>
                    <a:pt x="335" y="1501"/>
                  </a:lnTo>
                  <a:lnTo>
                    <a:pt x="320" y="1547"/>
                  </a:lnTo>
                  <a:lnTo>
                    <a:pt x="307" y="1595"/>
                  </a:lnTo>
                  <a:lnTo>
                    <a:pt x="299" y="1645"/>
                  </a:lnTo>
                  <a:lnTo>
                    <a:pt x="294" y="1701"/>
                  </a:lnTo>
                  <a:lnTo>
                    <a:pt x="293" y="1760"/>
                  </a:lnTo>
                  <a:lnTo>
                    <a:pt x="298" y="1824"/>
                  </a:lnTo>
                  <a:lnTo>
                    <a:pt x="309" y="1893"/>
                  </a:lnTo>
                  <a:lnTo>
                    <a:pt x="306" y="1890"/>
                  </a:lnTo>
                  <a:lnTo>
                    <a:pt x="298" y="1880"/>
                  </a:lnTo>
                  <a:lnTo>
                    <a:pt x="286" y="1866"/>
                  </a:lnTo>
                  <a:lnTo>
                    <a:pt x="272" y="1845"/>
                  </a:lnTo>
                  <a:lnTo>
                    <a:pt x="254" y="1818"/>
                  </a:lnTo>
                  <a:lnTo>
                    <a:pt x="235" y="1787"/>
                  </a:lnTo>
                  <a:lnTo>
                    <a:pt x="214" y="1751"/>
                  </a:lnTo>
                  <a:lnTo>
                    <a:pt x="192" y="1709"/>
                  </a:lnTo>
                  <a:lnTo>
                    <a:pt x="171" y="1664"/>
                  </a:lnTo>
                  <a:lnTo>
                    <a:pt x="150" y="1614"/>
                  </a:lnTo>
                  <a:lnTo>
                    <a:pt x="130" y="1560"/>
                  </a:lnTo>
                  <a:lnTo>
                    <a:pt x="114" y="1502"/>
                  </a:lnTo>
                  <a:lnTo>
                    <a:pt x="99" y="1441"/>
                  </a:lnTo>
                  <a:lnTo>
                    <a:pt x="88" y="1377"/>
                  </a:lnTo>
                  <a:lnTo>
                    <a:pt x="80" y="1310"/>
                  </a:lnTo>
                  <a:lnTo>
                    <a:pt x="78" y="1240"/>
                  </a:lnTo>
                  <a:lnTo>
                    <a:pt x="82" y="1168"/>
                  </a:lnTo>
                  <a:lnTo>
                    <a:pt x="91" y="1092"/>
                  </a:lnTo>
                  <a:lnTo>
                    <a:pt x="109" y="1015"/>
                  </a:lnTo>
                  <a:lnTo>
                    <a:pt x="5" y="1139"/>
                  </a:lnTo>
                  <a:lnTo>
                    <a:pt x="5" y="1135"/>
                  </a:lnTo>
                  <a:lnTo>
                    <a:pt x="3" y="1126"/>
                  </a:lnTo>
                  <a:lnTo>
                    <a:pt x="1" y="1111"/>
                  </a:lnTo>
                  <a:lnTo>
                    <a:pt x="0" y="1091"/>
                  </a:lnTo>
                  <a:lnTo>
                    <a:pt x="0" y="1067"/>
                  </a:lnTo>
                  <a:lnTo>
                    <a:pt x="0" y="1038"/>
                  </a:lnTo>
                  <a:lnTo>
                    <a:pt x="1" y="1004"/>
                  </a:lnTo>
                  <a:lnTo>
                    <a:pt x="6" y="969"/>
                  </a:lnTo>
                  <a:lnTo>
                    <a:pt x="13" y="932"/>
                  </a:lnTo>
                  <a:lnTo>
                    <a:pt x="22" y="892"/>
                  </a:lnTo>
                  <a:lnTo>
                    <a:pt x="33" y="852"/>
                  </a:lnTo>
                  <a:lnTo>
                    <a:pt x="49" y="810"/>
                  </a:lnTo>
                  <a:lnTo>
                    <a:pt x="70" y="769"/>
                  </a:lnTo>
                  <a:lnTo>
                    <a:pt x="96" y="729"/>
                  </a:lnTo>
                  <a:lnTo>
                    <a:pt x="125" y="689"/>
                  </a:lnTo>
                  <a:lnTo>
                    <a:pt x="162" y="650"/>
                  </a:lnTo>
                  <a:lnTo>
                    <a:pt x="202" y="613"/>
                  </a:lnTo>
                  <a:lnTo>
                    <a:pt x="250" y="580"/>
                  </a:lnTo>
                  <a:lnTo>
                    <a:pt x="304" y="549"/>
                  </a:lnTo>
                  <a:lnTo>
                    <a:pt x="367" y="524"/>
                  </a:lnTo>
                  <a:lnTo>
                    <a:pt x="365" y="520"/>
                  </a:lnTo>
                  <a:lnTo>
                    <a:pt x="363" y="514"/>
                  </a:lnTo>
                  <a:lnTo>
                    <a:pt x="357" y="503"/>
                  </a:lnTo>
                  <a:lnTo>
                    <a:pt x="349" y="490"/>
                  </a:lnTo>
                  <a:lnTo>
                    <a:pt x="338" y="474"/>
                  </a:lnTo>
                  <a:lnTo>
                    <a:pt x="322" y="458"/>
                  </a:lnTo>
                  <a:lnTo>
                    <a:pt x="301" y="440"/>
                  </a:lnTo>
                  <a:lnTo>
                    <a:pt x="275" y="424"/>
                  </a:lnTo>
                  <a:lnTo>
                    <a:pt x="245" y="408"/>
                  </a:lnTo>
                  <a:lnTo>
                    <a:pt x="206" y="396"/>
                  </a:lnTo>
                  <a:lnTo>
                    <a:pt x="163" y="386"/>
                  </a:lnTo>
                  <a:lnTo>
                    <a:pt x="166" y="386"/>
                  </a:lnTo>
                  <a:lnTo>
                    <a:pt x="176" y="384"/>
                  </a:lnTo>
                  <a:lnTo>
                    <a:pt x="190" y="384"/>
                  </a:lnTo>
                  <a:lnTo>
                    <a:pt x="210" y="384"/>
                  </a:lnTo>
                  <a:lnTo>
                    <a:pt x="234" y="386"/>
                  </a:lnTo>
                  <a:lnTo>
                    <a:pt x="259" y="389"/>
                  </a:lnTo>
                  <a:lnTo>
                    <a:pt x="285" y="396"/>
                  </a:lnTo>
                  <a:lnTo>
                    <a:pt x="312" y="404"/>
                  </a:lnTo>
                  <a:lnTo>
                    <a:pt x="339" y="415"/>
                  </a:lnTo>
                  <a:lnTo>
                    <a:pt x="365" y="431"/>
                  </a:lnTo>
                  <a:lnTo>
                    <a:pt x="389" y="452"/>
                  </a:lnTo>
                  <a:lnTo>
                    <a:pt x="408" y="476"/>
                  </a:lnTo>
                  <a:lnTo>
                    <a:pt x="424" y="508"/>
                  </a:lnTo>
                  <a:lnTo>
                    <a:pt x="424" y="503"/>
                  </a:lnTo>
                  <a:lnTo>
                    <a:pt x="421" y="492"/>
                  </a:lnTo>
                  <a:lnTo>
                    <a:pt x="416" y="474"/>
                  </a:lnTo>
                  <a:lnTo>
                    <a:pt x="411" y="452"/>
                  </a:lnTo>
                  <a:lnTo>
                    <a:pt x="405" y="424"/>
                  </a:lnTo>
                  <a:lnTo>
                    <a:pt x="400" y="394"/>
                  </a:lnTo>
                  <a:lnTo>
                    <a:pt x="397" y="362"/>
                  </a:lnTo>
                  <a:lnTo>
                    <a:pt x="395" y="330"/>
                  </a:lnTo>
                  <a:lnTo>
                    <a:pt x="397" y="296"/>
                  </a:lnTo>
                  <a:lnTo>
                    <a:pt x="400" y="264"/>
                  </a:lnTo>
                  <a:lnTo>
                    <a:pt x="408" y="234"/>
                  </a:lnTo>
                  <a:lnTo>
                    <a:pt x="421" y="207"/>
                  </a:lnTo>
                  <a:lnTo>
                    <a:pt x="419" y="231"/>
                  </a:lnTo>
                  <a:lnTo>
                    <a:pt x="419" y="261"/>
                  </a:lnTo>
                  <a:lnTo>
                    <a:pt x="421" y="293"/>
                  </a:lnTo>
                  <a:lnTo>
                    <a:pt x="427" y="327"/>
                  </a:lnTo>
                  <a:lnTo>
                    <a:pt x="439" y="359"/>
                  </a:lnTo>
                  <a:lnTo>
                    <a:pt x="453" y="391"/>
                  </a:lnTo>
                  <a:lnTo>
                    <a:pt x="455" y="388"/>
                  </a:lnTo>
                  <a:lnTo>
                    <a:pt x="456" y="381"/>
                  </a:lnTo>
                  <a:lnTo>
                    <a:pt x="461" y="371"/>
                  </a:lnTo>
                  <a:lnTo>
                    <a:pt x="467" y="357"/>
                  </a:lnTo>
                  <a:lnTo>
                    <a:pt x="475" y="339"/>
                  </a:lnTo>
                  <a:lnTo>
                    <a:pt x="485" y="320"/>
                  </a:lnTo>
                  <a:lnTo>
                    <a:pt x="499" y="298"/>
                  </a:lnTo>
                  <a:lnTo>
                    <a:pt x="515" y="275"/>
                  </a:lnTo>
                  <a:lnTo>
                    <a:pt x="535" y="250"/>
                  </a:lnTo>
                  <a:lnTo>
                    <a:pt x="557" y="224"/>
                  </a:lnTo>
                  <a:lnTo>
                    <a:pt x="583" y="197"/>
                  </a:lnTo>
                  <a:lnTo>
                    <a:pt x="612" y="171"/>
                  </a:lnTo>
                  <a:lnTo>
                    <a:pt x="645" y="146"/>
                  </a:lnTo>
                  <a:lnTo>
                    <a:pt x="682" y="120"/>
                  </a:lnTo>
                  <a:lnTo>
                    <a:pt x="724" y="96"/>
                  </a:lnTo>
                  <a:lnTo>
                    <a:pt x="770" y="74"/>
                  </a:lnTo>
                  <a:lnTo>
                    <a:pt x="821" y="54"/>
                  </a:lnTo>
                  <a:lnTo>
                    <a:pt x="877" y="37"/>
                  </a:lnTo>
                  <a:lnTo>
                    <a:pt x="938" y="22"/>
                  </a:lnTo>
                  <a:lnTo>
                    <a:pt x="1004" y="11"/>
                  </a:lnTo>
                  <a:lnTo>
                    <a:pt x="1076" y="3"/>
                  </a:lnTo>
                  <a:lnTo>
                    <a:pt x="1154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8517177-515E-4E00-9990-8210EF76D54D}"/>
              </a:ext>
            </a:extLst>
          </p:cNvPr>
          <p:cNvGrpSpPr/>
          <p:nvPr userDrawn="1"/>
        </p:nvGrpSpPr>
        <p:grpSpPr>
          <a:xfrm>
            <a:off x="1044340" y="1756149"/>
            <a:ext cx="1305752" cy="1160263"/>
            <a:chOff x="1575788" y="1772816"/>
            <a:chExt cx="1177418" cy="1177418"/>
          </a:xfrm>
        </p:grpSpPr>
        <p:sp>
          <p:nvSpPr>
            <p:cNvPr id="33" name="Oval 32"/>
            <p:cNvSpPr/>
            <p:nvPr/>
          </p:nvSpPr>
          <p:spPr>
            <a:xfrm>
              <a:off x="1575788" y="177281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1663570" y="1859829"/>
              <a:ext cx="1001855" cy="1002043"/>
            </a:xfrm>
            <a:custGeom>
              <a:avLst/>
              <a:gdLst>
                <a:gd name="T0" fmla="*/ 2804 w 5285"/>
                <a:gd name="T1" fmla="*/ 5 h 5286"/>
                <a:gd name="T2" fmla="*/ 3118 w 5285"/>
                <a:gd name="T3" fmla="*/ 44 h 5286"/>
                <a:gd name="T4" fmla="*/ 3419 w 5285"/>
                <a:gd name="T5" fmla="*/ 116 h 5286"/>
                <a:gd name="T6" fmla="*/ 3706 w 5285"/>
                <a:gd name="T7" fmla="*/ 223 h 5286"/>
                <a:gd name="T8" fmla="*/ 3976 w 5285"/>
                <a:gd name="T9" fmla="*/ 361 h 5286"/>
                <a:gd name="T10" fmla="*/ 4228 w 5285"/>
                <a:gd name="T11" fmla="*/ 529 h 5286"/>
                <a:gd name="T12" fmla="*/ 4457 w 5285"/>
                <a:gd name="T13" fmla="*/ 723 h 5286"/>
                <a:gd name="T14" fmla="*/ 4663 w 5285"/>
                <a:gd name="T15" fmla="*/ 941 h 5286"/>
                <a:gd name="T16" fmla="*/ 4844 w 5285"/>
                <a:gd name="T17" fmla="*/ 1181 h 5286"/>
                <a:gd name="T18" fmla="*/ 4996 w 5285"/>
                <a:gd name="T19" fmla="*/ 1442 h 5286"/>
                <a:gd name="T20" fmla="*/ 5120 w 5285"/>
                <a:gd name="T21" fmla="*/ 1721 h 5286"/>
                <a:gd name="T22" fmla="*/ 5209 w 5285"/>
                <a:gd name="T23" fmla="*/ 2015 h 5286"/>
                <a:gd name="T24" fmla="*/ 5265 w 5285"/>
                <a:gd name="T25" fmla="*/ 2324 h 5286"/>
                <a:gd name="T26" fmla="*/ 5285 w 5285"/>
                <a:gd name="T27" fmla="*/ 2643 h 5286"/>
                <a:gd name="T28" fmla="*/ 5265 w 5285"/>
                <a:gd name="T29" fmla="*/ 2962 h 5286"/>
                <a:gd name="T30" fmla="*/ 5209 w 5285"/>
                <a:gd name="T31" fmla="*/ 3271 h 5286"/>
                <a:gd name="T32" fmla="*/ 5120 w 5285"/>
                <a:gd name="T33" fmla="*/ 3566 h 5286"/>
                <a:gd name="T34" fmla="*/ 4996 w 5285"/>
                <a:gd name="T35" fmla="*/ 3844 h 5286"/>
                <a:gd name="T36" fmla="*/ 4844 w 5285"/>
                <a:gd name="T37" fmla="*/ 4106 h 5286"/>
                <a:gd name="T38" fmla="*/ 4663 w 5285"/>
                <a:gd name="T39" fmla="*/ 4346 h 5286"/>
                <a:gd name="T40" fmla="*/ 4457 w 5285"/>
                <a:gd name="T41" fmla="*/ 4564 h 5286"/>
                <a:gd name="T42" fmla="*/ 4228 w 5285"/>
                <a:gd name="T43" fmla="*/ 4757 h 5286"/>
                <a:gd name="T44" fmla="*/ 3976 w 5285"/>
                <a:gd name="T45" fmla="*/ 4926 h 5286"/>
                <a:gd name="T46" fmla="*/ 3706 w 5285"/>
                <a:gd name="T47" fmla="*/ 5063 h 5286"/>
                <a:gd name="T48" fmla="*/ 3419 w 5285"/>
                <a:gd name="T49" fmla="*/ 5171 h 5286"/>
                <a:gd name="T50" fmla="*/ 3118 w 5285"/>
                <a:gd name="T51" fmla="*/ 5243 h 5286"/>
                <a:gd name="T52" fmla="*/ 2804 w 5285"/>
                <a:gd name="T53" fmla="*/ 5281 h 5286"/>
                <a:gd name="T54" fmla="*/ 2481 w 5285"/>
                <a:gd name="T55" fmla="*/ 5281 h 5286"/>
                <a:gd name="T56" fmla="*/ 2167 w 5285"/>
                <a:gd name="T57" fmla="*/ 5243 h 5286"/>
                <a:gd name="T58" fmla="*/ 1866 w 5285"/>
                <a:gd name="T59" fmla="*/ 5171 h 5286"/>
                <a:gd name="T60" fmla="*/ 1579 w 5285"/>
                <a:gd name="T61" fmla="*/ 5063 h 5286"/>
                <a:gd name="T62" fmla="*/ 1308 w 5285"/>
                <a:gd name="T63" fmla="*/ 4926 h 5286"/>
                <a:gd name="T64" fmla="*/ 1057 w 5285"/>
                <a:gd name="T65" fmla="*/ 4757 h 5286"/>
                <a:gd name="T66" fmla="*/ 828 w 5285"/>
                <a:gd name="T67" fmla="*/ 4564 h 5286"/>
                <a:gd name="T68" fmla="*/ 621 w 5285"/>
                <a:gd name="T69" fmla="*/ 4346 h 5286"/>
                <a:gd name="T70" fmla="*/ 440 w 5285"/>
                <a:gd name="T71" fmla="*/ 4106 h 5286"/>
                <a:gd name="T72" fmla="*/ 288 w 5285"/>
                <a:gd name="T73" fmla="*/ 3844 h 5286"/>
                <a:gd name="T74" fmla="*/ 165 w 5285"/>
                <a:gd name="T75" fmla="*/ 3566 h 5286"/>
                <a:gd name="T76" fmla="*/ 75 w 5285"/>
                <a:gd name="T77" fmla="*/ 3271 h 5286"/>
                <a:gd name="T78" fmla="*/ 19 w 5285"/>
                <a:gd name="T79" fmla="*/ 2962 h 5286"/>
                <a:gd name="T80" fmla="*/ 0 w 5285"/>
                <a:gd name="T81" fmla="*/ 2643 h 5286"/>
                <a:gd name="T82" fmla="*/ 19 w 5285"/>
                <a:gd name="T83" fmla="*/ 2324 h 5286"/>
                <a:gd name="T84" fmla="*/ 75 w 5285"/>
                <a:gd name="T85" fmla="*/ 2015 h 5286"/>
                <a:gd name="T86" fmla="*/ 165 w 5285"/>
                <a:gd name="T87" fmla="*/ 1721 h 5286"/>
                <a:gd name="T88" fmla="*/ 288 w 5285"/>
                <a:gd name="T89" fmla="*/ 1442 h 5286"/>
                <a:gd name="T90" fmla="*/ 440 w 5285"/>
                <a:gd name="T91" fmla="*/ 1181 h 5286"/>
                <a:gd name="T92" fmla="*/ 621 w 5285"/>
                <a:gd name="T93" fmla="*/ 941 h 5286"/>
                <a:gd name="T94" fmla="*/ 828 w 5285"/>
                <a:gd name="T95" fmla="*/ 723 h 5286"/>
                <a:gd name="T96" fmla="*/ 1057 w 5285"/>
                <a:gd name="T97" fmla="*/ 529 h 5286"/>
                <a:gd name="T98" fmla="*/ 1308 w 5285"/>
                <a:gd name="T99" fmla="*/ 361 h 5286"/>
                <a:gd name="T100" fmla="*/ 1579 w 5285"/>
                <a:gd name="T101" fmla="*/ 223 h 5286"/>
                <a:gd name="T102" fmla="*/ 1866 w 5285"/>
                <a:gd name="T103" fmla="*/ 116 h 5286"/>
                <a:gd name="T104" fmla="*/ 2167 w 5285"/>
                <a:gd name="T105" fmla="*/ 44 h 5286"/>
                <a:gd name="T106" fmla="*/ 2481 w 5285"/>
                <a:gd name="T107" fmla="*/ 5 h 5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85" h="5286">
                  <a:moveTo>
                    <a:pt x="2641" y="0"/>
                  </a:moveTo>
                  <a:lnTo>
                    <a:pt x="2804" y="5"/>
                  </a:lnTo>
                  <a:lnTo>
                    <a:pt x="2961" y="20"/>
                  </a:lnTo>
                  <a:lnTo>
                    <a:pt x="3118" y="44"/>
                  </a:lnTo>
                  <a:lnTo>
                    <a:pt x="3270" y="76"/>
                  </a:lnTo>
                  <a:lnTo>
                    <a:pt x="3419" y="116"/>
                  </a:lnTo>
                  <a:lnTo>
                    <a:pt x="3565" y="165"/>
                  </a:lnTo>
                  <a:lnTo>
                    <a:pt x="3706" y="223"/>
                  </a:lnTo>
                  <a:lnTo>
                    <a:pt x="3843" y="289"/>
                  </a:lnTo>
                  <a:lnTo>
                    <a:pt x="3976" y="361"/>
                  </a:lnTo>
                  <a:lnTo>
                    <a:pt x="4104" y="441"/>
                  </a:lnTo>
                  <a:lnTo>
                    <a:pt x="4228" y="529"/>
                  </a:lnTo>
                  <a:lnTo>
                    <a:pt x="4345" y="622"/>
                  </a:lnTo>
                  <a:lnTo>
                    <a:pt x="4457" y="723"/>
                  </a:lnTo>
                  <a:lnTo>
                    <a:pt x="4562" y="828"/>
                  </a:lnTo>
                  <a:lnTo>
                    <a:pt x="4663" y="941"/>
                  </a:lnTo>
                  <a:lnTo>
                    <a:pt x="4756" y="1058"/>
                  </a:lnTo>
                  <a:lnTo>
                    <a:pt x="4844" y="1181"/>
                  </a:lnTo>
                  <a:lnTo>
                    <a:pt x="4924" y="1309"/>
                  </a:lnTo>
                  <a:lnTo>
                    <a:pt x="4996" y="1442"/>
                  </a:lnTo>
                  <a:lnTo>
                    <a:pt x="5062" y="1580"/>
                  </a:lnTo>
                  <a:lnTo>
                    <a:pt x="5120" y="1721"/>
                  </a:lnTo>
                  <a:lnTo>
                    <a:pt x="5169" y="1866"/>
                  </a:lnTo>
                  <a:lnTo>
                    <a:pt x="5209" y="2015"/>
                  </a:lnTo>
                  <a:lnTo>
                    <a:pt x="5241" y="2167"/>
                  </a:lnTo>
                  <a:lnTo>
                    <a:pt x="5265" y="2324"/>
                  </a:lnTo>
                  <a:lnTo>
                    <a:pt x="5280" y="2481"/>
                  </a:lnTo>
                  <a:lnTo>
                    <a:pt x="5285" y="2643"/>
                  </a:lnTo>
                  <a:lnTo>
                    <a:pt x="5280" y="2805"/>
                  </a:lnTo>
                  <a:lnTo>
                    <a:pt x="5265" y="2962"/>
                  </a:lnTo>
                  <a:lnTo>
                    <a:pt x="5241" y="3119"/>
                  </a:lnTo>
                  <a:lnTo>
                    <a:pt x="5209" y="3271"/>
                  </a:lnTo>
                  <a:lnTo>
                    <a:pt x="5169" y="3420"/>
                  </a:lnTo>
                  <a:lnTo>
                    <a:pt x="5120" y="3566"/>
                  </a:lnTo>
                  <a:lnTo>
                    <a:pt x="5062" y="3707"/>
                  </a:lnTo>
                  <a:lnTo>
                    <a:pt x="4996" y="3844"/>
                  </a:lnTo>
                  <a:lnTo>
                    <a:pt x="4924" y="3977"/>
                  </a:lnTo>
                  <a:lnTo>
                    <a:pt x="4844" y="4106"/>
                  </a:lnTo>
                  <a:lnTo>
                    <a:pt x="4756" y="4229"/>
                  </a:lnTo>
                  <a:lnTo>
                    <a:pt x="4663" y="4346"/>
                  </a:lnTo>
                  <a:lnTo>
                    <a:pt x="4562" y="4458"/>
                  </a:lnTo>
                  <a:lnTo>
                    <a:pt x="4457" y="4564"/>
                  </a:lnTo>
                  <a:lnTo>
                    <a:pt x="4345" y="4665"/>
                  </a:lnTo>
                  <a:lnTo>
                    <a:pt x="4228" y="4757"/>
                  </a:lnTo>
                  <a:lnTo>
                    <a:pt x="4104" y="4846"/>
                  </a:lnTo>
                  <a:lnTo>
                    <a:pt x="3976" y="4926"/>
                  </a:lnTo>
                  <a:lnTo>
                    <a:pt x="3843" y="4998"/>
                  </a:lnTo>
                  <a:lnTo>
                    <a:pt x="3706" y="5063"/>
                  </a:lnTo>
                  <a:lnTo>
                    <a:pt x="3565" y="5121"/>
                  </a:lnTo>
                  <a:lnTo>
                    <a:pt x="3419" y="5171"/>
                  </a:lnTo>
                  <a:lnTo>
                    <a:pt x="3270" y="5211"/>
                  </a:lnTo>
                  <a:lnTo>
                    <a:pt x="3118" y="5243"/>
                  </a:lnTo>
                  <a:lnTo>
                    <a:pt x="2961" y="5267"/>
                  </a:lnTo>
                  <a:lnTo>
                    <a:pt x="2804" y="5281"/>
                  </a:lnTo>
                  <a:lnTo>
                    <a:pt x="2641" y="5286"/>
                  </a:lnTo>
                  <a:lnTo>
                    <a:pt x="2481" y="5281"/>
                  </a:lnTo>
                  <a:lnTo>
                    <a:pt x="2324" y="5267"/>
                  </a:lnTo>
                  <a:lnTo>
                    <a:pt x="2167" y="5243"/>
                  </a:lnTo>
                  <a:lnTo>
                    <a:pt x="2015" y="5211"/>
                  </a:lnTo>
                  <a:lnTo>
                    <a:pt x="1866" y="5171"/>
                  </a:lnTo>
                  <a:lnTo>
                    <a:pt x="1720" y="5121"/>
                  </a:lnTo>
                  <a:lnTo>
                    <a:pt x="1579" y="5063"/>
                  </a:lnTo>
                  <a:lnTo>
                    <a:pt x="1441" y="4998"/>
                  </a:lnTo>
                  <a:lnTo>
                    <a:pt x="1308" y="4926"/>
                  </a:lnTo>
                  <a:lnTo>
                    <a:pt x="1180" y="4846"/>
                  </a:lnTo>
                  <a:lnTo>
                    <a:pt x="1057" y="4757"/>
                  </a:lnTo>
                  <a:lnTo>
                    <a:pt x="940" y="4665"/>
                  </a:lnTo>
                  <a:lnTo>
                    <a:pt x="828" y="4564"/>
                  </a:lnTo>
                  <a:lnTo>
                    <a:pt x="722" y="4458"/>
                  </a:lnTo>
                  <a:lnTo>
                    <a:pt x="621" y="4346"/>
                  </a:lnTo>
                  <a:lnTo>
                    <a:pt x="528" y="4229"/>
                  </a:lnTo>
                  <a:lnTo>
                    <a:pt x="440" y="4106"/>
                  </a:lnTo>
                  <a:lnTo>
                    <a:pt x="360" y="3977"/>
                  </a:lnTo>
                  <a:lnTo>
                    <a:pt x="288" y="3844"/>
                  </a:lnTo>
                  <a:lnTo>
                    <a:pt x="223" y="3707"/>
                  </a:lnTo>
                  <a:lnTo>
                    <a:pt x="165" y="3566"/>
                  </a:lnTo>
                  <a:lnTo>
                    <a:pt x="115" y="3420"/>
                  </a:lnTo>
                  <a:lnTo>
                    <a:pt x="75" y="3271"/>
                  </a:lnTo>
                  <a:lnTo>
                    <a:pt x="43" y="3119"/>
                  </a:lnTo>
                  <a:lnTo>
                    <a:pt x="19" y="2962"/>
                  </a:lnTo>
                  <a:lnTo>
                    <a:pt x="5" y="2805"/>
                  </a:lnTo>
                  <a:lnTo>
                    <a:pt x="0" y="2643"/>
                  </a:lnTo>
                  <a:lnTo>
                    <a:pt x="5" y="2481"/>
                  </a:lnTo>
                  <a:lnTo>
                    <a:pt x="19" y="2324"/>
                  </a:lnTo>
                  <a:lnTo>
                    <a:pt x="43" y="2167"/>
                  </a:lnTo>
                  <a:lnTo>
                    <a:pt x="75" y="2015"/>
                  </a:lnTo>
                  <a:lnTo>
                    <a:pt x="115" y="1866"/>
                  </a:lnTo>
                  <a:lnTo>
                    <a:pt x="165" y="1721"/>
                  </a:lnTo>
                  <a:lnTo>
                    <a:pt x="223" y="1580"/>
                  </a:lnTo>
                  <a:lnTo>
                    <a:pt x="288" y="1442"/>
                  </a:lnTo>
                  <a:lnTo>
                    <a:pt x="360" y="1309"/>
                  </a:lnTo>
                  <a:lnTo>
                    <a:pt x="440" y="1181"/>
                  </a:lnTo>
                  <a:lnTo>
                    <a:pt x="528" y="1058"/>
                  </a:lnTo>
                  <a:lnTo>
                    <a:pt x="621" y="941"/>
                  </a:lnTo>
                  <a:lnTo>
                    <a:pt x="722" y="828"/>
                  </a:lnTo>
                  <a:lnTo>
                    <a:pt x="828" y="723"/>
                  </a:lnTo>
                  <a:lnTo>
                    <a:pt x="940" y="622"/>
                  </a:lnTo>
                  <a:lnTo>
                    <a:pt x="1057" y="529"/>
                  </a:lnTo>
                  <a:lnTo>
                    <a:pt x="1180" y="441"/>
                  </a:lnTo>
                  <a:lnTo>
                    <a:pt x="1308" y="361"/>
                  </a:lnTo>
                  <a:lnTo>
                    <a:pt x="1441" y="289"/>
                  </a:lnTo>
                  <a:lnTo>
                    <a:pt x="1579" y="223"/>
                  </a:lnTo>
                  <a:lnTo>
                    <a:pt x="1720" y="165"/>
                  </a:lnTo>
                  <a:lnTo>
                    <a:pt x="1866" y="116"/>
                  </a:lnTo>
                  <a:lnTo>
                    <a:pt x="2015" y="76"/>
                  </a:lnTo>
                  <a:lnTo>
                    <a:pt x="2167" y="44"/>
                  </a:lnTo>
                  <a:lnTo>
                    <a:pt x="2324" y="20"/>
                  </a:lnTo>
                  <a:lnTo>
                    <a:pt x="2481" y="5"/>
                  </a:lnTo>
                  <a:lnTo>
                    <a:pt x="264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2160422" y="2578893"/>
              <a:ext cx="6445" cy="948"/>
            </a:xfrm>
            <a:custGeom>
              <a:avLst/>
              <a:gdLst>
                <a:gd name="T0" fmla="*/ 0 w 34"/>
                <a:gd name="T1" fmla="*/ 0 h 5"/>
                <a:gd name="T2" fmla="*/ 34 w 34"/>
                <a:gd name="T3" fmla="*/ 0 h 5"/>
                <a:gd name="T4" fmla="*/ 31 w 34"/>
                <a:gd name="T5" fmla="*/ 1 h 5"/>
                <a:gd name="T6" fmla="*/ 28 w 34"/>
                <a:gd name="T7" fmla="*/ 3 h 5"/>
                <a:gd name="T8" fmla="*/ 23 w 34"/>
                <a:gd name="T9" fmla="*/ 5 h 5"/>
                <a:gd name="T10" fmla="*/ 16 w 34"/>
                <a:gd name="T11" fmla="*/ 5 h 5"/>
                <a:gd name="T12" fmla="*/ 13 w 34"/>
                <a:gd name="T13" fmla="*/ 5 h 5"/>
                <a:gd name="T14" fmla="*/ 10 w 34"/>
                <a:gd name="T15" fmla="*/ 3 h 5"/>
                <a:gd name="T16" fmla="*/ 5 w 34"/>
                <a:gd name="T17" fmla="*/ 1 h 5"/>
                <a:gd name="T18" fmla="*/ 0 w 3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">
                  <a:moveTo>
                    <a:pt x="0" y="0"/>
                  </a:moveTo>
                  <a:lnTo>
                    <a:pt x="34" y="0"/>
                  </a:lnTo>
                  <a:lnTo>
                    <a:pt x="31" y="1"/>
                  </a:lnTo>
                  <a:lnTo>
                    <a:pt x="28" y="3"/>
                  </a:lnTo>
                  <a:lnTo>
                    <a:pt x="23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0" y="3"/>
                  </a:lnTo>
                  <a:lnTo>
                    <a:pt x="5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1759869" y="2521623"/>
              <a:ext cx="807740" cy="341597"/>
            </a:xfrm>
            <a:custGeom>
              <a:avLst/>
              <a:gdLst>
                <a:gd name="T0" fmla="*/ 1300 w 4261"/>
                <a:gd name="T1" fmla="*/ 111 h 1802"/>
                <a:gd name="T2" fmla="*/ 1314 w 4261"/>
                <a:gd name="T3" fmla="*/ 282 h 1802"/>
                <a:gd name="T4" fmla="*/ 1346 w 4261"/>
                <a:gd name="T5" fmla="*/ 444 h 1802"/>
                <a:gd name="T6" fmla="*/ 1385 w 4261"/>
                <a:gd name="T7" fmla="*/ 578 h 1802"/>
                <a:gd name="T8" fmla="*/ 1417 w 4261"/>
                <a:gd name="T9" fmla="*/ 670 h 1802"/>
                <a:gd name="T10" fmla="*/ 1431 w 4261"/>
                <a:gd name="T11" fmla="*/ 698 h 1802"/>
                <a:gd name="T12" fmla="*/ 1531 w 4261"/>
                <a:gd name="T13" fmla="*/ 549 h 1802"/>
                <a:gd name="T14" fmla="*/ 1665 w 4261"/>
                <a:gd name="T15" fmla="*/ 442 h 1802"/>
                <a:gd name="T16" fmla="*/ 1814 w 4261"/>
                <a:gd name="T17" fmla="*/ 372 h 1802"/>
                <a:gd name="T18" fmla="*/ 1953 w 4261"/>
                <a:gd name="T19" fmla="*/ 328 h 1802"/>
                <a:gd name="T20" fmla="*/ 2064 w 4261"/>
                <a:gd name="T21" fmla="*/ 306 h 1802"/>
                <a:gd name="T22" fmla="*/ 2121 w 4261"/>
                <a:gd name="T23" fmla="*/ 300 h 1802"/>
                <a:gd name="T24" fmla="*/ 2142 w 4261"/>
                <a:gd name="T25" fmla="*/ 301 h 1802"/>
                <a:gd name="T26" fmla="*/ 2221 w 4261"/>
                <a:gd name="T27" fmla="*/ 311 h 1802"/>
                <a:gd name="T28" fmla="*/ 2344 w 4261"/>
                <a:gd name="T29" fmla="*/ 338 h 1802"/>
                <a:gd name="T30" fmla="*/ 2488 w 4261"/>
                <a:gd name="T31" fmla="*/ 389 h 1802"/>
                <a:gd name="T32" fmla="*/ 2636 w 4261"/>
                <a:gd name="T33" fmla="*/ 473 h 1802"/>
                <a:gd name="T34" fmla="*/ 2762 w 4261"/>
                <a:gd name="T35" fmla="*/ 593 h 1802"/>
                <a:gd name="T36" fmla="*/ 2828 w 4261"/>
                <a:gd name="T37" fmla="*/ 697 h 1802"/>
                <a:gd name="T38" fmla="*/ 2849 w 4261"/>
                <a:gd name="T39" fmla="*/ 644 h 1802"/>
                <a:gd name="T40" fmla="*/ 2884 w 4261"/>
                <a:gd name="T41" fmla="*/ 535 h 1802"/>
                <a:gd name="T42" fmla="*/ 2921 w 4261"/>
                <a:gd name="T43" fmla="*/ 391 h 1802"/>
                <a:gd name="T44" fmla="*/ 2948 w 4261"/>
                <a:gd name="T45" fmla="*/ 224 h 1802"/>
                <a:gd name="T46" fmla="*/ 2954 w 4261"/>
                <a:gd name="T47" fmla="*/ 55 h 1802"/>
                <a:gd name="T48" fmla="*/ 3153 w 4261"/>
                <a:gd name="T49" fmla="*/ 58 h 1802"/>
                <a:gd name="T50" fmla="*/ 3467 w 4261"/>
                <a:gd name="T51" fmla="*/ 176 h 1802"/>
                <a:gd name="T52" fmla="*/ 3782 w 4261"/>
                <a:gd name="T53" fmla="*/ 338 h 1802"/>
                <a:gd name="T54" fmla="*/ 4078 w 4261"/>
                <a:gd name="T55" fmla="*/ 548 h 1802"/>
                <a:gd name="T56" fmla="*/ 4168 w 4261"/>
                <a:gd name="T57" fmla="*/ 839 h 1802"/>
                <a:gd name="T58" fmla="*/ 3849 w 4261"/>
                <a:gd name="T59" fmla="*/ 1165 h 1802"/>
                <a:gd name="T60" fmla="*/ 3478 w 4261"/>
                <a:gd name="T61" fmla="*/ 1432 h 1802"/>
                <a:gd name="T62" fmla="*/ 3062 w 4261"/>
                <a:gd name="T63" fmla="*/ 1632 h 1802"/>
                <a:gd name="T64" fmla="*/ 2610 w 4261"/>
                <a:gd name="T65" fmla="*/ 1759 h 1802"/>
                <a:gd name="T66" fmla="*/ 2129 w 4261"/>
                <a:gd name="T67" fmla="*/ 1802 h 1802"/>
                <a:gd name="T68" fmla="*/ 1651 w 4261"/>
                <a:gd name="T69" fmla="*/ 1759 h 1802"/>
                <a:gd name="T70" fmla="*/ 1199 w 4261"/>
                <a:gd name="T71" fmla="*/ 1632 h 1802"/>
                <a:gd name="T72" fmla="*/ 784 w 4261"/>
                <a:gd name="T73" fmla="*/ 1434 h 1802"/>
                <a:gd name="T74" fmla="*/ 413 w 4261"/>
                <a:gd name="T75" fmla="*/ 1166 h 1802"/>
                <a:gd name="T76" fmla="*/ 94 w 4261"/>
                <a:gd name="T77" fmla="*/ 841 h 1802"/>
                <a:gd name="T78" fmla="*/ 181 w 4261"/>
                <a:gd name="T79" fmla="*/ 548 h 1802"/>
                <a:gd name="T80" fmla="*/ 478 w 4261"/>
                <a:gd name="T81" fmla="*/ 338 h 1802"/>
                <a:gd name="T82" fmla="*/ 792 w 4261"/>
                <a:gd name="T83" fmla="*/ 176 h 1802"/>
                <a:gd name="T84" fmla="*/ 1105 w 4261"/>
                <a:gd name="T85" fmla="*/ 58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1" h="1802">
                  <a:moveTo>
                    <a:pt x="1306" y="0"/>
                  </a:moveTo>
                  <a:lnTo>
                    <a:pt x="1302" y="55"/>
                  </a:lnTo>
                  <a:lnTo>
                    <a:pt x="1300" y="111"/>
                  </a:lnTo>
                  <a:lnTo>
                    <a:pt x="1303" y="168"/>
                  </a:lnTo>
                  <a:lnTo>
                    <a:pt x="1308" y="224"/>
                  </a:lnTo>
                  <a:lnTo>
                    <a:pt x="1314" y="282"/>
                  </a:lnTo>
                  <a:lnTo>
                    <a:pt x="1324" y="338"/>
                  </a:lnTo>
                  <a:lnTo>
                    <a:pt x="1335" y="391"/>
                  </a:lnTo>
                  <a:lnTo>
                    <a:pt x="1346" y="444"/>
                  </a:lnTo>
                  <a:lnTo>
                    <a:pt x="1359" y="492"/>
                  </a:lnTo>
                  <a:lnTo>
                    <a:pt x="1372" y="537"/>
                  </a:lnTo>
                  <a:lnTo>
                    <a:pt x="1385" y="578"/>
                  </a:lnTo>
                  <a:lnTo>
                    <a:pt x="1396" y="615"/>
                  </a:lnTo>
                  <a:lnTo>
                    <a:pt x="1407" y="646"/>
                  </a:lnTo>
                  <a:lnTo>
                    <a:pt x="1417" y="670"/>
                  </a:lnTo>
                  <a:lnTo>
                    <a:pt x="1423" y="687"/>
                  </a:lnTo>
                  <a:lnTo>
                    <a:pt x="1428" y="697"/>
                  </a:lnTo>
                  <a:lnTo>
                    <a:pt x="1431" y="698"/>
                  </a:lnTo>
                  <a:lnTo>
                    <a:pt x="1459" y="644"/>
                  </a:lnTo>
                  <a:lnTo>
                    <a:pt x="1492" y="594"/>
                  </a:lnTo>
                  <a:lnTo>
                    <a:pt x="1531" y="549"/>
                  </a:lnTo>
                  <a:lnTo>
                    <a:pt x="1572" y="509"/>
                  </a:lnTo>
                  <a:lnTo>
                    <a:pt x="1619" y="474"/>
                  </a:lnTo>
                  <a:lnTo>
                    <a:pt x="1665" y="442"/>
                  </a:lnTo>
                  <a:lnTo>
                    <a:pt x="1715" y="415"/>
                  </a:lnTo>
                  <a:lnTo>
                    <a:pt x="1764" y="391"/>
                  </a:lnTo>
                  <a:lnTo>
                    <a:pt x="1814" y="372"/>
                  </a:lnTo>
                  <a:lnTo>
                    <a:pt x="1862" y="354"/>
                  </a:lnTo>
                  <a:lnTo>
                    <a:pt x="1909" y="340"/>
                  </a:lnTo>
                  <a:lnTo>
                    <a:pt x="1953" y="328"/>
                  </a:lnTo>
                  <a:lnTo>
                    <a:pt x="1995" y="319"/>
                  </a:lnTo>
                  <a:lnTo>
                    <a:pt x="2032" y="312"/>
                  </a:lnTo>
                  <a:lnTo>
                    <a:pt x="2064" y="306"/>
                  </a:lnTo>
                  <a:lnTo>
                    <a:pt x="2089" y="303"/>
                  </a:lnTo>
                  <a:lnTo>
                    <a:pt x="2109" y="301"/>
                  </a:lnTo>
                  <a:lnTo>
                    <a:pt x="2121" y="300"/>
                  </a:lnTo>
                  <a:lnTo>
                    <a:pt x="2126" y="300"/>
                  </a:lnTo>
                  <a:lnTo>
                    <a:pt x="2131" y="300"/>
                  </a:lnTo>
                  <a:lnTo>
                    <a:pt x="2142" y="301"/>
                  </a:lnTo>
                  <a:lnTo>
                    <a:pt x="2163" y="303"/>
                  </a:lnTo>
                  <a:lnTo>
                    <a:pt x="2189" y="306"/>
                  </a:lnTo>
                  <a:lnTo>
                    <a:pt x="2221" y="311"/>
                  </a:lnTo>
                  <a:lnTo>
                    <a:pt x="2258" y="319"/>
                  </a:lnTo>
                  <a:lnTo>
                    <a:pt x="2299" y="327"/>
                  </a:lnTo>
                  <a:lnTo>
                    <a:pt x="2344" y="338"/>
                  </a:lnTo>
                  <a:lnTo>
                    <a:pt x="2391" y="352"/>
                  </a:lnTo>
                  <a:lnTo>
                    <a:pt x="2439" y="368"/>
                  </a:lnTo>
                  <a:lnTo>
                    <a:pt x="2488" y="389"/>
                  </a:lnTo>
                  <a:lnTo>
                    <a:pt x="2539" y="413"/>
                  </a:lnTo>
                  <a:lnTo>
                    <a:pt x="2587" y="441"/>
                  </a:lnTo>
                  <a:lnTo>
                    <a:pt x="2636" y="473"/>
                  </a:lnTo>
                  <a:lnTo>
                    <a:pt x="2682" y="508"/>
                  </a:lnTo>
                  <a:lnTo>
                    <a:pt x="2724" y="548"/>
                  </a:lnTo>
                  <a:lnTo>
                    <a:pt x="2762" y="593"/>
                  </a:lnTo>
                  <a:lnTo>
                    <a:pt x="2796" y="644"/>
                  </a:lnTo>
                  <a:lnTo>
                    <a:pt x="2825" y="698"/>
                  </a:lnTo>
                  <a:lnTo>
                    <a:pt x="2828" y="697"/>
                  </a:lnTo>
                  <a:lnTo>
                    <a:pt x="2833" y="686"/>
                  </a:lnTo>
                  <a:lnTo>
                    <a:pt x="2839" y="668"/>
                  </a:lnTo>
                  <a:lnTo>
                    <a:pt x="2849" y="644"/>
                  </a:lnTo>
                  <a:lnTo>
                    <a:pt x="2860" y="612"/>
                  </a:lnTo>
                  <a:lnTo>
                    <a:pt x="2871" y="577"/>
                  </a:lnTo>
                  <a:lnTo>
                    <a:pt x="2884" y="535"/>
                  </a:lnTo>
                  <a:lnTo>
                    <a:pt x="2897" y="490"/>
                  </a:lnTo>
                  <a:lnTo>
                    <a:pt x="2909" y="442"/>
                  </a:lnTo>
                  <a:lnTo>
                    <a:pt x="2921" y="391"/>
                  </a:lnTo>
                  <a:lnTo>
                    <a:pt x="2932" y="336"/>
                  </a:lnTo>
                  <a:lnTo>
                    <a:pt x="2941" y="280"/>
                  </a:lnTo>
                  <a:lnTo>
                    <a:pt x="2948" y="224"/>
                  </a:lnTo>
                  <a:lnTo>
                    <a:pt x="2953" y="167"/>
                  </a:lnTo>
                  <a:lnTo>
                    <a:pt x="2956" y="111"/>
                  </a:lnTo>
                  <a:lnTo>
                    <a:pt x="2954" y="55"/>
                  </a:lnTo>
                  <a:lnTo>
                    <a:pt x="2949" y="0"/>
                  </a:lnTo>
                  <a:lnTo>
                    <a:pt x="3050" y="27"/>
                  </a:lnTo>
                  <a:lnTo>
                    <a:pt x="3153" y="58"/>
                  </a:lnTo>
                  <a:lnTo>
                    <a:pt x="3257" y="93"/>
                  </a:lnTo>
                  <a:lnTo>
                    <a:pt x="3363" y="131"/>
                  </a:lnTo>
                  <a:lnTo>
                    <a:pt x="3467" y="176"/>
                  </a:lnTo>
                  <a:lnTo>
                    <a:pt x="3572" y="224"/>
                  </a:lnTo>
                  <a:lnTo>
                    <a:pt x="3678" y="279"/>
                  </a:lnTo>
                  <a:lnTo>
                    <a:pt x="3782" y="338"/>
                  </a:lnTo>
                  <a:lnTo>
                    <a:pt x="3883" y="402"/>
                  </a:lnTo>
                  <a:lnTo>
                    <a:pt x="3982" y="473"/>
                  </a:lnTo>
                  <a:lnTo>
                    <a:pt x="4078" y="548"/>
                  </a:lnTo>
                  <a:lnTo>
                    <a:pt x="4171" y="631"/>
                  </a:lnTo>
                  <a:lnTo>
                    <a:pt x="4261" y="719"/>
                  </a:lnTo>
                  <a:lnTo>
                    <a:pt x="4168" y="839"/>
                  </a:lnTo>
                  <a:lnTo>
                    <a:pt x="4067" y="955"/>
                  </a:lnTo>
                  <a:lnTo>
                    <a:pt x="3961" y="1062"/>
                  </a:lnTo>
                  <a:lnTo>
                    <a:pt x="3849" y="1165"/>
                  </a:lnTo>
                  <a:lnTo>
                    <a:pt x="3731" y="1261"/>
                  </a:lnTo>
                  <a:lnTo>
                    <a:pt x="3606" y="1349"/>
                  </a:lnTo>
                  <a:lnTo>
                    <a:pt x="3478" y="1432"/>
                  </a:lnTo>
                  <a:lnTo>
                    <a:pt x="3343" y="1506"/>
                  </a:lnTo>
                  <a:lnTo>
                    <a:pt x="3206" y="1573"/>
                  </a:lnTo>
                  <a:lnTo>
                    <a:pt x="3062" y="1632"/>
                  </a:lnTo>
                  <a:lnTo>
                    <a:pt x="2916" y="1682"/>
                  </a:lnTo>
                  <a:lnTo>
                    <a:pt x="2764" y="1725"/>
                  </a:lnTo>
                  <a:lnTo>
                    <a:pt x="2610" y="1759"/>
                  </a:lnTo>
                  <a:lnTo>
                    <a:pt x="2453" y="1783"/>
                  </a:lnTo>
                  <a:lnTo>
                    <a:pt x="2293" y="1797"/>
                  </a:lnTo>
                  <a:lnTo>
                    <a:pt x="2129" y="1802"/>
                  </a:lnTo>
                  <a:lnTo>
                    <a:pt x="1968" y="1797"/>
                  </a:lnTo>
                  <a:lnTo>
                    <a:pt x="1808" y="1783"/>
                  </a:lnTo>
                  <a:lnTo>
                    <a:pt x="1651" y="1759"/>
                  </a:lnTo>
                  <a:lnTo>
                    <a:pt x="1497" y="1725"/>
                  </a:lnTo>
                  <a:lnTo>
                    <a:pt x="1346" y="1683"/>
                  </a:lnTo>
                  <a:lnTo>
                    <a:pt x="1199" y="1632"/>
                  </a:lnTo>
                  <a:lnTo>
                    <a:pt x="1057" y="1575"/>
                  </a:lnTo>
                  <a:lnTo>
                    <a:pt x="919" y="1507"/>
                  </a:lnTo>
                  <a:lnTo>
                    <a:pt x="784" y="1434"/>
                  </a:lnTo>
                  <a:lnTo>
                    <a:pt x="656" y="1352"/>
                  </a:lnTo>
                  <a:lnTo>
                    <a:pt x="531" y="1262"/>
                  </a:lnTo>
                  <a:lnTo>
                    <a:pt x="413" y="1166"/>
                  </a:lnTo>
                  <a:lnTo>
                    <a:pt x="301" y="1064"/>
                  </a:lnTo>
                  <a:lnTo>
                    <a:pt x="193" y="955"/>
                  </a:lnTo>
                  <a:lnTo>
                    <a:pt x="94" y="841"/>
                  </a:lnTo>
                  <a:lnTo>
                    <a:pt x="0" y="719"/>
                  </a:lnTo>
                  <a:lnTo>
                    <a:pt x="88" y="631"/>
                  </a:lnTo>
                  <a:lnTo>
                    <a:pt x="181" y="548"/>
                  </a:lnTo>
                  <a:lnTo>
                    <a:pt x="278" y="473"/>
                  </a:lnTo>
                  <a:lnTo>
                    <a:pt x="378" y="402"/>
                  </a:lnTo>
                  <a:lnTo>
                    <a:pt x="478" y="338"/>
                  </a:lnTo>
                  <a:lnTo>
                    <a:pt x="583" y="279"/>
                  </a:lnTo>
                  <a:lnTo>
                    <a:pt x="687" y="224"/>
                  </a:lnTo>
                  <a:lnTo>
                    <a:pt x="792" y="176"/>
                  </a:lnTo>
                  <a:lnTo>
                    <a:pt x="896" y="131"/>
                  </a:lnTo>
                  <a:lnTo>
                    <a:pt x="1002" y="93"/>
                  </a:lnTo>
                  <a:lnTo>
                    <a:pt x="1105" y="58"/>
                  </a:lnTo>
                  <a:lnTo>
                    <a:pt x="1207" y="27"/>
                  </a:lnTo>
                  <a:lnTo>
                    <a:pt x="13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Freeform 9"/>
            <p:cNvSpPr>
              <a:spLocks/>
            </p:cNvSpPr>
            <p:nvPr/>
          </p:nvSpPr>
          <p:spPr bwMode="auto">
            <a:xfrm>
              <a:off x="2039100" y="2409990"/>
              <a:ext cx="249279" cy="168903"/>
            </a:xfrm>
            <a:custGeom>
              <a:avLst/>
              <a:gdLst>
                <a:gd name="T0" fmla="*/ 75 w 1315"/>
                <a:gd name="T1" fmla="*/ 0 h 891"/>
                <a:gd name="T2" fmla="*/ 131 w 1315"/>
                <a:gd name="T3" fmla="*/ 61 h 891"/>
                <a:gd name="T4" fmla="*/ 190 w 1315"/>
                <a:gd name="T5" fmla="*/ 116 h 891"/>
                <a:gd name="T6" fmla="*/ 251 w 1315"/>
                <a:gd name="T7" fmla="*/ 165 h 891"/>
                <a:gd name="T8" fmla="*/ 315 w 1315"/>
                <a:gd name="T9" fmla="*/ 208 h 891"/>
                <a:gd name="T10" fmla="*/ 379 w 1315"/>
                <a:gd name="T11" fmla="*/ 244 h 891"/>
                <a:gd name="T12" fmla="*/ 447 w 1315"/>
                <a:gd name="T13" fmla="*/ 274 h 891"/>
                <a:gd name="T14" fmla="*/ 516 w 1315"/>
                <a:gd name="T15" fmla="*/ 295 h 891"/>
                <a:gd name="T16" fmla="*/ 586 w 1315"/>
                <a:gd name="T17" fmla="*/ 308 h 891"/>
                <a:gd name="T18" fmla="*/ 656 w 1315"/>
                <a:gd name="T19" fmla="*/ 313 h 891"/>
                <a:gd name="T20" fmla="*/ 737 w 1315"/>
                <a:gd name="T21" fmla="*/ 308 h 891"/>
                <a:gd name="T22" fmla="*/ 815 w 1315"/>
                <a:gd name="T23" fmla="*/ 292 h 891"/>
                <a:gd name="T24" fmla="*/ 890 w 1315"/>
                <a:gd name="T25" fmla="*/ 265 h 891"/>
                <a:gd name="T26" fmla="*/ 966 w 1315"/>
                <a:gd name="T27" fmla="*/ 229 h 891"/>
                <a:gd name="T28" fmla="*/ 1038 w 1315"/>
                <a:gd name="T29" fmla="*/ 183 h 891"/>
                <a:gd name="T30" fmla="*/ 1108 w 1315"/>
                <a:gd name="T31" fmla="*/ 130 h 891"/>
                <a:gd name="T32" fmla="*/ 1175 w 1315"/>
                <a:gd name="T33" fmla="*/ 69 h 891"/>
                <a:gd name="T34" fmla="*/ 1239 w 1315"/>
                <a:gd name="T35" fmla="*/ 0 h 891"/>
                <a:gd name="T36" fmla="*/ 1271 w 1315"/>
                <a:gd name="T37" fmla="*/ 77 h 891"/>
                <a:gd name="T38" fmla="*/ 1294 w 1315"/>
                <a:gd name="T39" fmla="*/ 156 h 891"/>
                <a:gd name="T40" fmla="*/ 1310 w 1315"/>
                <a:gd name="T41" fmla="*/ 236 h 891"/>
                <a:gd name="T42" fmla="*/ 1315 w 1315"/>
                <a:gd name="T43" fmla="*/ 317 h 891"/>
                <a:gd name="T44" fmla="*/ 1315 w 1315"/>
                <a:gd name="T45" fmla="*/ 329 h 891"/>
                <a:gd name="T46" fmla="*/ 1313 w 1315"/>
                <a:gd name="T47" fmla="*/ 343 h 891"/>
                <a:gd name="T48" fmla="*/ 1310 w 1315"/>
                <a:gd name="T49" fmla="*/ 362 h 891"/>
                <a:gd name="T50" fmla="*/ 1303 w 1315"/>
                <a:gd name="T51" fmla="*/ 385 h 891"/>
                <a:gd name="T52" fmla="*/ 1295 w 1315"/>
                <a:gd name="T53" fmla="*/ 410 h 891"/>
                <a:gd name="T54" fmla="*/ 1284 w 1315"/>
                <a:gd name="T55" fmla="*/ 438 h 891"/>
                <a:gd name="T56" fmla="*/ 1268 w 1315"/>
                <a:gd name="T57" fmla="*/ 470 h 891"/>
                <a:gd name="T58" fmla="*/ 1247 w 1315"/>
                <a:gd name="T59" fmla="*/ 502 h 891"/>
                <a:gd name="T60" fmla="*/ 1222 w 1315"/>
                <a:gd name="T61" fmla="*/ 537 h 891"/>
                <a:gd name="T62" fmla="*/ 1191 w 1315"/>
                <a:gd name="T63" fmla="*/ 574 h 891"/>
                <a:gd name="T64" fmla="*/ 1155 w 1315"/>
                <a:gd name="T65" fmla="*/ 612 h 891"/>
                <a:gd name="T66" fmla="*/ 1110 w 1315"/>
                <a:gd name="T67" fmla="*/ 651 h 891"/>
                <a:gd name="T68" fmla="*/ 1058 w 1315"/>
                <a:gd name="T69" fmla="*/ 691 h 891"/>
                <a:gd name="T70" fmla="*/ 999 w 1315"/>
                <a:gd name="T71" fmla="*/ 731 h 891"/>
                <a:gd name="T72" fmla="*/ 932 w 1315"/>
                <a:gd name="T73" fmla="*/ 772 h 891"/>
                <a:gd name="T74" fmla="*/ 855 w 1315"/>
                <a:gd name="T75" fmla="*/ 812 h 891"/>
                <a:gd name="T76" fmla="*/ 770 w 1315"/>
                <a:gd name="T77" fmla="*/ 852 h 891"/>
                <a:gd name="T78" fmla="*/ 674 w 1315"/>
                <a:gd name="T79" fmla="*/ 891 h 891"/>
                <a:gd name="T80" fmla="*/ 640 w 1315"/>
                <a:gd name="T81" fmla="*/ 891 h 891"/>
                <a:gd name="T82" fmla="*/ 544 w 1315"/>
                <a:gd name="T83" fmla="*/ 852 h 891"/>
                <a:gd name="T84" fmla="*/ 458 w 1315"/>
                <a:gd name="T85" fmla="*/ 812 h 891"/>
                <a:gd name="T86" fmla="*/ 383 w 1315"/>
                <a:gd name="T87" fmla="*/ 772 h 891"/>
                <a:gd name="T88" fmla="*/ 315 w 1315"/>
                <a:gd name="T89" fmla="*/ 731 h 891"/>
                <a:gd name="T90" fmla="*/ 256 w 1315"/>
                <a:gd name="T91" fmla="*/ 691 h 891"/>
                <a:gd name="T92" fmla="*/ 205 w 1315"/>
                <a:gd name="T93" fmla="*/ 651 h 891"/>
                <a:gd name="T94" fmla="*/ 160 w 1315"/>
                <a:gd name="T95" fmla="*/ 612 h 891"/>
                <a:gd name="T96" fmla="*/ 123 w 1315"/>
                <a:gd name="T97" fmla="*/ 574 h 891"/>
                <a:gd name="T98" fmla="*/ 93 w 1315"/>
                <a:gd name="T99" fmla="*/ 537 h 891"/>
                <a:gd name="T100" fmla="*/ 67 w 1315"/>
                <a:gd name="T101" fmla="*/ 502 h 891"/>
                <a:gd name="T102" fmla="*/ 46 w 1315"/>
                <a:gd name="T103" fmla="*/ 470 h 891"/>
                <a:gd name="T104" fmla="*/ 30 w 1315"/>
                <a:gd name="T105" fmla="*/ 438 h 891"/>
                <a:gd name="T106" fmla="*/ 19 w 1315"/>
                <a:gd name="T107" fmla="*/ 410 h 891"/>
                <a:gd name="T108" fmla="*/ 11 w 1315"/>
                <a:gd name="T109" fmla="*/ 385 h 891"/>
                <a:gd name="T110" fmla="*/ 5 w 1315"/>
                <a:gd name="T111" fmla="*/ 362 h 891"/>
                <a:gd name="T112" fmla="*/ 2 w 1315"/>
                <a:gd name="T113" fmla="*/ 343 h 891"/>
                <a:gd name="T114" fmla="*/ 0 w 1315"/>
                <a:gd name="T115" fmla="*/ 329 h 891"/>
                <a:gd name="T116" fmla="*/ 0 w 1315"/>
                <a:gd name="T117" fmla="*/ 317 h 891"/>
                <a:gd name="T118" fmla="*/ 6 w 1315"/>
                <a:gd name="T119" fmla="*/ 236 h 891"/>
                <a:gd name="T120" fmla="*/ 21 w 1315"/>
                <a:gd name="T121" fmla="*/ 156 h 891"/>
                <a:gd name="T122" fmla="*/ 45 w 1315"/>
                <a:gd name="T123" fmla="*/ 77 h 891"/>
                <a:gd name="T124" fmla="*/ 75 w 1315"/>
                <a:gd name="T125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891">
                  <a:moveTo>
                    <a:pt x="75" y="0"/>
                  </a:moveTo>
                  <a:lnTo>
                    <a:pt x="131" y="61"/>
                  </a:lnTo>
                  <a:lnTo>
                    <a:pt x="190" y="116"/>
                  </a:lnTo>
                  <a:lnTo>
                    <a:pt x="251" y="165"/>
                  </a:lnTo>
                  <a:lnTo>
                    <a:pt x="315" y="208"/>
                  </a:lnTo>
                  <a:lnTo>
                    <a:pt x="379" y="244"/>
                  </a:lnTo>
                  <a:lnTo>
                    <a:pt x="447" y="274"/>
                  </a:lnTo>
                  <a:lnTo>
                    <a:pt x="516" y="295"/>
                  </a:lnTo>
                  <a:lnTo>
                    <a:pt x="586" y="308"/>
                  </a:lnTo>
                  <a:lnTo>
                    <a:pt x="656" y="313"/>
                  </a:lnTo>
                  <a:lnTo>
                    <a:pt x="737" y="308"/>
                  </a:lnTo>
                  <a:lnTo>
                    <a:pt x="815" y="292"/>
                  </a:lnTo>
                  <a:lnTo>
                    <a:pt x="890" y="265"/>
                  </a:lnTo>
                  <a:lnTo>
                    <a:pt x="966" y="229"/>
                  </a:lnTo>
                  <a:lnTo>
                    <a:pt x="1038" y="183"/>
                  </a:lnTo>
                  <a:lnTo>
                    <a:pt x="1108" y="130"/>
                  </a:lnTo>
                  <a:lnTo>
                    <a:pt x="1175" y="69"/>
                  </a:lnTo>
                  <a:lnTo>
                    <a:pt x="1239" y="0"/>
                  </a:lnTo>
                  <a:lnTo>
                    <a:pt x="1271" y="77"/>
                  </a:lnTo>
                  <a:lnTo>
                    <a:pt x="1294" y="156"/>
                  </a:lnTo>
                  <a:lnTo>
                    <a:pt x="1310" y="236"/>
                  </a:lnTo>
                  <a:lnTo>
                    <a:pt x="1315" y="317"/>
                  </a:lnTo>
                  <a:lnTo>
                    <a:pt x="1315" y="329"/>
                  </a:lnTo>
                  <a:lnTo>
                    <a:pt x="1313" y="343"/>
                  </a:lnTo>
                  <a:lnTo>
                    <a:pt x="1310" y="362"/>
                  </a:lnTo>
                  <a:lnTo>
                    <a:pt x="1303" y="385"/>
                  </a:lnTo>
                  <a:lnTo>
                    <a:pt x="1295" y="410"/>
                  </a:lnTo>
                  <a:lnTo>
                    <a:pt x="1284" y="438"/>
                  </a:lnTo>
                  <a:lnTo>
                    <a:pt x="1268" y="470"/>
                  </a:lnTo>
                  <a:lnTo>
                    <a:pt x="1247" y="502"/>
                  </a:lnTo>
                  <a:lnTo>
                    <a:pt x="1222" y="537"/>
                  </a:lnTo>
                  <a:lnTo>
                    <a:pt x="1191" y="574"/>
                  </a:lnTo>
                  <a:lnTo>
                    <a:pt x="1155" y="612"/>
                  </a:lnTo>
                  <a:lnTo>
                    <a:pt x="1110" y="651"/>
                  </a:lnTo>
                  <a:lnTo>
                    <a:pt x="1058" y="691"/>
                  </a:lnTo>
                  <a:lnTo>
                    <a:pt x="999" y="731"/>
                  </a:lnTo>
                  <a:lnTo>
                    <a:pt x="932" y="772"/>
                  </a:lnTo>
                  <a:lnTo>
                    <a:pt x="855" y="812"/>
                  </a:lnTo>
                  <a:lnTo>
                    <a:pt x="770" y="852"/>
                  </a:lnTo>
                  <a:lnTo>
                    <a:pt x="674" y="891"/>
                  </a:lnTo>
                  <a:lnTo>
                    <a:pt x="640" y="891"/>
                  </a:lnTo>
                  <a:lnTo>
                    <a:pt x="544" y="852"/>
                  </a:lnTo>
                  <a:lnTo>
                    <a:pt x="458" y="812"/>
                  </a:lnTo>
                  <a:lnTo>
                    <a:pt x="383" y="772"/>
                  </a:lnTo>
                  <a:lnTo>
                    <a:pt x="315" y="731"/>
                  </a:lnTo>
                  <a:lnTo>
                    <a:pt x="256" y="691"/>
                  </a:lnTo>
                  <a:lnTo>
                    <a:pt x="205" y="651"/>
                  </a:lnTo>
                  <a:lnTo>
                    <a:pt x="160" y="612"/>
                  </a:lnTo>
                  <a:lnTo>
                    <a:pt x="123" y="574"/>
                  </a:lnTo>
                  <a:lnTo>
                    <a:pt x="93" y="537"/>
                  </a:lnTo>
                  <a:lnTo>
                    <a:pt x="67" y="502"/>
                  </a:lnTo>
                  <a:lnTo>
                    <a:pt x="46" y="470"/>
                  </a:lnTo>
                  <a:lnTo>
                    <a:pt x="30" y="438"/>
                  </a:lnTo>
                  <a:lnTo>
                    <a:pt x="19" y="410"/>
                  </a:lnTo>
                  <a:lnTo>
                    <a:pt x="11" y="385"/>
                  </a:lnTo>
                  <a:lnTo>
                    <a:pt x="5" y="362"/>
                  </a:lnTo>
                  <a:lnTo>
                    <a:pt x="2" y="343"/>
                  </a:lnTo>
                  <a:lnTo>
                    <a:pt x="0" y="329"/>
                  </a:lnTo>
                  <a:lnTo>
                    <a:pt x="0" y="317"/>
                  </a:lnTo>
                  <a:lnTo>
                    <a:pt x="6" y="236"/>
                  </a:lnTo>
                  <a:lnTo>
                    <a:pt x="21" y="156"/>
                  </a:lnTo>
                  <a:lnTo>
                    <a:pt x="45" y="7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Freeform 10"/>
            <p:cNvSpPr>
              <a:spLocks/>
            </p:cNvSpPr>
            <p:nvPr/>
          </p:nvSpPr>
          <p:spPr bwMode="auto">
            <a:xfrm>
              <a:off x="2095022" y="2579841"/>
              <a:ext cx="137056" cy="67675"/>
            </a:xfrm>
            <a:custGeom>
              <a:avLst/>
              <a:gdLst>
                <a:gd name="T0" fmla="*/ 361 w 723"/>
                <a:gd name="T1" fmla="*/ 0 h 357"/>
                <a:gd name="T2" fmla="*/ 368 w 723"/>
                <a:gd name="T3" fmla="*/ 0 h 357"/>
                <a:gd name="T4" fmla="*/ 382 w 723"/>
                <a:gd name="T5" fmla="*/ 1 h 357"/>
                <a:gd name="T6" fmla="*/ 406 w 723"/>
                <a:gd name="T7" fmla="*/ 4 h 357"/>
                <a:gd name="T8" fmla="*/ 438 w 723"/>
                <a:gd name="T9" fmla="*/ 9 h 357"/>
                <a:gd name="T10" fmla="*/ 477 w 723"/>
                <a:gd name="T11" fmla="*/ 16 h 357"/>
                <a:gd name="T12" fmla="*/ 520 w 723"/>
                <a:gd name="T13" fmla="*/ 25 h 357"/>
                <a:gd name="T14" fmla="*/ 566 w 723"/>
                <a:gd name="T15" fmla="*/ 36 h 357"/>
                <a:gd name="T16" fmla="*/ 618 w 723"/>
                <a:gd name="T17" fmla="*/ 51 h 357"/>
                <a:gd name="T18" fmla="*/ 671 w 723"/>
                <a:gd name="T19" fmla="*/ 70 h 357"/>
                <a:gd name="T20" fmla="*/ 723 w 723"/>
                <a:gd name="T21" fmla="*/ 91 h 357"/>
                <a:gd name="T22" fmla="*/ 590 w 723"/>
                <a:gd name="T23" fmla="*/ 357 h 357"/>
                <a:gd name="T24" fmla="*/ 132 w 723"/>
                <a:gd name="T25" fmla="*/ 357 h 357"/>
                <a:gd name="T26" fmla="*/ 0 w 723"/>
                <a:gd name="T27" fmla="*/ 91 h 357"/>
                <a:gd name="T28" fmla="*/ 54 w 723"/>
                <a:gd name="T29" fmla="*/ 70 h 357"/>
                <a:gd name="T30" fmla="*/ 108 w 723"/>
                <a:gd name="T31" fmla="*/ 51 h 357"/>
                <a:gd name="T32" fmla="*/ 160 w 723"/>
                <a:gd name="T33" fmla="*/ 36 h 357"/>
                <a:gd name="T34" fmla="*/ 206 w 723"/>
                <a:gd name="T35" fmla="*/ 25 h 357"/>
                <a:gd name="T36" fmla="*/ 249 w 723"/>
                <a:gd name="T37" fmla="*/ 16 h 357"/>
                <a:gd name="T38" fmla="*/ 288 w 723"/>
                <a:gd name="T39" fmla="*/ 9 h 357"/>
                <a:gd name="T40" fmla="*/ 318 w 723"/>
                <a:gd name="T41" fmla="*/ 4 h 357"/>
                <a:gd name="T42" fmla="*/ 342 w 723"/>
                <a:gd name="T43" fmla="*/ 1 h 357"/>
                <a:gd name="T44" fmla="*/ 357 w 723"/>
                <a:gd name="T45" fmla="*/ 0 h 357"/>
                <a:gd name="T46" fmla="*/ 361 w 723"/>
                <a:gd name="T4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3" h="357">
                  <a:moveTo>
                    <a:pt x="361" y="0"/>
                  </a:moveTo>
                  <a:lnTo>
                    <a:pt x="368" y="0"/>
                  </a:lnTo>
                  <a:lnTo>
                    <a:pt x="382" y="1"/>
                  </a:lnTo>
                  <a:lnTo>
                    <a:pt x="406" y="4"/>
                  </a:lnTo>
                  <a:lnTo>
                    <a:pt x="438" y="9"/>
                  </a:lnTo>
                  <a:lnTo>
                    <a:pt x="477" y="16"/>
                  </a:lnTo>
                  <a:lnTo>
                    <a:pt x="520" y="25"/>
                  </a:lnTo>
                  <a:lnTo>
                    <a:pt x="566" y="36"/>
                  </a:lnTo>
                  <a:lnTo>
                    <a:pt x="618" y="51"/>
                  </a:lnTo>
                  <a:lnTo>
                    <a:pt x="671" y="70"/>
                  </a:lnTo>
                  <a:lnTo>
                    <a:pt x="723" y="91"/>
                  </a:lnTo>
                  <a:lnTo>
                    <a:pt x="590" y="357"/>
                  </a:lnTo>
                  <a:lnTo>
                    <a:pt x="132" y="357"/>
                  </a:lnTo>
                  <a:lnTo>
                    <a:pt x="0" y="91"/>
                  </a:lnTo>
                  <a:lnTo>
                    <a:pt x="54" y="70"/>
                  </a:lnTo>
                  <a:lnTo>
                    <a:pt x="108" y="51"/>
                  </a:lnTo>
                  <a:lnTo>
                    <a:pt x="160" y="36"/>
                  </a:lnTo>
                  <a:lnTo>
                    <a:pt x="206" y="25"/>
                  </a:lnTo>
                  <a:lnTo>
                    <a:pt x="249" y="16"/>
                  </a:lnTo>
                  <a:lnTo>
                    <a:pt x="288" y="9"/>
                  </a:lnTo>
                  <a:lnTo>
                    <a:pt x="318" y="4"/>
                  </a:lnTo>
                  <a:lnTo>
                    <a:pt x="342" y="1"/>
                  </a:lnTo>
                  <a:lnTo>
                    <a:pt x="357" y="0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auto">
            <a:xfrm>
              <a:off x="2092157" y="2645767"/>
              <a:ext cx="141985" cy="216105"/>
            </a:xfrm>
            <a:custGeom>
              <a:avLst/>
              <a:gdLst>
                <a:gd name="T0" fmla="*/ 145 w 749"/>
                <a:gd name="T1" fmla="*/ 0 h 1140"/>
                <a:gd name="T2" fmla="*/ 603 w 749"/>
                <a:gd name="T3" fmla="*/ 0 h 1140"/>
                <a:gd name="T4" fmla="*/ 749 w 749"/>
                <a:gd name="T5" fmla="*/ 1114 h 1140"/>
                <a:gd name="T6" fmla="*/ 562 w 749"/>
                <a:gd name="T7" fmla="*/ 1134 h 1140"/>
                <a:gd name="T8" fmla="*/ 373 w 749"/>
                <a:gd name="T9" fmla="*/ 1140 h 1140"/>
                <a:gd name="T10" fmla="*/ 246 w 749"/>
                <a:gd name="T11" fmla="*/ 1137 h 1140"/>
                <a:gd name="T12" fmla="*/ 121 w 749"/>
                <a:gd name="T13" fmla="*/ 1129 h 1140"/>
                <a:gd name="T14" fmla="*/ 0 w 749"/>
                <a:gd name="T15" fmla="*/ 1114 h 1140"/>
                <a:gd name="T16" fmla="*/ 145 w 749"/>
                <a:gd name="T17" fmla="*/ 0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9" h="1140">
                  <a:moveTo>
                    <a:pt x="145" y="0"/>
                  </a:moveTo>
                  <a:lnTo>
                    <a:pt x="603" y="0"/>
                  </a:lnTo>
                  <a:lnTo>
                    <a:pt x="749" y="1114"/>
                  </a:lnTo>
                  <a:lnTo>
                    <a:pt x="562" y="1134"/>
                  </a:lnTo>
                  <a:lnTo>
                    <a:pt x="373" y="1140"/>
                  </a:lnTo>
                  <a:lnTo>
                    <a:pt x="246" y="1137"/>
                  </a:lnTo>
                  <a:lnTo>
                    <a:pt x="121" y="1129"/>
                  </a:lnTo>
                  <a:lnTo>
                    <a:pt x="0" y="1114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" name="Freeform 12"/>
            <p:cNvSpPr>
              <a:spLocks/>
            </p:cNvSpPr>
            <p:nvPr/>
          </p:nvSpPr>
          <p:spPr bwMode="auto">
            <a:xfrm>
              <a:off x="2163455" y="2468566"/>
              <a:ext cx="157340" cy="186722"/>
            </a:xfrm>
            <a:custGeom>
              <a:avLst/>
              <a:gdLst>
                <a:gd name="T0" fmla="*/ 699 w 830"/>
                <a:gd name="T1" fmla="*/ 26 h 985"/>
                <a:gd name="T2" fmla="*/ 760 w 830"/>
                <a:gd name="T3" fmla="*/ 95 h 985"/>
                <a:gd name="T4" fmla="*/ 801 w 830"/>
                <a:gd name="T5" fmla="*/ 180 h 985"/>
                <a:gd name="T6" fmla="*/ 824 w 830"/>
                <a:gd name="T7" fmla="*/ 276 h 985"/>
                <a:gd name="T8" fmla="*/ 830 w 830"/>
                <a:gd name="T9" fmla="*/ 382 h 985"/>
                <a:gd name="T10" fmla="*/ 825 w 830"/>
                <a:gd name="T11" fmla="*/ 491 h 985"/>
                <a:gd name="T12" fmla="*/ 811 w 830"/>
                <a:gd name="T13" fmla="*/ 599 h 985"/>
                <a:gd name="T14" fmla="*/ 790 w 830"/>
                <a:gd name="T15" fmla="*/ 702 h 985"/>
                <a:gd name="T16" fmla="*/ 766 w 830"/>
                <a:gd name="T17" fmla="*/ 796 h 985"/>
                <a:gd name="T18" fmla="*/ 744 w 830"/>
                <a:gd name="T19" fmla="*/ 875 h 985"/>
                <a:gd name="T20" fmla="*/ 721 w 830"/>
                <a:gd name="T21" fmla="*/ 937 h 985"/>
                <a:gd name="T22" fmla="*/ 707 w 830"/>
                <a:gd name="T23" fmla="*/ 974 h 985"/>
                <a:gd name="T24" fmla="*/ 700 w 830"/>
                <a:gd name="T25" fmla="*/ 985 h 985"/>
                <a:gd name="T26" fmla="*/ 638 w 830"/>
                <a:gd name="T27" fmla="*/ 880 h 985"/>
                <a:gd name="T28" fmla="*/ 556 w 830"/>
                <a:gd name="T29" fmla="*/ 795 h 985"/>
                <a:gd name="T30" fmla="*/ 463 w 830"/>
                <a:gd name="T31" fmla="*/ 728 h 985"/>
                <a:gd name="T32" fmla="*/ 364 w 830"/>
                <a:gd name="T33" fmla="*/ 676 h 985"/>
                <a:gd name="T34" fmla="*/ 266 w 830"/>
                <a:gd name="T35" fmla="*/ 639 h 985"/>
                <a:gd name="T36" fmla="*/ 173 w 830"/>
                <a:gd name="T37" fmla="*/ 614 h 985"/>
                <a:gd name="T38" fmla="*/ 97 w 830"/>
                <a:gd name="T39" fmla="*/ 598 h 985"/>
                <a:gd name="T40" fmla="*/ 37 w 830"/>
                <a:gd name="T41" fmla="*/ 590 h 985"/>
                <a:gd name="T42" fmla="*/ 5 w 830"/>
                <a:gd name="T43" fmla="*/ 587 h 985"/>
                <a:gd name="T44" fmla="*/ 98 w 830"/>
                <a:gd name="T45" fmla="*/ 548 h 985"/>
                <a:gd name="T46" fmla="*/ 265 w 830"/>
                <a:gd name="T47" fmla="*/ 468 h 985"/>
                <a:gd name="T48" fmla="*/ 393 w 830"/>
                <a:gd name="T49" fmla="*/ 388 h 985"/>
                <a:gd name="T50" fmla="*/ 491 w 830"/>
                <a:gd name="T51" fmla="*/ 308 h 985"/>
                <a:gd name="T52" fmla="*/ 561 w 830"/>
                <a:gd name="T53" fmla="*/ 233 h 985"/>
                <a:gd name="T54" fmla="*/ 609 w 830"/>
                <a:gd name="T55" fmla="*/ 164 h 985"/>
                <a:gd name="T56" fmla="*/ 638 w 830"/>
                <a:gd name="T57" fmla="*/ 104 h 985"/>
                <a:gd name="T58" fmla="*/ 652 w 830"/>
                <a:gd name="T59" fmla="*/ 56 h 985"/>
                <a:gd name="T60" fmla="*/ 659 w 830"/>
                <a:gd name="T61" fmla="*/ 21 h 985"/>
                <a:gd name="T62" fmla="*/ 659 w 830"/>
                <a:gd name="T63" fmla="*/ 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659" y="0"/>
                  </a:moveTo>
                  <a:lnTo>
                    <a:pt x="699" y="26"/>
                  </a:lnTo>
                  <a:lnTo>
                    <a:pt x="732" y="58"/>
                  </a:lnTo>
                  <a:lnTo>
                    <a:pt x="760" y="95"/>
                  </a:lnTo>
                  <a:lnTo>
                    <a:pt x="784" y="135"/>
                  </a:lnTo>
                  <a:lnTo>
                    <a:pt x="801" y="180"/>
                  </a:lnTo>
                  <a:lnTo>
                    <a:pt x="814" y="226"/>
                  </a:lnTo>
                  <a:lnTo>
                    <a:pt x="824" y="276"/>
                  </a:lnTo>
                  <a:lnTo>
                    <a:pt x="828" y="329"/>
                  </a:lnTo>
                  <a:lnTo>
                    <a:pt x="830" y="382"/>
                  </a:lnTo>
                  <a:lnTo>
                    <a:pt x="828" y="436"/>
                  </a:lnTo>
                  <a:lnTo>
                    <a:pt x="825" y="491"/>
                  </a:lnTo>
                  <a:lnTo>
                    <a:pt x="819" y="545"/>
                  </a:lnTo>
                  <a:lnTo>
                    <a:pt x="811" y="599"/>
                  </a:lnTo>
                  <a:lnTo>
                    <a:pt x="801" y="652"/>
                  </a:lnTo>
                  <a:lnTo>
                    <a:pt x="790" y="702"/>
                  </a:lnTo>
                  <a:lnTo>
                    <a:pt x="779" y="750"/>
                  </a:lnTo>
                  <a:lnTo>
                    <a:pt x="766" y="796"/>
                  </a:lnTo>
                  <a:lnTo>
                    <a:pt x="755" y="838"/>
                  </a:lnTo>
                  <a:lnTo>
                    <a:pt x="744" y="875"/>
                  </a:lnTo>
                  <a:lnTo>
                    <a:pt x="732" y="909"/>
                  </a:lnTo>
                  <a:lnTo>
                    <a:pt x="721" y="937"/>
                  </a:lnTo>
                  <a:lnTo>
                    <a:pt x="713" y="958"/>
                  </a:lnTo>
                  <a:lnTo>
                    <a:pt x="707" y="974"/>
                  </a:lnTo>
                  <a:lnTo>
                    <a:pt x="702" y="984"/>
                  </a:lnTo>
                  <a:lnTo>
                    <a:pt x="700" y="985"/>
                  </a:lnTo>
                  <a:lnTo>
                    <a:pt x="671" y="931"/>
                  </a:lnTo>
                  <a:lnTo>
                    <a:pt x="638" y="880"/>
                  </a:lnTo>
                  <a:lnTo>
                    <a:pt x="599" y="835"/>
                  </a:lnTo>
                  <a:lnTo>
                    <a:pt x="556" y="795"/>
                  </a:lnTo>
                  <a:lnTo>
                    <a:pt x="511" y="760"/>
                  </a:lnTo>
                  <a:lnTo>
                    <a:pt x="463" y="728"/>
                  </a:lnTo>
                  <a:lnTo>
                    <a:pt x="414" y="700"/>
                  </a:lnTo>
                  <a:lnTo>
                    <a:pt x="364" y="676"/>
                  </a:lnTo>
                  <a:lnTo>
                    <a:pt x="314" y="655"/>
                  </a:lnTo>
                  <a:lnTo>
                    <a:pt x="266" y="639"/>
                  </a:lnTo>
                  <a:lnTo>
                    <a:pt x="218" y="625"/>
                  </a:lnTo>
                  <a:lnTo>
                    <a:pt x="173" y="614"/>
                  </a:lnTo>
                  <a:lnTo>
                    <a:pt x="133" y="606"/>
                  </a:lnTo>
                  <a:lnTo>
                    <a:pt x="97" y="598"/>
                  </a:lnTo>
                  <a:lnTo>
                    <a:pt x="65" y="593"/>
                  </a:lnTo>
                  <a:lnTo>
                    <a:pt x="37" y="590"/>
                  </a:lnTo>
                  <a:lnTo>
                    <a:pt x="18" y="588"/>
                  </a:lnTo>
                  <a:lnTo>
                    <a:pt x="5" y="587"/>
                  </a:lnTo>
                  <a:lnTo>
                    <a:pt x="0" y="587"/>
                  </a:lnTo>
                  <a:lnTo>
                    <a:pt x="98" y="548"/>
                  </a:lnTo>
                  <a:lnTo>
                    <a:pt x="186" y="508"/>
                  </a:lnTo>
                  <a:lnTo>
                    <a:pt x="265" y="468"/>
                  </a:lnTo>
                  <a:lnTo>
                    <a:pt x="334" y="428"/>
                  </a:lnTo>
                  <a:lnTo>
                    <a:pt x="393" y="388"/>
                  </a:lnTo>
                  <a:lnTo>
                    <a:pt x="446" y="348"/>
                  </a:lnTo>
                  <a:lnTo>
                    <a:pt x="491" y="308"/>
                  </a:lnTo>
                  <a:lnTo>
                    <a:pt x="529" y="271"/>
                  </a:lnTo>
                  <a:lnTo>
                    <a:pt x="561" y="233"/>
                  </a:lnTo>
                  <a:lnTo>
                    <a:pt x="587" y="197"/>
                  </a:lnTo>
                  <a:lnTo>
                    <a:pt x="609" y="164"/>
                  </a:lnTo>
                  <a:lnTo>
                    <a:pt x="625" y="133"/>
                  </a:lnTo>
                  <a:lnTo>
                    <a:pt x="638" y="104"/>
                  </a:lnTo>
                  <a:lnTo>
                    <a:pt x="646" y="79"/>
                  </a:lnTo>
                  <a:lnTo>
                    <a:pt x="652" y="56"/>
                  </a:lnTo>
                  <a:lnTo>
                    <a:pt x="655" y="36"/>
                  </a:lnTo>
                  <a:lnTo>
                    <a:pt x="659" y="21"/>
                  </a:lnTo>
                  <a:lnTo>
                    <a:pt x="659" y="10"/>
                  </a:lnTo>
                  <a:lnTo>
                    <a:pt x="659" y="2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1" name="Freeform 13"/>
            <p:cNvSpPr>
              <a:spLocks/>
            </p:cNvSpPr>
            <p:nvPr/>
          </p:nvSpPr>
          <p:spPr bwMode="auto">
            <a:xfrm>
              <a:off x="2006874" y="2468566"/>
              <a:ext cx="157340" cy="186722"/>
            </a:xfrm>
            <a:custGeom>
              <a:avLst/>
              <a:gdLst>
                <a:gd name="T0" fmla="*/ 170 w 830"/>
                <a:gd name="T1" fmla="*/ 2 h 985"/>
                <a:gd name="T2" fmla="*/ 170 w 830"/>
                <a:gd name="T3" fmla="*/ 21 h 985"/>
                <a:gd name="T4" fmla="*/ 176 w 830"/>
                <a:gd name="T5" fmla="*/ 56 h 985"/>
                <a:gd name="T6" fmla="*/ 191 w 830"/>
                <a:gd name="T7" fmla="*/ 104 h 985"/>
                <a:gd name="T8" fmla="*/ 220 w 830"/>
                <a:gd name="T9" fmla="*/ 164 h 985"/>
                <a:gd name="T10" fmla="*/ 268 w 830"/>
                <a:gd name="T11" fmla="*/ 233 h 985"/>
                <a:gd name="T12" fmla="*/ 338 w 830"/>
                <a:gd name="T13" fmla="*/ 308 h 985"/>
                <a:gd name="T14" fmla="*/ 436 w 830"/>
                <a:gd name="T15" fmla="*/ 388 h 985"/>
                <a:gd name="T16" fmla="*/ 567 w 830"/>
                <a:gd name="T17" fmla="*/ 468 h 985"/>
                <a:gd name="T18" fmla="*/ 734 w 830"/>
                <a:gd name="T19" fmla="*/ 548 h 985"/>
                <a:gd name="T20" fmla="*/ 826 w 830"/>
                <a:gd name="T21" fmla="*/ 587 h 985"/>
                <a:gd name="T22" fmla="*/ 794 w 830"/>
                <a:gd name="T23" fmla="*/ 590 h 985"/>
                <a:gd name="T24" fmla="*/ 735 w 830"/>
                <a:gd name="T25" fmla="*/ 599 h 985"/>
                <a:gd name="T26" fmla="*/ 657 w 830"/>
                <a:gd name="T27" fmla="*/ 615 h 985"/>
                <a:gd name="T28" fmla="*/ 565 w 830"/>
                <a:gd name="T29" fmla="*/ 641 h 985"/>
                <a:gd name="T30" fmla="*/ 466 w 830"/>
                <a:gd name="T31" fmla="*/ 678 h 985"/>
                <a:gd name="T32" fmla="*/ 367 w 830"/>
                <a:gd name="T33" fmla="*/ 729 h 985"/>
                <a:gd name="T34" fmla="*/ 274 w 830"/>
                <a:gd name="T35" fmla="*/ 796 h 985"/>
                <a:gd name="T36" fmla="*/ 194 w 830"/>
                <a:gd name="T37" fmla="*/ 881 h 985"/>
                <a:gd name="T38" fmla="*/ 131 w 830"/>
                <a:gd name="T39" fmla="*/ 985 h 985"/>
                <a:gd name="T40" fmla="*/ 125 w 830"/>
                <a:gd name="T41" fmla="*/ 974 h 985"/>
                <a:gd name="T42" fmla="*/ 109 w 830"/>
                <a:gd name="T43" fmla="*/ 936 h 985"/>
                <a:gd name="T44" fmla="*/ 88 w 830"/>
                <a:gd name="T45" fmla="*/ 873 h 985"/>
                <a:gd name="T46" fmla="*/ 64 w 830"/>
                <a:gd name="T47" fmla="*/ 795 h 985"/>
                <a:gd name="T48" fmla="*/ 40 w 830"/>
                <a:gd name="T49" fmla="*/ 700 h 985"/>
                <a:gd name="T50" fmla="*/ 19 w 830"/>
                <a:gd name="T51" fmla="*/ 598 h 985"/>
                <a:gd name="T52" fmla="*/ 5 w 830"/>
                <a:gd name="T53" fmla="*/ 489 h 985"/>
                <a:gd name="T54" fmla="*/ 0 w 830"/>
                <a:gd name="T55" fmla="*/ 382 h 985"/>
                <a:gd name="T56" fmla="*/ 7 w 830"/>
                <a:gd name="T57" fmla="*/ 276 h 985"/>
                <a:gd name="T58" fmla="*/ 29 w 830"/>
                <a:gd name="T59" fmla="*/ 178 h 985"/>
                <a:gd name="T60" fmla="*/ 69 w 830"/>
                <a:gd name="T61" fmla="*/ 93 h 985"/>
                <a:gd name="T62" fmla="*/ 130 w 830"/>
                <a:gd name="T63" fmla="*/ 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170" y="0"/>
                  </a:moveTo>
                  <a:lnTo>
                    <a:pt x="170" y="2"/>
                  </a:lnTo>
                  <a:lnTo>
                    <a:pt x="170" y="10"/>
                  </a:lnTo>
                  <a:lnTo>
                    <a:pt x="170" y="21"/>
                  </a:lnTo>
                  <a:lnTo>
                    <a:pt x="172" y="36"/>
                  </a:lnTo>
                  <a:lnTo>
                    <a:pt x="176" y="56"/>
                  </a:lnTo>
                  <a:lnTo>
                    <a:pt x="183" y="79"/>
                  </a:lnTo>
                  <a:lnTo>
                    <a:pt x="191" y="104"/>
                  </a:lnTo>
                  <a:lnTo>
                    <a:pt x="204" y="133"/>
                  </a:lnTo>
                  <a:lnTo>
                    <a:pt x="220" y="164"/>
                  </a:lnTo>
                  <a:lnTo>
                    <a:pt x="242" y="197"/>
                  </a:lnTo>
                  <a:lnTo>
                    <a:pt x="268" y="233"/>
                  </a:lnTo>
                  <a:lnTo>
                    <a:pt x="300" y="271"/>
                  </a:lnTo>
                  <a:lnTo>
                    <a:pt x="338" y="308"/>
                  </a:lnTo>
                  <a:lnTo>
                    <a:pt x="385" y="348"/>
                  </a:lnTo>
                  <a:lnTo>
                    <a:pt x="436" y="388"/>
                  </a:lnTo>
                  <a:lnTo>
                    <a:pt x="497" y="428"/>
                  </a:lnTo>
                  <a:lnTo>
                    <a:pt x="567" y="468"/>
                  </a:lnTo>
                  <a:lnTo>
                    <a:pt x="646" y="508"/>
                  </a:lnTo>
                  <a:lnTo>
                    <a:pt x="734" y="548"/>
                  </a:lnTo>
                  <a:lnTo>
                    <a:pt x="830" y="587"/>
                  </a:lnTo>
                  <a:lnTo>
                    <a:pt x="826" y="587"/>
                  </a:lnTo>
                  <a:lnTo>
                    <a:pt x="814" y="588"/>
                  </a:lnTo>
                  <a:lnTo>
                    <a:pt x="794" y="590"/>
                  </a:lnTo>
                  <a:lnTo>
                    <a:pt x="767" y="593"/>
                  </a:lnTo>
                  <a:lnTo>
                    <a:pt x="735" y="599"/>
                  </a:lnTo>
                  <a:lnTo>
                    <a:pt x="698" y="606"/>
                  </a:lnTo>
                  <a:lnTo>
                    <a:pt x="657" y="615"/>
                  </a:lnTo>
                  <a:lnTo>
                    <a:pt x="612" y="627"/>
                  </a:lnTo>
                  <a:lnTo>
                    <a:pt x="565" y="641"/>
                  </a:lnTo>
                  <a:lnTo>
                    <a:pt x="516" y="659"/>
                  </a:lnTo>
                  <a:lnTo>
                    <a:pt x="466" y="678"/>
                  </a:lnTo>
                  <a:lnTo>
                    <a:pt x="417" y="702"/>
                  </a:lnTo>
                  <a:lnTo>
                    <a:pt x="367" y="729"/>
                  </a:lnTo>
                  <a:lnTo>
                    <a:pt x="320" y="761"/>
                  </a:lnTo>
                  <a:lnTo>
                    <a:pt x="274" y="796"/>
                  </a:lnTo>
                  <a:lnTo>
                    <a:pt x="232" y="836"/>
                  </a:lnTo>
                  <a:lnTo>
                    <a:pt x="194" y="881"/>
                  </a:lnTo>
                  <a:lnTo>
                    <a:pt x="160" y="931"/>
                  </a:lnTo>
                  <a:lnTo>
                    <a:pt x="131" y="985"/>
                  </a:lnTo>
                  <a:lnTo>
                    <a:pt x="130" y="984"/>
                  </a:lnTo>
                  <a:lnTo>
                    <a:pt x="125" y="974"/>
                  </a:lnTo>
                  <a:lnTo>
                    <a:pt x="119" y="958"/>
                  </a:lnTo>
                  <a:lnTo>
                    <a:pt x="109" y="936"/>
                  </a:lnTo>
                  <a:lnTo>
                    <a:pt x="99" y="907"/>
                  </a:lnTo>
                  <a:lnTo>
                    <a:pt x="88" y="873"/>
                  </a:lnTo>
                  <a:lnTo>
                    <a:pt x="75" y="836"/>
                  </a:lnTo>
                  <a:lnTo>
                    <a:pt x="64" y="795"/>
                  </a:lnTo>
                  <a:lnTo>
                    <a:pt x="51" y="748"/>
                  </a:lnTo>
                  <a:lnTo>
                    <a:pt x="40" y="700"/>
                  </a:lnTo>
                  <a:lnTo>
                    <a:pt x="29" y="651"/>
                  </a:lnTo>
                  <a:lnTo>
                    <a:pt x="19" y="598"/>
                  </a:lnTo>
                  <a:lnTo>
                    <a:pt x="11" y="543"/>
                  </a:lnTo>
                  <a:lnTo>
                    <a:pt x="5" y="489"/>
                  </a:lnTo>
                  <a:lnTo>
                    <a:pt x="2" y="434"/>
                  </a:lnTo>
                  <a:lnTo>
                    <a:pt x="0" y="382"/>
                  </a:lnTo>
                  <a:lnTo>
                    <a:pt x="2" y="327"/>
                  </a:lnTo>
                  <a:lnTo>
                    <a:pt x="7" y="276"/>
                  </a:lnTo>
                  <a:lnTo>
                    <a:pt x="16" y="226"/>
                  </a:lnTo>
                  <a:lnTo>
                    <a:pt x="29" y="178"/>
                  </a:lnTo>
                  <a:lnTo>
                    <a:pt x="47" y="135"/>
                  </a:lnTo>
                  <a:lnTo>
                    <a:pt x="69" y="93"/>
                  </a:lnTo>
                  <a:lnTo>
                    <a:pt x="96" y="58"/>
                  </a:lnTo>
                  <a:lnTo>
                    <a:pt x="130" y="26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Freeform 14"/>
            <p:cNvSpPr>
              <a:spLocks/>
            </p:cNvSpPr>
            <p:nvPr/>
          </p:nvSpPr>
          <p:spPr bwMode="auto">
            <a:xfrm>
              <a:off x="2047061" y="2409990"/>
              <a:ext cx="233355" cy="74499"/>
            </a:xfrm>
            <a:custGeom>
              <a:avLst/>
              <a:gdLst>
                <a:gd name="T0" fmla="*/ 33 w 1231"/>
                <a:gd name="T1" fmla="*/ 0 h 393"/>
                <a:gd name="T2" fmla="*/ 89 w 1231"/>
                <a:gd name="T3" fmla="*/ 61 h 393"/>
                <a:gd name="T4" fmla="*/ 148 w 1231"/>
                <a:gd name="T5" fmla="*/ 116 h 393"/>
                <a:gd name="T6" fmla="*/ 209 w 1231"/>
                <a:gd name="T7" fmla="*/ 165 h 393"/>
                <a:gd name="T8" fmla="*/ 273 w 1231"/>
                <a:gd name="T9" fmla="*/ 208 h 393"/>
                <a:gd name="T10" fmla="*/ 337 w 1231"/>
                <a:gd name="T11" fmla="*/ 244 h 393"/>
                <a:gd name="T12" fmla="*/ 405 w 1231"/>
                <a:gd name="T13" fmla="*/ 274 h 393"/>
                <a:gd name="T14" fmla="*/ 474 w 1231"/>
                <a:gd name="T15" fmla="*/ 295 h 393"/>
                <a:gd name="T16" fmla="*/ 544 w 1231"/>
                <a:gd name="T17" fmla="*/ 308 h 393"/>
                <a:gd name="T18" fmla="*/ 614 w 1231"/>
                <a:gd name="T19" fmla="*/ 313 h 393"/>
                <a:gd name="T20" fmla="*/ 687 w 1231"/>
                <a:gd name="T21" fmla="*/ 308 h 393"/>
                <a:gd name="T22" fmla="*/ 757 w 1231"/>
                <a:gd name="T23" fmla="*/ 295 h 393"/>
                <a:gd name="T24" fmla="*/ 826 w 1231"/>
                <a:gd name="T25" fmla="*/ 274 h 393"/>
                <a:gd name="T26" fmla="*/ 892 w 1231"/>
                <a:gd name="T27" fmla="*/ 245 h 393"/>
                <a:gd name="T28" fmla="*/ 957 w 1231"/>
                <a:gd name="T29" fmla="*/ 210 h 393"/>
                <a:gd name="T30" fmla="*/ 1021 w 1231"/>
                <a:gd name="T31" fmla="*/ 167 h 393"/>
                <a:gd name="T32" fmla="*/ 1082 w 1231"/>
                <a:gd name="T33" fmla="*/ 117 h 393"/>
                <a:gd name="T34" fmla="*/ 1141 w 1231"/>
                <a:gd name="T35" fmla="*/ 61 h 393"/>
                <a:gd name="T36" fmla="*/ 1197 w 1231"/>
                <a:gd name="T37" fmla="*/ 0 h 393"/>
                <a:gd name="T38" fmla="*/ 1217 w 1231"/>
                <a:gd name="T39" fmla="*/ 40 h 393"/>
                <a:gd name="T40" fmla="*/ 1231 w 1231"/>
                <a:gd name="T41" fmla="*/ 84 h 393"/>
                <a:gd name="T42" fmla="*/ 1172 w 1231"/>
                <a:gd name="T43" fmla="*/ 144 h 393"/>
                <a:gd name="T44" fmla="*/ 1109 w 1231"/>
                <a:gd name="T45" fmla="*/ 199 h 393"/>
                <a:gd name="T46" fmla="*/ 1045 w 1231"/>
                <a:gd name="T47" fmla="*/ 247 h 393"/>
                <a:gd name="T48" fmla="*/ 980 w 1231"/>
                <a:gd name="T49" fmla="*/ 290 h 393"/>
                <a:gd name="T50" fmla="*/ 911 w 1231"/>
                <a:gd name="T51" fmla="*/ 325 h 393"/>
                <a:gd name="T52" fmla="*/ 840 w 1231"/>
                <a:gd name="T53" fmla="*/ 354 h 393"/>
                <a:gd name="T54" fmla="*/ 767 w 1231"/>
                <a:gd name="T55" fmla="*/ 375 h 393"/>
                <a:gd name="T56" fmla="*/ 691 w 1231"/>
                <a:gd name="T57" fmla="*/ 388 h 393"/>
                <a:gd name="T58" fmla="*/ 614 w 1231"/>
                <a:gd name="T59" fmla="*/ 393 h 393"/>
                <a:gd name="T60" fmla="*/ 538 w 1231"/>
                <a:gd name="T61" fmla="*/ 388 h 393"/>
                <a:gd name="T62" fmla="*/ 464 w 1231"/>
                <a:gd name="T63" fmla="*/ 375 h 393"/>
                <a:gd name="T64" fmla="*/ 390 w 1231"/>
                <a:gd name="T65" fmla="*/ 354 h 393"/>
                <a:gd name="T66" fmla="*/ 320 w 1231"/>
                <a:gd name="T67" fmla="*/ 325 h 393"/>
                <a:gd name="T68" fmla="*/ 251 w 1231"/>
                <a:gd name="T69" fmla="*/ 290 h 393"/>
                <a:gd name="T70" fmla="*/ 185 w 1231"/>
                <a:gd name="T71" fmla="*/ 247 h 393"/>
                <a:gd name="T72" fmla="*/ 121 w 1231"/>
                <a:gd name="T73" fmla="*/ 199 h 393"/>
                <a:gd name="T74" fmla="*/ 59 w 1231"/>
                <a:gd name="T75" fmla="*/ 144 h 393"/>
                <a:gd name="T76" fmla="*/ 0 w 1231"/>
                <a:gd name="T77" fmla="*/ 84 h 393"/>
                <a:gd name="T78" fmla="*/ 14 w 1231"/>
                <a:gd name="T79" fmla="*/ 40 h 393"/>
                <a:gd name="T80" fmla="*/ 33 w 1231"/>
                <a:gd name="T81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1" h="393">
                  <a:moveTo>
                    <a:pt x="33" y="0"/>
                  </a:moveTo>
                  <a:lnTo>
                    <a:pt x="89" y="61"/>
                  </a:lnTo>
                  <a:lnTo>
                    <a:pt x="148" y="116"/>
                  </a:lnTo>
                  <a:lnTo>
                    <a:pt x="209" y="165"/>
                  </a:lnTo>
                  <a:lnTo>
                    <a:pt x="273" y="208"/>
                  </a:lnTo>
                  <a:lnTo>
                    <a:pt x="337" y="244"/>
                  </a:lnTo>
                  <a:lnTo>
                    <a:pt x="405" y="274"/>
                  </a:lnTo>
                  <a:lnTo>
                    <a:pt x="474" y="295"/>
                  </a:lnTo>
                  <a:lnTo>
                    <a:pt x="544" y="308"/>
                  </a:lnTo>
                  <a:lnTo>
                    <a:pt x="614" y="313"/>
                  </a:lnTo>
                  <a:lnTo>
                    <a:pt x="687" y="308"/>
                  </a:lnTo>
                  <a:lnTo>
                    <a:pt x="757" y="295"/>
                  </a:lnTo>
                  <a:lnTo>
                    <a:pt x="826" y="274"/>
                  </a:lnTo>
                  <a:lnTo>
                    <a:pt x="892" y="245"/>
                  </a:lnTo>
                  <a:lnTo>
                    <a:pt x="957" y="210"/>
                  </a:lnTo>
                  <a:lnTo>
                    <a:pt x="1021" y="167"/>
                  </a:lnTo>
                  <a:lnTo>
                    <a:pt x="1082" y="117"/>
                  </a:lnTo>
                  <a:lnTo>
                    <a:pt x="1141" y="61"/>
                  </a:lnTo>
                  <a:lnTo>
                    <a:pt x="1197" y="0"/>
                  </a:lnTo>
                  <a:lnTo>
                    <a:pt x="1217" y="40"/>
                  </a:lnTo>
                  <a:lnTo>
                    <a:pt x="1231" y="84"/>
                  </a:lnTo>
                  <a:lnTo>
                    <a:pt x="1172" y="144"/>
                  </a:lnTo>
                  <a:lnTo>
                    <a:pt x="1109" y="199"/>
                  </a:lnTo>
                  <a:lnTo>
                    <a:pt x="1045" y="247"/>
                  </a:lnTo>
                  <a:lnTo>
                    <a:pt x="980" y="290"/>
                  </a:lnTo>
                  <a:lnTo>
                    <a:pt x="911" y="325"/>
                  </a:lnTo>
                  <a:lnTo>
                    <a:pt x="840" y="354"/>
                  </a:lnTo>
                  <a:lnTo>
                    <a:pt x="767" y="375"/>
                  </a:lnTo>
                  <a:lnTo>
                    <a:pt x="691" y="388"/>
                  </a:lnTo>
                  <a:lnTo>
                    <a:pt x="614" y="393"/>
                  </a:lnTo>
                  <a:lnTo>
                    <a:pt x="538" y="388"/>
                  </a:lnTo>
                  <a:lnTo>
                    <a:pt x="464" y="375"/>
                  </a:lnTo>
                  <a:lnTo>
                    <a:pt x="390" y="354"/>
                  </a:lnTo>
                  <a:lnTo>
                    <a:pt x="320" y="325"/>
                  </a:lnTo>
                  <a:lnTo>
                    <a:pt x="251" y="290"/>
                  </a:lnTo>
                  <a:lnTo>
                    <a:pt x="185" y="247"/>
                  </a:lnTo>
                  <a:lnTo>
                    <a:pt x="121" y="199"/>
                  </a:lnTo>
                  <a:lnTo>
                    <a:pt x="59" y="144"/>
                  </a:lnTo>
                  <a:lnTo>
                    <a:pt x="0" y="84"/>
                  </a:lnTo>
                  <a:lnTo>
                    <a:pt x="14" y="4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6D1A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3" name="Freeform 15"/>
            <p:cNvSpPr>
              <a:spLocks/>
            </p:cNvSpPr>
            <p:nvPr/>
          </p:nvSpPr>
          <p:spPr bwMode="auto">
            <a:xfrm>
              <a:off x="1933133" y="2066877"/>
              <a:ext cx="460834" cy="401689"/>
            </a:xfrm>
            <a:custGeom>
              <a:avLst/>
              <a:gdLst>
                <a:gd name="T0" fmla="*/ 543 w 2431"/>
                <a:gd name="T1" fmla="*/ 10 h 2119"/>
                <a:gd name="T2" fmla="*/ 567 w 2431"/>
                <a:gd name="T3" fmla="*/ 50 h 2119"/>
                <a:gd name="T4" fmla="*/ 613 w 2431"/>
                <a:gd name="T5" fmla="*/ 112 h 2119"/>
                <a:gd name="T6" fmla="*/ 685 w 2431"/>
                <a:gd name="T7" fmla="*/ 181 h 2119"/>
                <a:gd name="T8" fmla="*/ 785 w 2431"/>
                <a:gd name="T9" fmla="*/ 244 h 2119"/>
                <a:gd name="T10" fmla="*/ 913 w 2431"/>
                <a:gd name="T11" fmla="*/ 287 h 2119"/>
                <a:gd name="T12" fmla="*/ 1070 w 2431"/>
                <a:gd name="T13" fmla="*/ 298 h 2119"/>
                <a:gd name="T14" fmla="*/ 1262 w 2431"/>
                <a:gd name="T15" fmla="*/ 260 h 2119"/>
                <a:gd name="T16" fmla="*/ 1486 w 2431"/>
                <a:gd name="T17" fmla="*/ 162 h 2119"/>
                <a:gd name="T18" fmla="*/ 1584 w 2431"/>
                <a:gd name="T19" fmla="*/ 242 h 2119"/>
                <a:gd name="T20" fmla="*/ 1770 w 2431"/>
                <a:gd name="T21" fmla="*/ 247 h 2119"/>
                <a:gd name="T22" fmla="*/ 1911 w 2431"/>
                <a:gd name="T23" fmla="*/ 297 h 2119"/>
                <a:gd name="T24" fmla="*/ 2011 w 2431"/>
                <a:gd name="T25" fmla="*/ 378 h 2119"/>
                <a:gd name="T26" fmla="*/ 2080 w 2431"/>
                <a:gd name="T27" fmla="*/ 487 h 2119"/>
                <a:gd name="T28" fmla="*/ 2119 w 2431"/>
                <a:gd name="T29" fmla="*/ 612 h 2119"/>
                <a:gd name="T30" fmla="*/ 2135 w 2431"/>
                <a:gd name="T31" fmla="*/ 745 h 2119"/>
                <a:gd name="T32" fmla="*/ 2135 w 2431"/>
                <a:gd name="T33" fmla="*/ 878 h 2119"/>
                <a:gd name="T34" fmla="*/ 2123 w 2431"/>
                <a:gd name="T35" fmla="*/ 1000 h 2119"/>
                <a:gd name="T36" fmla="*/ 2107 w 2431"/>
                <a:gd name="T37" fmla="*/ 1106 h 2119"/>
                <a:gd name="T38" fmla="*/ 2090 w 2431"/>
                <a:gd name="T39" fmla="*/ 1184 h 2119"/>
                <a:gd name="T40" fmla="*/ 2079 w 2431"/>
                <a:gd name="T41" fmla="*/ 1227 h 2119"/>
                <a:gd name="T42" fmla="*/ 2192 w 2431"/>
                <a:gd name="T43" fmla="*/ 1064 h 2119"/>
                <a:gd name="T44" fmla="*/ 2303 w 2431"/>
                <a:gd name="T45" fmla="*/ 820 h 2119"/>
                <a:gd name="T46" fmla="*/ 2352 w 2431"/>
                <a:gd name="T47" fmla="*/ 836 h 2119"/>
                <a:gd name="T48" fmla="*/ 2417 w 2431"/>
                <a:gd name="T49" fmla="*/ 912 h 2119"/>
                <a:gd name="T50" fmla="*/ 2431 w 2431"/>
                <a:gd name="T51" fmla="*/ 1025 h 2119"/>
                <a:gd name="T52" fmla="*/ 2399 w 2431"/>
                <a:gd name="T53" fmla="*/ 1163 h 2119"/>
                <a:gd name="T54" fmla="*/ 2322 w 2431"/>
                <a:gd name="T55" fmla="*/ 1304 h 2119"/>
                <a:gd name="T56" fmla="*/ 2215 w 2431"/>
                <a:gd name="T57" fmla="*/ 1413 h 2119"/>
                <a:gd name="T58" fmla="*/ 2103 w 2431"/>
                <a:gd name="T59" fmla="*/ 1469 h 2119"/>
                <a:gd name="T60" fmla="*/ 1984 w 2431"/>
                <a:gd name="T61" fmla="*/ 1557 h 2119"/>
                <a:gd name="T62" fmla="*/ 1822 w 2431"/>
                <a:gd name="T63" fmla="*/ 1783 h 2119"/>
                <a:gd name="T64" fmla="*/ 1638 w 2431"/>
                <a:gd name="T65" fmla="*/ 1961 h 2119"/>
                <a:gd name="T66" fmla="*/ 1435 w 2431"/>
                <a:gd name="T67" fmla="*/ 2078 h 2119"/>
                <a:gd name="T68" fmla="*/ 1215 w 2431"/>
                <a:gd name="T69" fmla="*/ 2119 h 2119"/>
                <a:gd name="T70" fmla="*/ 998 w 2431"/>
                <a:gd name="T71" fmla="*/ 2076 h 2119"/>
                <a:gd name="T72" fmla="*/ 794 w 2431"/>
                <a:gd name="T73" fmla="*/ 1959 h 2119"/>
                <a:gd name="T74" fmla="*/ 609 w 2431"/>
                <a:gd name="T75" fmla="*/ 1781 h 2119"/>
                <a:gd name="T76" fmla="*/ 448 w 2431"/>
                <a:gd name="T77" fmla="*/ 1557 h 2119"/>
                <a:gd name="T78" fmla="*/ 320 w 2431"/>
                <a:gd name="T79" fmla="*/ 1466 h 2119"/>
                <a:gd name="T80" fmla="*/ 194 w 2431"/>
                <a:gd name="T81" fmla="*/ 1392 h 2119"/>
                <a:gd name="T82" fmla="*/ 80 w 2431"/>
                <a:gd name="T83" fmla="*/ 1258 h 2119"/>
                <a:gd name="T84" fmla="*/ 18 w 2431"/>
                <a:gd name="T85" fmla="*/ 1117 h 2119"/>
                <a:gd name="T86" fmla="*/ 0 w 2431"/>
                <a:gd name="T87" fmla="*/ 985 h 2119"/>
                <a:gd name="T88" fmla="*/ 27 w 2431"/>
                <a:gd name="T89" fmla="*/ 883 h 2119"/>
                <a:gd name="T90" fmla="*/ 98 w 2431"/>
                <a:gd name="T91" fmla="*/ 827 h 2119"/>
                <a:gd name="T92" fmla="*/ 171 w 2431"/>
                <a:gd name="T93" fmla="*/ 870 h 2119"/>
                <a:gd name="T94" fmla="*/ 235 w 2431"/>
                <a:gd name="T95" fmla="*/ 990 h 2119"/>
                <a:gd name="T96" fmla="*/ 287 w 2431"/>
                <a:gd name="T97" fmla="*/ 1067 h 2119"/>
                <a:gd name="T98" fmla="*/ 309 w 2431"/>
                <a:gd name="T99" fmla="*/ 1094 h 2119"/>
                <a:gd name="T100" fmla="*/ 295 w 2431"/>
                <a:gd name="T101" fmla="*/ 902 h 2119"/>
                <a:gd name="T102" fmla="*/ 320 w 2431"/>
                <a:gd name="T103" fmla="*/ 748 h 2119"/>
                <a:gd name="T104" fmla="*/ 372 w 2431"/>
                <a:gd name="T105" fmla="*/ 619 h 2119"/>
                <a:gd name="T106" fmla="*/ 434 w 2431"/>
                <a:gd name="T107" fmla="*/ 500 h 2119"/>
                <a:gd name="T108" fmla="*/ 493 w 2431"/>
                <a:gd name="T109" fmla="*/ 378 h 2119"/>
                <a:gd name="T110" fmla="*/ 535 w 2431"/>
                <a:gd name="T111" fmla="*/ 239 h 2119"/>
                <a:gd name="T112" fmla="*/ 545 w 2431"/>
                <a:gd name="T113" fmla="*/ 68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31" h="2119">
                  <a:moveTo>
                    <a:pt x="538" y="0"/>
                  </a:moveTo>
                  <a:lnTo>
                    <a:pt x="540" y="2"/>
                  </a:lnTo>
                  <a:lnTo>
                    <a:pt x="543" y="10"/>
                  </a:lnTo>
                  <a:lnTo>
                    <a:pt x="548" y="20"/>
                  </a:lnTo>
                  <a:lnTo>
                    <a:pt x="556" y="34"/>
                  </a:lnTo>
                  <a:lnTo>
                    <a:pt x="567" y="50"/>
                  </a:lnTo>
                  <a:lnTo>
                    <a:pt x="580" y="69"/>
                  </a:lnTo>
                  <a:lnTo>
                    <a:pt x="596" y="90"/>
                  </a:lnTo>
                  <a:lnTo>
                    <a:pt x="613" y="112"/>
                  </a:lnTo>
                  <a:lnTo>
                    <a:pt x="634" y="135"/>
                  </a:lnTo>
                  <a:lnTo>
                    <a:pt x="658" y="159"/>
                  </a:lnTo>
                  <a:lnTo>
                    <a:pt x="685" y="181"/>
                  </a:lnTo>
                  <a:lnTo>
                    <a:pt x="716" y="204"/>
                  </a:lnTo>
                  <a:lnTo>
                    <a:pt x="748" y="225"/>
                  </a:lnTo>
                  <a:lnTo>
                    <a:pt x="785" y="244"/>
                  </a:lnTo>
                  <a:lnTo>
                    <a:pt x="823" y="261"/>
                  </a:lnTo>
                  <a:lnTo>
                    <a:pt x="866" y="276"/>
                  </a:lnTo>
                  <a:lnTo>
                    <a:pt x="913" y="287"/>
                  </a:lnTo>
                  <a:lnTo>
                    <a:pt x="961" y="295"/>
                  </a:lnTo>
                  <a:lnTo>
                    <a:pt x="1014" y="298"/>
                  </a:lnTo>
                  <a:lnTo>
                    <a:pt x="1070" y="298"/>
                  </a:lnTo>
                  <a:lnTo>
                    <a:pt x="1131" y="292"/>
                  </a:lnTo>
                  <a:lnTo>
                    <a:pt x="1193" y="279"/>
                  </a:lnTo>
                  <a:lnTo>
                    <a:pt x="1262" y="260"/>
                  </a:lnTo>
                  <a:lnTo>
                    <a:pt x="1332" y="236"/>
                  </a:lnTo>
                  <a:lnTo>
                    <a:pt x="1408" y="202"/>
                  </a:lnTo>
                  <a:lnTo>
                    <a:pt x="1486" y="162"/>
                  </a:lnTo>
                  <a:lnTo>
                    <a:pt x="1433" y="266"/>
                  </a:lnTo>
                  <a:lnTo>
                    <a:pt x="1512" y="252"/>
                  </a:lnTo>
                  <a:lnTo>
                    <a:pt x="1584" y="242"/>
                  </a:lnTo>
                  <a:lnTo>
                    <a:pt x="1651" y="239"/>
                  </a:lnTo>
                  <a:lnTo>
                    <a:pt x="1714" y="241"/>
                  </a:lnTo>
                  <a:lnTo>
                    <a:pt x="1770" y="247"/>
                  </a:lnTo>
                  <a:lnTo>
                    <a:pt x="1822" y="260"/>
                  </a:lnTo>
                  <a:lnTo>
                    <a:pt x="1869" y="276"/>
                  </a:lnTo>
                  <a:lnTo>
                    <a:pt x="1911" y="297"/>
                  </a:lnTo>
                  <a:lnTo>
                    <a:pt x="1949" y="321"/>
                  </a:lnTo>
                  <a:lnTo>
                    <a:pt x="1983" y="348"/>
                  </a:lnTo>
                  <a:lnTo>
                    <a:pt x="2011" y="378"/>
                  </a:lnTo>
                  <a:lnTo>
                    <a:pt x="2039" y="412"/>
                  </a:lnTo>
                  <a:lnTo>
                    <a:pt x="2061" y="449"/>
                  </a:lnTo>
                  <a:lnTo>
                    <a:pt x="2080" y="487"/>
                  </a:lnTo>
                  <a:lnTo>
                    <a:pt x="2095" y="527"/>
                  </a:lnTo>
                  <a:lnTo>
                    <a:pt x="2109" y="569"/>
                  </a:lnTo>
                  <a:lnTo>
                    <a:pt x="2119" y="612"/>
                  </a:lnTo>
                  <a:lnTo>
                    <a:pt x="2127" y="655"/>
                  </a:lnTo>
                  <a:lnTo>
                    <a:pt x="2131" y="700"/>
                  </a:lnTo>
                  <a:lnTo>
                    <a:pt x="2135" y="745"/>
                  </a:lnTo>
                  <a:lnTo>
                    <a:pt x="2136" y="790"/>
                  </a:lnTo>
                  <a:lnTo>
                    <a:pt x="2136" y="833"/>
                  </a:lnTo>
                  <a:lnTo>
                    <a:pt x="2135" y="878"/>
                  </a:lnTo>
                  <a:lnTo>
                    <a:pt x="2131" y="920"/>
                  </a:lnTo>
                  <a:lnTo>
                    <a:pt x="2128" y="961"/>
                  </a:lnTo>
                  <a:lnTo>
                    <a:pt x="2123" y="1000"/>
                  </a:lnTo>
                  <a:lnTo>
                    <a:pt x="2119" y="1038"/>
                  </a:lnTo>
                  <a:lnTo>
                    <a:pt x="2112" y="1073"/>
                  </a:lnTo>
                  <a:lnTo>
                    <a:pt x="2107" y="1106"/>
                  </a:lnTo>
                  <a:lnTo>
                    <a:pt x="2101" y="1136"/>
                  </a:lnTo>
                  <a:lnTo>
                    <a:pt x="2095" y="1162"/>
                  </a:lnTo>
                  <a:lnTo>
                    <a:pt x="2090" y="1184"/>
                  </a:lnTo>
                  <a:lnTo>
                    <a:pt x="2085" y="1203"/>
                  </a:lnTo>
                  <a:lnTo>
                    <a:pt x="2082" y="1218"/>
                  </a:lnTo>
                  <a:lnTo>
                    <a:pt x="2079" y="1227"/>
                  </a:lnTo>
                  <a:lnTo>
                    <a:pt x="2077" y="1232"/>
                  </a:lnTo>
                  <a:lnTo>
                    <a:pt x="2140" y="1147"/>
                  </a:lnTo>
                  <a:lnTo>
                    <a:pt x="2192" y="1064"/>
                  </a:lnTo>
                  <a:lnTo>
                    <a:pt x="2237" y="981"/>
                  </a:lnTo>
                  <a:lnTo>
                    <a:pt x="2274" y="899"/>
                  </a:lnTo>
                  <a:lnTo>
                    <a:pt x="2303" y="820"/>
                  </a:lnTo>
                  <a:lnTo>
                    <a:pt x="2320" y="822"/>
                  </a:lnTo>
                  <a:lnTo>
                    <a:pt x="2338" y="828"/>
                  </a:lnTo>
                  <a:lnTo>
                    <a:pt x="2352" y="836"/>
                  </a:lnTo>
                  <a:lnTo>
                    <a:pt x="2378" y="856"/>
                  </a:lnTo>
                  <a:lnTo>
                    <a:pt x="2401" y="881"/>
                  </a:lnTo>
                  <a:lnTo>
                    <a:pt x="2417" y="912"/>
                  </a:lnTo>
                  <a:lnTo>
                    <a:pt x="2426" y="945"/>
                  </a:lnTo>
                  <a:lnTo>
                    <a:pt x="2431" y="984"/>
                  </a:lnTo>
                  <a:lnTo>
                    <a:pt x="2431" y="1025"/>
                  </a:lnTo>
                  <a:lnTo>
                    <a:pt x="2426" y="1070"/>
                  </a:lnTo>
                  <a:lnTo>
                    <a:pt x="2415" y="1117"/>
                  </a:lnTo>
                  <a:lnTo>
                    <a:pt x="2399" y="1163"/>
                  </a:lnTo>
                  <a:lnTo>
                    <a:pt x="2378" y="1210"/>
                  </a:lnTo>
                  <a:lnTo>
                    <a:pt x="2352" y="1258"/>
                  </a:lnTo>
                  <a:lnTo>
                    <a:pt x="2322" y="1304"/>
                  </a:lnTo>
                  <a:lnTo>
                    <a:pt x="2288" y="1346"/>
                  </a:lnTo>
                  <a:lnTo>
                    <a:pt x="2253" y="1381"/>
                  </a:lnTo>
                  <a:lnTo>
                    <a:pt x="2215" y="1413"/>
                  </a:lnTo>
                  <a:lnTo>
                    <a:pt x="2178" y="1439"/>
                  </a:lnTo>
                  <a:lnTo>
                    <a:pt x="2140" y="1458"/>
                  </a:lnTo>
                  <a:lnTo>
                    <a:pt x="2103" y="1469"/>
                  </a:lnTo>
                  <a:lnTo>
                    <a:pt x="2066" y="1476"/>
                  </a:lnTo>
                  <a:lnTo>
                    <a:pt x="2032" y="1474"/>
                  </a:lnTo>
                  <a:lnTo>
                    <a:pt x="1984" y="1557"/>
                  </a:lnTo>
                  <a:lnTo>
                    <a:pt x="1933" y="1637"/>
                  </a:lnTo>
                  <a:lnTo>
                    <a:pt x="1880" y="1713"/>
                  </a:lnTo>
                  <a:lnTo>
                    <a:pt x="1822" y="1783"/>
                  </a:lnTo>
                  <a:lnTo>
                    <a:pt x="1763" y="1849"/>
                  </a:lnTo>
                  <a:lnTo>
                    <a:pt x="1702" y="1908"/>
                  </a:lnTo>
                  <a:lnTo>
                    <a:pt x="1638" y="1961"/>
                  </a:lnTo>
                  <a:lnTo>
                    <a:pt x="1573" y="2007"/>
                  </a:lnTo>
                  <a:lnTo>
                    <a:pt x="1505" y="2046"/>
                  </a:lnTo>
                  <a:lnTo>
                    <a:pt x="1435" y="2078"/>
                  </a:lnTo>
                  <a:lnTo>
                    <a:pt x="1363" y="2100"/>
                  </a:lnTo>
                  <a:lnTo>
                    <a:pt x="1291" y="2115"/>
                  </a:lnTo>
                  <a:lnTo>
                    <a:pt x="1215" y="2119"/>
                  </a:lnTo>
                  <a:lnTo>
                    <a:pt x="1142" y="2115"/>
                  </a:lnTo>
                  <a:lnTo>
                    <a:pt x="1068" y="2100"/>
                  </a:lnTo>
                  <a:lnTo>
                    <a:pt x="998" y="2076"/>
                  </a:lnTo>
                  <a:lnTo>
                    <a:pt x="927" y="2046"/>
                  </a:lnTo>
                  <a:lnTo>
                    <a:pt x="860" y="2006"/>
                  </a:lnTo>
                  <a:lnTo>
                    <a:pt x="794" y="1959"/>
                  </a:lnTo>
                  <a:lnTo>
                    <a:pt x="730" y="1906"/>
                  </a:lnTo>
                  <a:lnTo>
                    <a:pt x="668" y="1847"/>
                  </a:lnTo>
                  <a:lnTo>
                    <a:pt x="609" y="1781"/>
                  </a:lnTo>
                  <a:lnTo>
                    <a:pt x="553" y="1711"/>
                  </a:lnTo>
                  <a:lnTo>
                    <a:pt x="500" y="1636"/>
                  </a:lnTo>
                  <a:lnTo>
                    <a:pt x="448" y="1557"/>
                  </a:lnTo>
                  <a:lnTo>
                    <a:pt x="400" y="1474"/>
                  </a:lnTo>
                  <a:lnTo>
                    <a:pt x="362" y="1474"/>
                  </a:lnTo>
                  <a:lnTo>
                    <a:pt x="320" y="1466"/>
                  </a:lnTo>
                  <a:lnTo>
                    <a:pt x="279" y="1448"/>
                  </a:lnTo>
                  <a:lnTo>
                    <a:pt x="235" y="1424"/>
                  </a:lnTo>
                  <a:lnTo>
                    <a:pt x="194" y="1392"/>
                  </a:lnTo>
                  <a:lnTo>
                    <a:pt x="154" y="1354"/>
                  </a:lnTo>
                  <a:lnTo>
                    <a:pt x="115" y="1309"/>
                  </a:lnTo>
                  <a:lnTo>
                    <a:pt x="80" y="1258"/>
                  </a:lnTo>
                  <a:lnTo>
                    <a:pt x="54" y="1210"/>
                  </a:lnTo>
                  <a:lnTo>
                    <a:pt x="34" y="1163"/>
                  </a:lnTo>
                  <a:lnTo>
                    <a:pt x="18" y="1117"/>
                  </a:lnTo>
                  <a:lnTo>
                    <a:pt x="6" y="1072"/>
                  </a:lnTo>
                  <a:lnTo>
                    <a:pt x="0" y="1027"/>
                  </a:lnTo>
                  <a:lnTo>
                    <a:pt x="0" y="985"/>
                  </a:lnTo>
                  <a:lnTo>
                    <a:pt x="3" y="947"/>
                  </a:lnTo>
                  <a:lnTo>
                    <a:pt x="13" y="913"/>
                  </a:lnTo>
                  <a:lnTo>
                    <a:pt x="27" y="883"/>
                  </a:lnTo>
                  <a:lnTo>
                    <a:pt x="46" y="857"/>
                  </a:lnTo>
                  <a:lnTo>
                    <a:pt x="72" y="836"/>
                  </a:lnTo>
                  <a:lnTo>
                    <a:pt x="98" y="827"/>
                  </a:lnTo>
                  <a:lnTo>
                    <a:pt x="123" y="820"/>
                  </a:lnTo>
                  <a:lnTo>
                    <a:pt x="151" y="820"/>
                  </a:lnTo>
                  <a:lnTo>
                    <a:pt x="171" y="870"/>
                  </a:lnTo>
                  <a:lnTo>
                    <a:pt x="192" y="915"/>
                  </a:lnTo>
                  <a:lnTo>
                    <a:pt x="215" y="955"/>
                  </a:lnTo>
                  <a:lnTo>
                    <a:pt x="235" y="990"/>
                  </a:lnTo>
                  <a:lnTo>
                    <a:pt x="255" y="1022"/>
                  </a:lnTo>
                  <a:lnTo>
                    <a:pt x="272" y="1048"/>
                  </a:lnTo>
                  <a:lnTo>
                    <a:pt x="287" y="1067"/>
                  </a:lnTo>
                  <a:lnTo>
                    <a:pt x="299" y="1083"/>
                  </a:lnTo>
                  <a:lnTo>
                    <a:pt x="306" y="1091"/>
                  </a:lnTo>
                  <a:lnTo>
                    <a:pt x="309" y="1094"/>
                  </a:lnTo>
                  <a:lnTo>
                    <a:pt x="299" y="1025"/>
                  </a:lnTo>
                  <a:lnTo>
                    <a:pt x="295" y="961"/>
                  </a:lnTo>
                  <a:lnTo>
                    <a:pt x="295" y="902"/>
                  </a:lnTo>
                  <a:lnTo>
                    <a:pt x="299" y="848"/>
                  </a:lnTo>
                  <a:lnTo>
                    <a:pt x="308" y="796"/>
                  </a:lnTo>
                  <a:lnTo>
                    <a:pt x="320" y="748"/>
                  </a:lnTo>
                  <a:lnTo>
                    <a:pt x="335" y="703"/>
                  </a:lnTo>
                  <a:lnTo>
                    <a:pt x="352" y="660"/>
                  </a:lnTo>
                  <a:lnTo>
                    <a:pt x="372" y="619"/>
                  </a:lnTo>
                  <a:lnTo>
                    <a:pt x="391" y="579"/>
                  </a:lnTo>
                  <a:lnTo>
                    <a:pt x="413" y="540"/>
                  </a:lnTo>
                  <a:lnTo>
                    <a:pt x="434" y="500"/>
                  </a:lnTo>
                  <a:lnTo>
                    <a:pt x="455" y="460"/>
                  </a:lnTo>
                  <a:lnTo>
                    <a:pt x="474" y="420"/>
                  </a:lnTo>
                  <a:lnTo>
                    <a:pt x="493" y="378"/>
                  </a:lnTo>
                  <a:lnTo>
                    <a:pt x="509" y="333"/>
                  </a:lnTo>
                  <a:lnTo>
                    <a:pt x="524" y="287"/>
                  </a:lnTo>
                  <a:lnTo>
                    <a:pt x="535" y="239"/>
                  </a:lnTo>
                  <a:lnTo>
                    <a:pt x="541" y="185"/>
                  </a:lnTo>
                  <a:lnTo>
                    <a:pt x="546" y="128"/>
                  </a:lnTo>
                  <a:lnTo>
                    <a:pt x="545" y="68"/>
                  </a:lnTo>
                  <a:lnTo>
                    <a:pt x="538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" name="Freeform 16"/>
            <p:cNvSpPr>
              <a:spLocks/>
            </p:cNvSpPr>
            <p:nvPr/>
          </p:nvSpPr>
          <p:spPr bwMode="auto">
            <a:xfrm>
              <a:off x="1934080" y="1914845"/>
              <a:ext cx="460455" cy="385576"/>
            </a:xfrm>
            <a:custGeom>
              <a:avLst/>
              <a:gdLst>
                <a:gd name="T0" fmla="*/ 1419 w 2429"/>
                <a:gd name="T1" fmla="*/ 19 h 2034"/>
                <a:gd name="T2" fmla="*/ 1268 w 2429"/>
                <a:gd name="T3" fmla="*/ 45 h 2034"/>
                <a:gd name="T4" fmla="*/ 1057 w 2429"/>
                <a:gd name="T5" fmla="*/ 168 h 2034"/>
                <a:gd name="T6" fmla="*/ 1175 w 2429"/>
                <a:gd name="T7" fmla="*/ 128 h 2034"/>
                <a:gd name="T8" fmla="*/ 1414 w 2429"/>
                <a:gd name="T9" fmla="*/ 90 h 2034"/>
                <a:gd name="T10" fmla="*/ 1705 w 2429"/>
                <a:gd name="T11" fmla="*/ 126 h 2034"/>
                <a:gd name="T12" fmla="*/ 1986 w 2429"/>
                <a:gd name="T13" fmla="*/ 315 h 2034"/>
                <a:gd name="T14" fmla="*/ 1910 w 2429"/>
                <a:gd name="T15" fmla="*/ 282 h 2034"/>
                <a:gd name="T16" fmla="*/ 1777 w 2429"/>
                <a:gd name="T17" fmla="*/ 253 h 2034"/>
                <a:gd name="T18" fmla="*/ 1854 w 2429"/>
                <a:gd name="T19" fmla="*/ 288 h 2034"/>
                <a:gd name="T20" fmla="*/ 2035 w 2429"/>
                <a:gd name="T21" fmla="*/ 402 h 2034"/>
                <a:gd name="T22" fmla="*/ 2240 w 2429"/>
                <a:gd name="T23" fmla="*/ 601 h 2034"/>
                <a:gd name="T24" fmla="*/ 2394 w 2429"/>
                <a:gd name="T25" fmla="*/ 894 h 2034"/>
                <a:gd name="T26" fmla="*/ 2418 w 2429"/>
                <a:gd name="T27" fmla="*/ 1289 h 2034"/>
                <a:gd name="T28" fmla="*/ 2380 w 2429"/>
                <a:gd name="T29" fmla="*/ 1203 h 2034"/>
                <a:gd name="T30" fmla="*/ 2346 w 2429"/>
                <a:gd name="T31" fmla="*/ 1477 h 2034"/>
                <a:gd name="T32" fmla="*/ 2191 w 2429"/>
                <a:gd name="T33" fmla="*/ 1866 h 2034"/>
                <a:gd name="T34" fmla="*/ 2083 w 2429"/>
                <a:gd name="T35" fmla="*/ 2012 h 2034"/>
                <a:gd name="T36" fmla="*/ 2110 w 2429"/>
                <a:gd name="T37" fmla="*/ 1887 h 2034"/>
                <a:gd name="T38" fmla="*/ 2133 w 2429"/>
                <a:gd name="T39" fmla="*/ 1690 h 2034"/>
                <a:gd name="T40" fmla="*/ 2126 w 2429"/>
                <a:gd name="T41" fmla="*/ 1465 h 2034"/>
                <a:gd name="T42" fmla="*/ 2062 w 2429"/>
                <a:gd name="T43" fmla="*/ 1252 h 2034"/>
                <a:gd name="T44" fmla="*/ 1914 w 2429"/>
                <a:gd name="T45" fmla="*/ 1097 h 2034"/>
                <a:gd name="T46" fmla="*/ 1654 w 2429"/>
                <a:gd name="T47" fmla="*/ 1036 h 2034"/>
                <a:gd name="T48" fmla="*/ 1406 w 2429"/>
                <a:gd name="T49" fmla="*/ 1001 h 2034"/>
                <a:gd name="T50" fmla="*/ 1070 w 2429"/>
                <a:gd name="T51" fmla="*/ 1095 h 2034"/>
                <a:gd name="T52" fmla="*/ 823 w 2429"/>
                <a:gd name="T53" fmla="*/ 1060 h 2034"/>
                <a:gd name="T54" fmla="*/ 658 w 2429"/>
                <a:gd name="T55" fmla="*/ 956 h 2034"/>
                <a:gd name="T56" fmla="*/ 565 w 2429"/>
                <a:gd name="T57" fmla="*/ 849 h 2034"/>
                <a:gd name="T58" fmla="*/ 536 w 2429"/>
                <a:gd name="T59" fmla="*/ 798 h 2034"/>
                <a:gd name="T60" fmla="*/ 522 w 2429"/>
                <a:gd name="T61" fmla="*/ 1086 h 2034"/>
                <a:gd name="T62" fmla="*/ 432 w 2429"/>
                <a:gd name="T63" fmla="*/ 1299 h 2034"/>
                <a:gd name="T64" fmla="*/ 335 w 2429"/>
                <a:gd name="T65" fmla="*/ 1501 h 2034"/>
                <a:gd name="T66" fmla="*/ 293 w 2429"/>
                <a:gd name="T67" fmla="*/ 1760 h 2034"/>
                <a:gd name="T68" fmla="*/ 286 w 2429"/>
                <a:gd name="T69" fmla="*/ 1866 h 2034"/>
                <a:gd name="T70" fmla="*/ 192 w 2429"/>
                <a:gd name="T71" fmla="*/ 1709 h 2034"/>
                <a:gd name="T72" fmla="*/ 99 w 2429"/>
                <a:gd name="T73" fmla="*/ 1441 h 2034"/>
                <a:gd name="T74" fmla="*/ 91 w 2429"/>
                <a:gd name="T75" fmla="*/ 1092 h 2034"/>
                <a:gd name="T76" fmla="*/ 1 w 2429"/>
                <a:gd name="T77" fmla="*/ 1111 h 2034"/>
                <a:gd name="T78" fmla="*/ 6 w 2429"/>
                <a:gd name="T79" fmla="*/ 969 h 2034"/>
                <a:gd name="T80" fmla="*/ 70 w 2429"/>
                <a:gd name="T81" fmla="*/ 769 h 2034"/>
                <a:gd name="T82" fmla="*/ 250 w 2429"/>
                <a:gd name="T83" fmla="*/ 580 h 2034"/>
                <a:gd name="T84" fmla="*/ 357 w 2429"/>
                <a:gd name="T85" fmla="*/ 503 h 2034"/>
                <a:gd name="T86" fmla="*/ 275 w 2429"/>
                <a:gd name="T87" fmla="*/ 424 h 2034"/>
                <a:gd name="T88" fmla="*/ 176 w 2429"/>
                <a:gd name="T89" fmla="*/ 384 h 2034"/>
                <a:gd name="T90" fmla="*/ 285 w 2429"/>
                <a:gd name="T91" fmla="*/ 396 h 2034"/>
                <a:gd name="T92" fmla="*/ 408 w 2429"/>
                <a:gd name="T93" fmla="*/ 476 h 2034"/>
                <a:gd name="T94" fmla="*/ 411 w 2429"/>
                <a:gd name="T95" fmla="*/ 452 h 2034"/>
                <a:gd name="T96" fmla="*/ 397 w 2429"/>
                <a:gd name="T97" fmla="*/ 296 h 2034"/>
                <a:gd name="T98" fmla="*/ 419 w 2429"/>
                <a:gd name="T99" fmla="*/ 261 h 2034"/>
                <a:gd name="T100" fmla="*/ 455 w 2429"/>
                <a:gd name="T101" fmla="*/ 388 h 2034"/>
                <a:gd name="T102" fmla="*/ 485 w 2429"/>
                <a:gd name="T103" fmla="*/ 320 h 2034"/>
                <a:gd name="T104" fmla="*/ 583 w 2429"/>
                <a:gd name="T105" fmla="*/ 197 h 2034"/>
                <a:gd name="T106" fmla="*/ 770 w 2429"/>
                <a:gd name="T107" fmla="*/ 74 h 2034"/>
                <a:gd name="T108" fmla="*/ 1076 w 2429"/>
                <a:gd name="T109" fmla="*/ 3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29" h="2034">
                  <a:moveTo>
                    <a:pt x="1154" y="0"/>
                  </a:moveTo>
                  <a:lnTo>
                    <a:pt x="1238" y="1"/>
                  </a:lnTo>
                  <a:lnTo>
                    <a:pt x="1327" y="8"/>
                  </a:lnTo>
                  <a:lnTo>
                    <a:pt x="1423" y="19"/>
                  </a:lnTo>
                  <a:lnTo>
                    <a:pt x="1419" y="19"/>
                  </a:lnTo>
                  <a:lnTo>
                    <a:pt x="1404" y="19"/>
                  </a:lnTo>
                  <a:lnTo>
                    <a:pt x="1380" y="21"/>
                  </a:lnTo>
                  <a:lnTo>
                    <a:pt x="1350" y="24"/>
                  </a:lnTo>
                  <a:lnTo>
                    <a:pt x="1311" y="32"/>
                  </a:lnTo>
                  <a:lnTo>
                    <a:pt x="1268" y="45"/>
                  </a:lnTo>
                  <a:lnTo>
                    <a:pt x="1219" y="64"/>
                  </a:lnTo>
                  <a:lnTo>
                    <a:pt x="1167" y="90"/>
                  </a:lnTo>
                  <a:lnTo>
                    <a:pt x="1111" y="125"/>
                  </a:lnTo>
                  <a:lnTo>
                    <a:pt x="1054" y="170"/>
                  </a:lnTo>
                  <a:lnTo>
                    <a:pt x="1057" y="168"/>
                  </a:lnTo>
                  <a:lnTo>
                    <a:pt x="1068" y="163"/>
                  </a:lnTo>
                  <a:lnTo>
                    <a:pt x="1086" y="157"/>
                  </a:lnTo>
                  <a:lnTo>
                    <a:pt x="1111" y="147"/>
                  </a:lnTo>
                  <a:lnTo>
                    <a:pt x="1140" y="138"/>
                  </a:lnTo>
                  <a:lnTo>
                    <a:pt x="1175" y="128"/>
                  </a:lnTo>
                  <a:lnTo>
                    <a:pt x="1215" y="118"/>
                  </a:lnTo>
                  <a:lnTo>
                    <a:pt x="1260" y="109"/>
                  </a:lnTo>
                  <a:lnTo>
                    <a:pt x="1308" y="99"/>
                  </a:lnTo>
                  <a:lnTo>
                    <a:pt x="1359" y="93"/>
                  </a:lnTo>
                  <a:lnTo>
                    <a:pt x="1414" y="90"/>
                  </a:lnTo>
                  <a:lnTo>
                    <a:pt x="1470" y="88"/>
                  </a:lnTo>
                  <a:lnTo>
                    <a:pt x="1528" y="91"/>
                  </a:lnTo>
                  <a:lnTo>
                    <a:pt x="1587" y="98"/>
                  </a:lnTo>
                  <a:lnTo>
                    <a:pt x="1646" y="110"/>
                  </a:lnTo>
                  <a:lnTo>
                    <a:pt x="1705" y="126"/>
                  </a:lnTo>
                  <a:lnTo>
                    <a:pt x="1765" y="150"/>
                  </a:lnTo>
                  <a:lnTo>
                    <a:pt x="1822" y="181"/>
                  </a:lnTo>
                  <a:lnTo>
                    <a:pt x="1878" y="218"/>
                  </a:lnTo>
                  <a:lnTo>
                    <a:pt x="1933" y="263"/>
                  </a:lnTo>
                  <a:lnTo>
                    <a:pt x="1986" y="315"/>
                  </a:lnTo>
                  <a:lnTo>
                    <a:pt x="1981" y="314"/>
                  </a:lnTo>
                  <a:lnTo>
                    <a:pt x="1971" y="307"/>
                  </a:lnTo>
                  <a:lnTo>
                    <a:pt x="1955" y="301"/>
                  </a:lnTo>
                  <a:lnTo>
                    <a:pt x="1934" y="291"/>
                  </a:lnTo>
                  <a:lnTo>
                    <a:pt x="1910" y="282"/>
                  </a:lnTo>
                  <a:lnTo>
                    <a:pt x="1885" y="271"/>
                  </a:lnTo>
                  <a:lnTo>
                    <a:pt x="1857" y="263"/>
                  </a:lnTo>
                  <a:lnTo>
                    <a:pt x="1829" y="256"/>
                  </a:lnTo>
                  <a:lnTo>
                    <a:pt x="1801" y="253"/>
                  </a:lnTo>
                  <a:lnTo>
                    <a:pt x="1777" y="253"/>
                  </a:lnTo>
                  <a:lnTo>
                    <a:pt x="1781" y="255"/>
                  </a:lnTo>
                  <a:lnTo>
                    <a:pt x="1790" y="258"/>
                  </a:lnTo>
                  <a:lnTo>
                    <a:pt x="1806" y="266"/>
                  </a:lnTo>
                  <a:lnTo>
                    <a:pt x="1829" y="275"/>
                  </a:lnTo>
                  <a:lnTo>
                    <a:pt x="1854" y="288"/>
                  </a:lnTo>
                  <a:lnTo>
                    <a:pt x="1885" y="304"/>
                  </a:lnTo>
                  <a:lnTo>
                    <a:pt x="1918" y="325"/>
                  </a:lnTo>
                  <a:lnTo>
                    <a:pt x="1955" y="347"/>
                  </a:lnTo>
                  <a:lnTo>
                    <a:pt x="1994" y="373"/>
                  </a:lnTo>
                  <a:lnTo>
                    <a:pt x="2035" y="402"/>
                  </a:lnTo>
                  <a:lnTo>
                    <a:pt x="2077" y="434"/>
                  </a:lnTo>
                  <a:lnTo>
                    <a:pt x="2118" y="471"/>
                  </a:lnTo>
                  <a:lnTo>
                    <a:pt x="2160" y="511"/>
                  </a:lnTo>
                  <a:lnTo>
                    <a:pt x="2202" y="554"/>
                  </a:lnTo>
                  <a:lnTo>
                    <a:pt x="2240" y="601"/>
                  </a:lnTo>
                  <a:lnTo>
                    <a:pt x="2279" y="652"/>
                  </a:lnTo>
                  <a:lnTo>
                    <a:pt x="2312" y="706"/>
                  </a:lnTo>
                  <a:lnTo>
                    <a:pt x="2344" y="766"/>
                  </a:lnTo>
                  <a:lnTo>
                    <a:pt x="2372" y="828"/>
                  </a:lnTo>
                  <a:lnTo>
                    <a:pt x="2394" y="894"/>
                  </a:lnTo>
                  <a:lnTo>
                    <a:pt x="2412" y="964"/>
                  </a:lnTo>
                  <a:lnTo>
                    <a:pt x="2424" y="1039"/>
                  </a:lnTo>
                  <a:lnTo>
                    <a:pt x="2429" y="1118"/>
                  </a:lnTo>
                  <a:lnTo>
                    <a:pt x="2428" y="1201"/>
                  </a:lnTo>
                  <a:lnTo>
                    <a:pt x="2418" y="1289"/>
                  </a:lnTo>
                  <a:lnTo>
                    <a:pt x="2376" y="1123"/>
                  </a:lnTo>
                  <a:lnTo>
                    <a:pt x="2376" y="1127"/>
                  </a:lnTo>
                  <a:lnTo>
                    <a:pt x="2378" y="1144"/>
                  </a:lnTo>
                  <a:lnTo>
                    <a:pt x="2380" y="1169"/>
                  </a:lnTo>
                  <a:lnTo>
                    <a:pt x="2380" y="1203"/>
                  </a:lnTo>
                  <a:lnTo>
                    <a:pt x="2378" y="1244"/>
                  </a:lnTo>
                  <a:lnTo>
                    <a:pt x="2375" y="1292"/>
                  </a:lnTo>
                  <a:lnTo>
                    <a:pt x="2368" y="1349"/>
                  </a:lnTo>
                  <a:lnTo>
                    <a:pt x="2359" y="1409"/>
                  </a:lnTo>
                  <a:lnTo>
                    <a:pt x="2346" y="1477"/>
                  </a:lnTo>
                  <a:lnTo>
                    <a:pt x="2327" y="1549"/>
                  </a:lnTo>
                  <a:lnTo>
                    <a:pt x="2303" y="1624"/>
                  </a:lnTo>
                  <a:lnTo>
                    <a:pt x="2272" y="1702"/>
                  </a:lnTo>
                  <a:lnTo>
                    <a:pt x="2235" y="1783"/>
                  </a:lnTo>
                  <a:lnTo>
                    <a:pt x="2191" y="1866"/>
                  </a:lnTo>
                  <a:lnTo>
                    <a:pt x="2138" y="1949"/>
                  </a:lnTo>
                  <a:lnTo>
                    <a:pt x="2077" y="2034"/>
                  </a:lnTo>
                  <a:lnTo>
                    <a:pt x="2077" y="2031"/>
                  </a:lnTo>
                  <a:lnTo>
                    <a:pt x="2080" y="2024"/>
                  </a:lnTo>
                  <a:lnTo>
                    <a:pt x="2083" y="2012"/>
                  </a:lnTo>
                  <a:lnTo>
                    <a:pt x="2088" y="1994"/>
                  </a:lnTo>
                  <a:lnTo>
                    <a:pt x="2093" y="1972"/>
                  </a:lnTo>
                  <a:lnTo>
                    <a:pt x="2098" y="1948"/>
                  </a:lnTo>
                  <a:lnTo>
                    <a:pt x="2104" y="1919"/>
                  </a:lnTo>
                  <a:lnTo>
                    <a:pt x="2110" y="1887"/>
                  </a:lnTo>
                  <a:lnTo>
                    <a:pt x="2115" y="1851"/>
                  </a:lnTo>
                  <a:lnTo>
                    <a:pt x="2122" y="1813"/>
                  </a:lnTo>
                  <a:lnTo>
                    <a:pt x="2126" y="1775"/>
                  </a:lnTo>
                  <a:lnTo>
                    <a:pt x="2130" y="1733"/>
                  </a:lnTo>
                  <a:lnTo>
                    <a:pt x="2133" y="1690"/>
                  </a:lnTo>
                  <a:lnTo>
                    <a:pt x="2136" y="1646"/>
                  </a:lnTo>
                  <a:lnTo>
                    <a:pt x="2136" y="1602"/>
                  </a:lnTo>
                  <a:lnTo>
                    <a:pt x="2135" y="1555"/>
                  </a:lnTo>
                  <a:lnTo>
                    <a:pt x="2133" y="1510"/>
                  </a:lnTo>
                  <a:lnTo>
                    <a:pt x="2126" y="1465"/>
                  </a:lnTo>
                  <a:lnTo>
                    <a:pt x="2120" y="1421"/>
                  </a:lnTo>
                  <a:lnTo>
                    <a:pt x="2110" y="1376"/>
                  </a:lnTo>
                  <a:lnTo>
                    <a:pt x="2098" y="1334"/>
                  </a:lnTo>
                  <a:lnTo>
                    <a:pt x="2082" y="1292"/>
                  </a:lnTo>
                  <a:lnTo>
                    <a:pt x="2062" y="1252"/>
                  </a:lnTo>
                  <a:lnTo>
                    <a:pt x="2042" y="1216"/>
                  </a:lnTo>
                  <a:lnTo>
                    <a:pt x="2014" y="1182"/>
                  </a:lnTo>
                  <a:lnTo>
                    <a:pt x="1986" y="1150"/>
                  </a:lnTo>
                  <a:lnTo>
                    <a:pt x="1952" y="1121"/>
                  </a:lnTo>
                  <a:lnTo>
                    <a:pt x="1914" y="1097"/>
                  </a:lnTo>
                  <a:lnTo>
                    <a:pt x="1872" y="1075"/>
                  </a:lnTo>
                  <a:lnTo>
                    <a:pt x="1825" y="1059"/>
                  </a:lnTo>
                  <a:lnTo>
                    <a:pt x="1773" y="1046"/>
                  </a:lnTo>
                  <a:lnTo>
                    <a:pt x="1715" y="1039"/>
                  </a:lnTo>
                  <a:lnTo>
                    <a:pt x="1654" y="1036"/>
                  </a:lnTo>
                  <a:lnTo>
                    <a:pt x="1585" y="1039"/>
                  </a:lnTo>
                  <a:lnTo>
                    <a:pt x="1512" y="1049"/>
                  </a:lnTo>
                  <a:lnTo>
                    <a:pt x="1431" y="1065"/>
                  </a:lnTo>
                  <a:lnTo>
                    <a:pt x="1486" y="961"/>
                  </a:lnTo>
                  <a:lnTo>
                    <a:pt x="1406" y="1001"/>
                  </a:lnTo>
                  <a:lnTo>
                    <a:pt x="1332" y="1033"/>
                  </a:lnTo>
                  <a:lnTo>
                    <a:pt x="1260" y="1059"/>
                  </a:lnTo>
                  <a:lnTo>
                    <a:pt x="1193" y="1076"/>
                  </a:lnTo>
                  <a:lnTo>
                    <a:pt x="1129" y="1089"/>
                  </a:lnTo>
                  <a:lnTo>
                    <a:pt x="1070" y="1095"/>
                  </a:lnTo>
                  <a:lnTo>
                    <a:pt x="1014" y="1097"/>
                  </a:lnTo>
                  <a:lnTo>
                    <a:pt x="961" y="1094"/>
                  </a:lnTo>
                  <a:lnTo>
                    <a:pt x="911" y="1086"/>
                  </a:lnTo>
                  <a:lnTo>
                    <a:pt x="866" y="1075"/>
                  </a:lnTo>
                  <a:lnTo>
                    <a:pt x="823" y="1060"/>
                  </a:lnTo>
                  <a:lnTo>
                    <a:pt x="783" y="1043"/>
                  </a:lnTo>
                  <a:lnTo>
                    <a:pt x="748" y="1023"/>
                  </a:lnTo>
                  <a:lnTo>
                    <a:pt x="714" y="1001"/>
                  </a:lnTo>
                  <a:lnTo>
                    <a:pt x="685" y="980"/>
                  </a:lnTo>
                  <a:lnTo>
                    <a:pt x="658" y="956"/>
                  </a:lnTo>
                  <a:lnTo>
                    <a:pt x="634" y="934"/>
                  </a:lnTo>
                  <a:lnTo>
                    <a:pt x="613" y="910"/>
                  </a:lnTo>
                  <a:lnTo>
                    <a:pt x="594" y="887"/>
                  </a:lnTo>
                  <a:lnTo>
                    <a:pt x="580" y="866"/>
                  </a:lnTo>
                  <a:lnTo>
                    <a:pt x="565" y="849"/>
                  </a:lnTo>
                  <a:lnTo>
                    <a:pt x="556" y="831"/>
                  </a:lnTo>
                  <a:lnTo>
                    <a:pt x="548" y="818"/>
                  </a:lnTo>
                  <a:lnTo>
                    <a:pt x="541" y="807"/>
                  </a:lnTo>
                  <a:lnTo>
                    <a:pt x="538" y="801"/>
                  </a:lnTo>
                  <a:lnTo>
                    <a:pt x="536" y="798"/>
                  </a:lnTo>
                  <a:lnTo>
                    <a:pt x="543" y="865"/>
                  </a:lnTo>
                  <a:lnTo>
                    <a:pt x="544" y="926"/>
                  </a:lnTo>
                  <a:lnTo>
                    <a:pt x="541" y="983"/>
                  </a:lnTo>
                  <a:lnTo>
                    <a:pt x="533" y="1036"/>
                  </a:lnTo>
                  <a:lnTo>
                    <a:pt x="522" y="1086"/>
                  </a:lnTo>
                  <a:lnTo>
                    <a:pt x="509" y="1132"/>
                  </a:lnTo>
                  <a:lnTo>
                    <a:pt x="491" y="1176"/>
                  </a:lnTo>
                  <a:lnTo>
                    <a:pt x="474" y="1219"/>
                  </a:lnTo>
                  <a:lnTo>
                    <a:pt x="453" y="1259"/>
                  </a:lnTo>
                  <a:lnTo>
                    <a:pt x="432" y="1299"/>
                  </a:lnTo>
                  <a:lnTo>
                    <a:pt x="411" y="1337"/>
                  </a:lnTo>
                  <a:lnTo>
                    <a:pt x="391" y="1377"/>
                  </a:lnTo>
                  <a:lnTo>
                    <a:pt x="370" y="1417"/>
                  </a:lnTo>
                  <a:lnTo>
                    <a:pt x="352" y="1459"/>
                  </a:lnTo>
                  <a:lnTo>
                    <a:pt x="335" y="1501"/>
                  </a:lnTo>
                  <a:lnTo>
                    <a:pt x="320" y="1547"/>
                  </a:lnTo>
                  <a:lnTo>
                    <a:pt x="307" y="1595"/>
                  </a:lnTo>
                  <a:lnTo>
                    <a:pt x="299" y="1645"/>
                  </a:lnTo>
                  <a:lnTo>
                    <a:pt x="294" y="1701"/>
                  </a:lnTo>
                  <a:lnTo>
                    <a:pt x="293" y="1760"/>
                  </a:lnTo>
                  <a:lnTo>
                    <a:pt x="298" y="1824"/>
                  </a:lnTo>
                  <a:lnTo>
                    <a:pt x="309" y="1893"/>
                  </a:lnTo>
                  <a:lnTo>
                    <a:pt x="306" y="1890"/>
                  </a:lnTo>
                  <a:lnTo>
                    <a:pt x="298" y="1880"/>
                  </a:lnTo>
                  <a:lnTo>
                    <a:pt x="286" y="1866"/>
                  </a:lnTo>
                  <a:lnTo>
                    <a:pt x="272" y="1845"/>
                  </a:lnTo>
                  <a:lnTo>
                    <a:pt x="254" y="1818"/>
                  </a:lnTo>
                  <a:lnTo>
                    <a:pt x="235" y="1787"/>
                  </a:lnTo>
                  <a:lnTo>
                    <a:pt x="214" y="1751"/>
                  </a:lnTo>
                  <a:lnTo>
                    <a:pt x="192" y="1709"/>
                  </a:lnTo>
                  <a:lnTo>
                    <a:pt x="171" y="1664"/>
                  </a:lnTo>
                  <a:lnTo>
                    <a:pt x="150" y="1614"/>
                  </a:lnTo>
                  <a:lnTo>
                    <a:pt x="130" y="1560"/>
                  </a:lnTo>
                  <a:lnTo>
                    <a:pt x="114" y="1502"/>
                  </a:lnTo>
                  <a:lnTo>
                    <a:pt x="99" y="1441"/>
                  </a:lnTo>
                  <a:lnTo>
                    <a:pt x="88" y="1377"/>
                  </a:lnTo>
                  <a:lnTo>
                    <a:pt x="80" y="1310"/>
                  </a:lnTo>
                  <a:lnTo>
                    <a:pt x="78" y="1240"/>
                  </a:lnTo>
                  <a:lnTo>
                    <a:pt x="82" y="1168"/>
                  </a:lnTo>
                  <a:lnTo>
                    <a:pt x="91" y="1092"/>
                  </a:lnTo>
                  <a:lnTo>
                    <a:pt x="109" y="1015"/>
                  </a:lnTo>
                  <a:lnTo>
                    <a:pt x="5" y="1139"/>
                  </a:lnTo>
                  <a:lnTo>
                    <a:pt x="5" y="1135"/>
                  </a:lnTo>
                  <a:lnTo>
                    <a:pt x="3" y="1126"/>
                  </a:lnTo>
                  <a:lnTo>
                    <a:pt x="1" y="1111"/>
                  </a:lnTo>
                  <a:lnTo>
                    <a:pt x="0" y="1091"/>
                  </a:lnTo>
                  <a:lnTo>
                    <a:pt x="0" y="1067"/>
                  </a:lnTo>
                  <a:lnTo>
                    <a:pt x="0" y="1038"/>
                  </a:lnTo>
                  <a:lnTo>
                    <a:pt x="1" y="1004"/>
                  </a:lnTo>
                  <a:lnTo>
                    <a:pt x="6" y="969"/>
                  </a:lnTo>
                  <a:lnTo>
                    <a:pt x="13" y="932"/>
                  </a:lnTo>
                  <a:lnTo>
                    <a:pt x="22" y="892"/>
                  </a:lnTo>
                  <a:lnTo>
                    <a:pt x="33" y="852"/>
                  </a:lnTo>
                  <a:lnTo>
                    <a:pt x="49" y="810"/>
                  </a:lnTo>
                  <a:lnTo>
                    <a:pt x="70" y="769"/>
                  </a:lnTo>
                  <a:lnTo>
                    <a:pt x="96" y="729"/>
                  </a:lnTo>
                  <a:lnTo>
                    <a:pt x="125" y="689"/>
                  </a:lnTo>
                  <a:lnTo>
                    <a:pt x="162" y="650"/>
                  </a:lnTo>
                  <a:lnTo>
                    <a:pt x="202" y="613"/>
                  </a:lnTo>
                  <a:lnTo>
                    <a:pt x="250" y="580"/>
                  </a:lnTo>
                  <a:lnTo>
                    <a:pt x="304" y="549"/>
                  </a:lnTo>
                  <a:lnTo>
                    <a:pt x="367" y="524"/>
                  </a:lnTo>
                  <a:lnTo>
                    <a:pt x="365" y="520"/>
                  </a:lnTo>
                  <a:lnTo>
                    <a:pt x="363" y="514"/>
                  </a:lnTo>
                  <a:lnTo>
                    <a:pt x="357" y="503"/>
                  </a:lnTo>
                  <a:lnTo>
                    <a:pt x="349" y="490"/>
                  </a:lnTo>
                  <a:lnTo>
                    <a:pt x="338" y="474"/>
                  </a:lnTo>
                  <a:lnTo>
                    <a:pt x="322" y="458"/>
                  </a:lnTo>
                  <a:lnTo>
                    <a:pt x="301" y="440"/>
                  </a:lnTo>
                  <a:lnTo>
                    <a:pt x="275" y="424"/>
                  </a:lnTo>
                  <a:lnTo>
                    <a:pt x="245" y="408"/>
                  </a:lnTo>
                  <a:lnTo>
                    <a:pt x="206" y="396"/>
                  </a:lnTo>
                  <a:lnTo>
                    <a:pt x="163" y="386"/>
                  </a:lnTo>
                  <a:lnTo>
                    <a:pt x="166" y="386"/>
                  </a:lnTo>
                  <a:lnTo>
                    <a:pt x="176" y="384"/>
                  </a:lnTo>
                  <a:lnTo>
                    <a:pt x="190" y="384"/>
                  </a:lnTo>
                  <a:lnTo>
                    <a:pt x="210" y="384"/>
                  </a:lnTo>
                  <a:lnTo>
                    <a:pt x="234" y="386"/>
                  </a:lnTo>
                  <a:lnTo>
                    <a:pt x="259" y="389"/>
                  </a:lnTo>
                  <a:lnTo>
                    <a:pt x="285" y="396"/>
                  </a:lnTo>
                  <a:lnTo>
                    <a:pt x="312" y="404"/>
                  </a:lnTo>
                  <a:lnTo>
                    <a:pt x="339" y="415"/>
                  </a:lnTo>
                  <a:lnTo>
                    <a:pt x="365" y="431"/>
                  </a:lnTo>
                  <a:lnTo>
                    <a:pt x="389" y="452"/>
                  </a:lnTo>
                  <a:lnTo>
                    <a:pt x="408" y="476"/>
                  </a:lnTo>
                  <a:lnTo>
                    <a:pt x="424" y="508"/>
                  </a:lnTo>
                  <a:lnTo>
                    <a:pt x="424" y="503"/>
                  </a:lnTo>
                  <a:lnTo>
                    <a:pt x="421" y="492"/>
                  </a:lnTo>
                  <a:lnTo>
                    <a:pt x="416" y="474"/>
                  </a:lnTo>
                  <a:lnTo>
                    <a:pt x="411" y="452"/>
                  </a:lnTo>
                  <a:lnTo>
                    <a:pt x="405" y="424"/>
                  </a:lnTo>
                  <a:lnTo>
                    <a:pt x="400" y="394"/>
                  </a:lnTo>
                  <a:lnTo>
                    <a:pt x="397" y="362"/>
                  </a:lnTo>
                  <a:lnTo>
                    <a:pt x="395" y="330"/>
                  </a:lnTo>
                  <a:lnTo>
                    <a:pt x="397" y="296"/>
                  </a:lnTo>
                  <a:lnTo>
                    <a:pt x="400" y="264"/>
                  </a:lnTo>
                  <a:lnTo>
                    <a:pt x="408" y="234"/>
                  </a:lnTo>
                  <a:lnTo>
                    <a:pt x="421" y="207"/>
                  </a:lnTo>
                  <a:lnTo>
                    <a:pt x="419" y="231"/>
                  </a:lnTo>
                  <a:lnTo>
                    <a:pt x="419" y="261"/>
                  </a:lnTo>
                  <a:lnTo>
                    <a:pt x="421" y="293"/>
                  </a:lnTo>
                  <a:lnTo>
                    <a:pt x="427" y="327"/>
                  </a:lnTo>
                  <a:lnTo>
                    <a:pt x="439" y="359"/>
                  </a:lnTo>
                  <a:lnTo>
                    <a:pt x="453" y="391"/>
                  </a:lnTo>
                  <a:lnTo>
                    <a:pt x="455" y="388"/>
                  </a:lnTo>
                  <a:lnTo>
                    <a:pt x="456" y="381"/>
                  </a:lnTo>
                  <a:lnTo>
                    <a:pt x="461" y="371"/>
                  </a:lnTo>
                  <a:lnTo>
                    <a:pt x="467" y="357"/>
                  </a:lnTo>
                  <a:lnTo>
                    <a:pt x="475" y="339"/>
                  </a:lnTo>
                  <a:lnTo>
                    <a:pt x="485" y="320"/>
                  </a:lnTo>
                  <a:lnTo>
                    <a:pt x="499" y="298"/>
                  </a:lnTo>
                  <a:lnTo>
                    <a:pt x="515" y="275"/>
                  </a:lnTo>
                  <a:lnTo>
                    <a:pt x="535" y="250"/>
                  </a:lnTo>
                  <a:lnTo>
                    <a:pt x="557" y="224"/>
                  </a:lnTo>
                  <a:lnTo>
                    <a:pt x="583" y="197"/>
                  </a:lnTo>
                  <a:lnTo>
                    <a:pt x="612" y="171"/>
                  </a:lnTo>
                  <a:lnTo>
                    <a:pt x="645" y="146"/>
                  </a:lnTo>
                  <a:lnTo>
                    <a:pt x="682" y="120"/>
                  </a:lnTo>
                  <a:lnTo>
                    <a:pt x="724" y="96"/>
                  </a:lnTo>
                  <a:lnTo>
                    <a:pt x="770" y="74"/>
                  </a:lnTo>
                  <a:lnTo>
                    <a:pt x="821" y="54"/>
                  </a:lnTo>
                  <a:lnTo>
                    <a:pt x="877" y="37"/>
                  </a:lnTo>
                  <a:lnTo>
                    <a:pt x="938" y="22"/>
                  </a:lnTo>
                  <a:lnTo>
                    <a:pt x="1004" y="11"/>
                  </a:lnTo>
                  <a:lnTo>
                    <a:pt x="1076" y="3"/>
                  </a:lnTo>
                  <a:lnTo>
                    <a:pt x="1154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4B43D1D-3DA9-4DA6-A0D3-51C0B2D5D88D}"/>
              </a:ext>
            </a:extLst>
          </p:cNvPr>
          <p:cNvGrpSpPr/>
          <p:nvPr userDrawn="1"/>
        </p:nvGrpSpPr>
        <p:grpSpPr>
          <a:xfrm>
            <a:off x="3199860" y="1756149"/>
            <a:ext cx="1305752" cy="1160263"/>
            <a:chOff x="3519456" y="1772816"/>
            <a:chExt cx="1177418" cy="1177418"/>
          </a:xfrm>
        </p:grpSpPr>
        <p:sp>
          <p:nvSpPr>
            <p:cNvPr id="46" name="Oval 45"/>
            <p:cNvSpPr/>
            <p:nvPr/>
          </p:nvSpPr>
          <p:spPr>
            <a:xfrm>
              <a:off x="3519456" y="177281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3607380" y="1860740"/>
              <a:ext cx="1001570" cy="1001570"/>
            </a:xfrm>
            <a:custGeom>
              <a:avLst/>
              <a:gdLst>
                <a:gd name="T0" fmla="*/ 2140 w 4033"/>
                <a:gd name="T1" fmla="*/ 3 h 4033"/>
                <a:gd name="T2" fmla="*/ 2380 w 4033"/>
                <a:gd name="T3" fmla="*/ 33 h 4033"/>
                <a:gd name="T4" fmla="*/ 2609 w 4033"/>
                <a:gd name="T5" fmla="*/ 88 h 4033"/>
                <a:gd name="T6" fmla="*/ 2828 w 4033"/>
                <a:gd name="T7" fmla="*/ 170 h 4033"/>
                <a:gd name="T8" fmla="*/ 3035 w 4033"/>
                <a:gd name="T9" fmla="*/ 275 h 4033"/>
                <a:gd name="T10" fmla="*/ 3227 w 4033"/>
                <a:gd name="T11" fmla="*/ 403 h 4033"/>
                <a:gd name="T12" fmla="*/ 3401 w 4033"/>
                <a:gd name="T13" fmla="*/ 551 h 4033"/>
                <a:gd name="T14" fmla="*/ 3559 w 4033"/>
                <a:gd name="T15" fmla="*/ 717 h 4033"/>
                <a:gd name="T16" fmla="*/ 3697 w 4033"/>
                <a:gd name="T17" fmla="*/ 901 h 4033"/>
                <a:gd name="T18" fmla="*/ 3813 w 4033"/>
                <a:gd name="T19" fmla="*/ 1100 h 4033"/>
                <a:gd name="T20" fmla="*/ 3907 w 4033"/>
                <a:gd name="T21" fmla="*/ 1312 h 4033"/>
                <a:gd name="T22" fmla="*/ 3976 w 4033"/>
                <a:gd name="T23" fmla="*/ 1537 h 4033"/>
                <a:gd name="T24" fmla="*/ 4019 w 4033"/>
                <a:gd name="T25" fmla="*/ 1773 h 4033"/>
                <a:gd name="T26" fmla="*/ 4033 w 4033"/>
                <a:gd name="T27" fmla="*/ 2016 h 4033"/>
                <a:gd name="T28" fmla="*/ 4019 w 4033"/>
                <a:gd name="T29" fmla="*/ 2260 h 4033"/>
                <a:gd name="T30" fmla="*/ 3976 w 4033"/>
                <a:gd name="T31" fmla="*/ 2495 h 4033"/>
                <a:gd name="T32" fmla="*/ 3907 w 4033"/>
                <a:gd name="T33" fmla="*/ 2720 h 4033"/>
                <a:gd name="T34" fmla="*/ 3813 w 4033"/>
                <a:gd name="T35" fmla="*/ 2933 h 4033"/>
                <a:gd name="T36" fmla="*/ 3697 w 4033"/>
                <a:gd name="T37" fmla="*/ 3132 h 4033"/>
                <a:gd name="T38" fmla="*/ 3559 w 4033"/>
                <a:gd name="T39" fmla="*/ 3316 h 4033"/>
                <a:gd name="T40" fmla="*/ 3401 w 4033"/>
                <a:gd name="T41" fmla="*/ 3482 h 4033"/>
                <a:gd name="T42" fmla="*/ 3227 w 4033"/>
                <a:gd name="T43" fmla="*/ 3630 h 4033"/>
                <a:gd name="T44" fmla="*/ 3035 w 4033"/>
                <a:gd name="T45" fmla="*/ 3758 h 4033"/>
                <a:gd name="T46" fmla="*/ 2828 w 4033"/>
                <a:gd name="T47" fmla="*/ 3863 h 4033"/>
                <a:gd name="T48" fmla="*/ 2609 w 4033"/>
                <a:gd name="T49" fmla="*/ 3945 h 4033"/>
                <a:gd name="T50" fmla="*/ 2380 w 4033"/>
                <a:gd name="T51" fmla="*/ 4000 h 4033"/>
                <a:gd name="T52" fmla="*/ 2140 w 4033"/>
                <a:gd name="T53" fmla="*/ 4029 h 4033"/>
                <a:gd name="T54" fmla="*/ 1893 w 4033"/>
                <a:gd name="T55" fmla="*/ 4029 h 4033"/>
                <a:gd name="T56" fmla="*/ 1654 w 4033"/>
                <a:gd name="T57" fmla="*/ 4000 h 4033"/>
                <a:gd name="T58" fmla="*/ 1424 w 4033"/>
                <a:gd name="T59" fmla="*/ 3945 h 4033"/>
                <a:gd name="T60" fmla="*/ 1205 w 4033"/>
                <a:gd name="T61" fmla="*/ 3863 h 4033"/>
                <a:gd name="T62" fmla="*/ 999 w 4033"/>
                <a:gd name="T63" fmla="*/ 3758 h 4033"/>
                <a:gd name="T64" fmla="*/ 807 w 4033"/>
                <a:gd name="T65" fmla="*/ 3630 h 4033"/>
                <a:gd name="T66" fmla="*/ 632 w 4033"/>
                <a:gd name="T67" fmla="*/ 3482 h 4033"/>
                <a:gd name="T68" fmla="*/ 474 w 4033"/>
                <a:gd name="T69" fmla="*/ 3316 h 4033"/>
                <a:gd name="T70" fmla="*/ 336 w 4033"/>
                <a:gd name="T71" fmla="*/ 3132 h 4033"/>
                <a:gd name="T72" fmla="*/ 220 w 4033"/>
                <a:gd name="T73" fmla="*/ 2933 h 4033"/>
                <a:gd name="T74" fmla="*/ 126 w 4033"/>
                <a:gd name="T75" fmla="*/ 2720 h 4033"/>
                <a:gd name="T76" fmla="*/ 57 w 4033"/>
                <a:gd name="T77" fmla="*/ 2495 h 4033"/>
                <a:gd name="T78" fmla="*/ 15 w 4033"/>
                <a:gd name="T79" fmla="*/ 2260 h 4033"/>
                <a:gd name="T80" fmla="*/ 0 w 4033"/>
                <a:gd name="T81" fmla="*/ 2016 h 4033"/>
                <a:gd name="T82" fmla="*/ 15 w 4033"/>
                <a:gd name="T83" fmla="*/ 1773 h 4033"/>
                <a:gd name="T84" fmla="*/ 57 w 4033"/>
                <a:gd name="T85" fmla="*/ 1537 h 4033"/>
                <a:gd name="T86" fmla="*/ 126 w 4033"/>
                <a:gd name="T87" fmla="*/ 1312 h 4033"/>
                <a:gd name="T88" fmla="*/ 220 w 4033"/>
                <a:gd name="T89" fmla="*/ 1100 h 4033"/>
                <a:gd name="T90" fmla="*/ 336 w 4033"/>
                <a:gd name="T91" fmla="*/ 901 h 4033"/>
                <a:gd name="T92" fmla="*/ 474 w 4033"/>
                <a:gd name="T93" fmla="*/ 717 h 4033"/>
                <a:gd name="T94" fmla="*/ 632 w 4033"/>
                <a:gd name="T95" fmla="*/ 551 h 4033"/>
                <a:gd name="T96" fmla="*/ 807 w 4033"/>
                <a:gd name="T97" fmla="*/ 403 h 4033"/>
                <a:gd name="T98" fmla="*/ 999 w 4033"/>
                <a:gd name="T99" fmla="*/ 275 h 4033"/>
                <a:gd name="T100" fmla="*/ 1205 w 4033"/>
                <a:gd name="T101" fmla="*/ 170 h 4033"/>
                <a:gd name="T102" fmla="*/ 1424 w 4033"/>
                <a:gd name="T103" fmla="*/ 88 h 4033"/>
                <a:gd name="T104" fmla="*/ 1654 w 4033"/>
                <a:gd name="T105" fmla="*/ 33 h 4033"/>
                <a:gd name="T106" fmla="*/ 1893 w 4033"/>
                <a:gd name="T107" fmla="*/ 3 h 4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33" h="4033">
                  <a:moveTo>
                    <a:pt x="2015" y="0"/>
                  </a:moveTo>
                  <a:lnTo>
                    <a:pt x="2140" y="3"/>
                  </a:lnTo>
                  <a:lnTo>
                    <a:pt x="2260" y="14"/>
                  </a:lnTo>
                  <a:lnTo>
                    <a:pt x="2380" y="33"/>
                  </a:lnTo>
                  <a:lnTo>
                    <a:pt x="2496" y="57"/>
                  </a:lnTo>
                  <a:lnTo>
                    <a:pt x="2609" y="88"/>
                  </a:lnTo>
                  <a:lnTo>
                    <a:pt x="2721" y="126"/>
                  </a:lnTo>
                  <a:lnTo>
                    <a:pt x="2828" y="170"/>
                  </a:lnTo>
                  <a:lnTo>
                    <a:pt x="2933" y="220"/>
                  </a:lnTo>
                  <a:lnTo>
                    <a:pt x="3035" y="275"/>
                  </a:lnTo>
                  <a:lnTo>
                    <a:pt x="3132" y="336"/>
                  </a:lnTo>
                  <a:lnTo>
                    <a:pt x="3227" y="403"/>
                  </a:lnTo>
                  <a:lnTo>
                    <a:pt x="3316" y="474"/>
                  </a:lnTo>
                  <a:lnTo>
                    <a:pt x="3401" y="551"/>
                  </a:lnTo>
                  <a:lnTo>
                    <a:pt x="3482" y="632"/>
                  </a:lnTo>
                  <a:lnTo>
                    <a:pt x="3559" y="717"/>
                  </a:lnTo>
                  <a:lnTo>
                    <a:pt x="3630" y="806"/>
                  </a:lnTo>
                  <a:lnTo>
                    <a:pt x="3697" y="901"/>
                  </a:lnTo>
                  <a:lnTo>
                    <a:pt x="3758" y="998"/>
                  </a:lnTo>
                  <a:lnTo>
                    <a:pt x="3813" y="1100"/>
                  </a:lnTo>
                  <a:lnTo>
                    <a:pt x="3863" y="1205"/>
                  </a:lnTo>
                  <a:lnTo>
                    <a:pt x="3907" y="1312"/>
                  </a:lnTo>
                  <a:lnTo>
                    <a:pt x="3945" y="1424"/>
                  </a:lnTo>
                  <a:lnTo>
                    <a:pt x="3976" y="1537"/>
                  </a:lnTo>
                  <a:lnTo>
                    <a:pt x="4000" y="1653"/>
                  </a:lnTo>
                  <a:lnTo>
                    <a:pt x="4019" y="1773"/>
                  </a:lnTo>
                  <a:lnTo>
                    <a:pt x="4030" y="1893"/>
                  </a:lnTo>
                  <a:lnTo>
                    <a:pt x="4033" y="2016"/>
                  </a:lnTo>
                  <a:lnTo>
                    <a:pt x="4030" y="2140"/>
                  </a:lnTo>
                  <a:lnTo>
                    <a:pt x="4019" y="2260"/>
                  </a:lnTo>
                  <a:lnTo>
                    <a:pt x="4000" y="2379"/>
                  </a:lnTo>
                  <a:lnTo>
                    <a:pt x="3976" y="2495"/>
                  </a:lnTo>
                  <a:lnTo>
                    <a:pt x="3945" y="2609"/>
                  </a:lnTo>
                  <a:lnTo>
                    <a:pt x="3907" y="2720"/>
                  </a:lnTo>
                  <a:lnTo>
                    <a:pt x="3863" y="2828"/>
                  </a:lnTo>
                  <a:lnTo>
                    <a:pt x="3813" y="2933"/>
                  </a:lnTo>
                  <a:lnTo>
                    <a:pt x="3758" y="3034"/>
                  </a:lnTo>
                  <a:lnTo>
                    <a:pt x="3697" y="3132"/>
                  </a:lnTo>
                  <a:lnTo>
                    <a:pt x="3630" y="3226"/>
                  </a:lnTo>
                  <a:lnTo>
                    <a:pt x="3559" y="3316"/>
                  </a:lnTo>
                  <a:lnTo>
                    <a:pt x="3482" y="3401"/>
                  </a:lnTo>
                  <a:lnTo>
                    <a:pt x="3401" y="3482"/>
                  </a:lnTo>
                  <a:lnTo>
                    <a:pt x="3316" y="3559"/>
                  </a:lnTo>
                  <a:lnTo>
                    <a:pt x="3227" y="3630"/>
                  </a:lnTo>
                  <a:lnTo>
                    <a:pt x="3132" y="3697"/>
                  </a:lnTo>
                  <a:lnTo>
                    <a:pt x="3035" y="3758"/>
                  </a:lnTo>
                  <a:lnTo>
                    <a:pt x="2933" y="3813"/>
                  </a:lnTo>
                  <a:lnTo>
                    <a:pt x="2828" y="3863"/>
                  </a:lnTo>
                  <a:lnTo>
                    <a:pt x="2721" y="3907"/>
                  </a:lnTo>
                  <a:lnTo>
                    <a:pt x="2609" y="3945"/>
                  </a:lnTo>
                  <a:lnTo>
                    <a:pt x="2496" y="3976"/>
                  </a:lnTo>
                  <a:lnTo>
                    <a:pt x="2380" y="4000"/>
                  </a:lnTo>
                  <a:lnTo>
                    <a:pt x="2260" y="4018"/>
                  </a:lnTo>
                  <a:lnTo>
                    <a:pt x="2140" y="4029"/>
                  </a:lnTo>
                  <a:lnTo>
                    <a:pt x="2015" y="4033"/>
                  </a:lnTo>
                  <a:lnTo>
                    <a:pt x="1893" y="4029"/>
                  </a:lnTo>
                  <a:lnTo>
                    <a:pt x="1773" y="4018"/>
                  </a:lnTo>
                  <a:lnTo>
                    <a:pt x="1654" y="4000"/>
                  </a:lnTo>
                  <a:lnTo>
                    <a:pt x="1538" y="3976"/>
                  </a:lnTo>
                  <a:lnTo>
                    <a:pt x="1424" y="3945"/>
                  </a:lnTo>
                  <a:lnTo>
                    <a:pt x="1313" y="3907"/>
                  </a:lnTo>
                  <a:lnTo>
                    <a:pt x="1205" y="3863"/>
                  </a:lnTo>
                  <a:lnTo>
                    <a:pt x="1100" y="3813"/>
                  </a:lnTo>
                  <a:lnTo>
                    <a:pt x="999" y="3758"/>
                  </a:lnTo>
                  <a:lnTo>
                    <a:pt x="901" y="3697"/>
                  </a:lnTo>
                  <a:lnTo>
                    <a:pt x="807" y="3630"/>
                  </a:lnTo>
                  <a:lnTo>
                    <a:pt x="717" y="3559"/>
                  </a:lnTo>
                  <a:lnTo>
                    <a:pt x="632" y="3482"/>
                  </a:lnTo>
                  <a:lnTo>
                    <a:pt x="551" y="3401"/>
                  </a:lnTo>
                  <a:lnTo>
                    <a:pt x="474" y="3316"/>
                  </a:lnTo>
                  <a:lnTo>
                    <a:pt x="403" y="3226"/>
                  </a:lnTo>
                  <a:lnTo>
                    <a:pt x="336" y="3132"/>
                  </a:lnTo>
                  <a:lnTo>
                    <a:pt x="275" y="3034"/>
                  </a:lnTo>
                  <a:lnTo>
                    <a:pt x="220" y="2933"/>
                  </a:lnTo>
                  <a:lnTo>
                    <a:pt x="170" y="2828"/>
                  </a:lnTo>
                  <a:lnTo>
                    <a:pt x="126" y="2720"/>
                  </a:lnTo>
                  <a:lnTo>
                    <a:pt x="88" y="2609"/>
                  </a:lnTo>
                  <a:lnTo>
                    <a:pt x="57" y="2495"/>
                  </a:lnTo>
                  <a:lnTo>
                    <a:pt x="33" y="2379"/>
                  </a:lnTo>
                  <a:lnTo>
                    <a:pt x="15" y="2260"/>
                  </a:lnTo>
                  <a:lnTo>
                    <a:pt x="4" y="2140"/>
                  </a:lnTo>
                  <a:lnTo>
                    <a:pt x="0" y="2016"/>
                  </a:lnTo>
                  <a:lnTo>
                    <a:pt x="4" y="1893"/>
                  </a:lnTo>
                  <a:lnTo>
                    <a:pt x="15" y="1773"/>
                  </a:lnTo>
                  <a:lnTo>
                    <a:pt x="33" y="1653"/>
                  </a:lnTo>
                  <a:lnTo>
                    <a:pt x="57" y="1537"/>
                  </a:lnTo>
                  <a:lnTo>
                    <a:pt x="88" y="1424"/>
                  </a:lnTo>
                  <a:lnTo>
                    <a:pt x="126" y="1312"/>
                  </a:lnTo>
                  <a:lnTo>
                    <a:pt x="170" y="1205"/>
                  </a:lnTo>
                  <a:lnTo>
                    <a:pt x="220" y="1100"/>
                  </a:lnTo>
                  <a:lnTo>
                    <a:pt x="275" y="998"/>
                  </a:lnTo>
                  <a:lnTo>
                    <a:pt x="336" y="901"/>
                  </a:lnTo>
                  <a:lnTo>
                    <a:pt x="403" y="806"/>
                  </a:lnTo>
                  <a:lnTo>
                    <a:pt x="474" y="717"/>
                  </a:lnTo>
                  <a:lnTo>
                    <a:pt x="551" y="632"/>
                  </a:lnTo>
                  <a:lnTo>
                    <a:pt x="632" y="551"/>
                  </a:lnTo>
                  <a:lnTo>
                    <a:pt x="717" y="474"/>
                  </a:lnTo>
                  <a:lnTo>
                    <a:pt x="807" y="403"/>
                  </a:lnTo>
                  <a:lnTo>
                    <a:pt x="901" y="336"/>
                  </a:lnTo>
                  <a:lnTo>
                    <a:pt x="999" y="275"/>
                  </a:lnTo>
                  <a:lnTo>
                    <a:pt x="1100" y="220"/>
                  </a:lnTo>
                  <a:lnTo>
                    <a:pt x="1205" y="170"/>
                  </a:lnTo>
                  <a:lnTo>
                    <a:pt x="1313" y="126"/>
                  </a:lnTo>
                  <a:lnTo>
                    <a:pt x="1424" y="88"/>
                  </a:lnTo>
                  <a:lnTo>
                    <a:pt x="1538" y="57"/>
                  </a:lnTo>
                  <a:lnTo>
                    <a:pt x="1654" y="33"/>
                  </a:lnTo>
                  <a:lnTo>
                    <a:pt x="1773" y="14"/>
                  </a:lnTo>
                  <a:lnTo>
                    <a:pt x="1893" y="3"/>
                  </a:lnTo>
                  <a:lnTo>
                    <a:pt x="201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772777" y="1973985"/>
              <a:ext cx="670776" cy="888325"/>
              <a:chOff x="-9182100" y="-4170363"/>
              <a:chExt cx="4287837" cy="5678488"/>
            </a:xfrm>
          </p:grpSpPr>
          <p:sp>
            <p:nvSpPr>
              <p:cNvPr id="49" name="Freeform 22"/>
              <p:cNvSpPr>
                <a:spLocks/>
              </p:cNvSpPr>
              <p:nvPr/>
            </p:nvSpPr>
            <p:spPr bwMode="auto">
              <a:xfrm>
                <a:off x="-7165975" y="-2735263"/>
                <a:ext cx="1501775" cy="2128838"/>
              </a:xfrm>
              <a:custGeom>
                <a:avLst/>
                <a:gdLst>
                  <a:gd name="T0" fmla="*/ 0 w 946"/>
                  <a:gd name="T1" fmla="*/ 0 h 1341"/>
                  <a:gd name="T2" fmla="*/ 836 w 946"/>
                  <a:gd name="T3" fmla="*/ 0 h 1341"/>
                  <a:gd name="T4" fmla="*/ 836 w 946"/>
                  <a:gd name="T5" fmla="*/ 4 h 1341"/>
                  <a:gd name="T6" fmla="*/ 835 w 946"/>
                  <a:gd name="T7" fmla="*/ 16 h 1341"/>
                  <a:gd name="T8" fmla="*/ 833 w 946"/>
                  <a:gd name="T9" fmla="*/ 36 h 1341"/>
                  <a:gd name="T10" fmla="*/ 831 w 946"/>
                  <a:gd name="T11" fmla="*/ 62 h 1341"/>
                  <a:gd name="T12" fmla="*/ 829 w 946"/>
                  <a:gd name="T13" fmla="*/ 95 h 1341"/>
                  <a:gd name="T14" fmla="*/ 826 w 946"/>
                  <a:gd name="T15" fmla="*/ 133 h 1341"/>
                  <a:gd name="T16" fmla="*/ 824 w 946"/>
                  <a:gd name="T17" fmla="*/ 179 h 1341"/>
                  <a:gd name="T18" fmla="*/ 821 w 946"/>
                  <a:gd name="T19" fmla="*/ 227 h 1341"/>
                  <a:gd name="T20" fmla="*/ 820 w 946"/>
                  <a:gd name="T21" fmla="*/ 282 h 1341"/>
                  <a:gd name="T22" fmla="*/ 819 w 946"/>
                  <a:gd name="T23" fmla="*/ 340 h 1341"/>
                  <a:gd name="T24" fmla="*/ 819 w 946"/>
                  <a:gd name="T25" fmla="*/ 402 h 1341"/>
                  <a:gd name="T26" fmla="*/ 819 w 946"/>
                  <a:gd name="T27" fmla="*/ 468 h 1341"/>
                  <a:gd name="T28" fmla="*/ 820 w 946"/>
                  <a:gd name="T29" fmla="*/ 537 h 1341"/>
                  <a:gd name="T30" fmla="*/ 822 w 946"/>
                  <a:gd name="T31" fmla="*/ 606 h 1341"/>
                  <a:gd name="T32" fmla="*/ 826 w 946"/>
                  <a:gd name="T33" fmla="*/ 680 h 1341"/>
                  <a:gd name="T34" fmla="*/ 832 w 946"/>
                  <a:gd name="T35" fmla="*/ 753 h 1341"/>
                  <a:gd name="T36" fmla="*/ 838 w 946"/>
                  <a:gd name="T37" fmla="*/ 829 h 1341"/>
                  <a:gd name="T38" fmla="*/ 847 w 946"/>
                  <a:gd name="T39" fmla="*/ 903 h 1341"/>
                  <a:gd name="T40" fmla="*/ 858 w 946"/>
                  <a:gd name="T41" fmla="*/ 979 h 1341"/>
                  <a:gd name="T42" fmla="*/ 871 w 946"/>
                  <a:gd name="T43" fmla="*/ 1055 h 1341"/>
                  <a:gd name="T44" fmla="*/ 886 w 946"/>
                  <a:gd name="T45" fmla="*/ 1128 h 1341"/>
                  <a:gd name="T46" fmla="*/ 903 w 946"/>
                  <a:gd name="T47" fmla="*/ 1201 h 1341"/>
                  <a:gd name="T48" fmla="*/ 923 w 946"/>
                  <a:gd name="T49" fmla="*/ 1272 h 1341"/>
                  <a:gd name="T50" fmla="*/ 946 w 946"/>
                  <a:gd name="T51" fmla="*/ 1341 h 1341"/>
                  <a:gd name="T52" fmla="*/ 0 w 946"/>
                  <a:gd name="T53" fmla="*/ 1341 h 1341"/>
                  <a:gd name="T54" fmla="*/ 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0" y="0"/>
                    </a:moveTo>
                    <a:lnTo>
                      <a:pt x="836" y="0"/>
                    </a:lnTo>
                    <a:lnTo>
                      <a:pt x="836" y="4"/>
                    </a:lnTo>
                    <a:lnTo>
                      <a:pt x="835" y="16"/>
                    </a:lnTo>
                    <a:lnTo>
                      <a:pt x="833" y="36"/>
                    </a:lnTo>
                    <a:lnTo>
                      <a:pt x="831" y="62"/>
                    </a:lnTo>
                    <a:lnTo>
                      <a:pt x="829" y="95"/>
                    </a:lnTo>
                    <a:lnTo>
                      <a:pt x="826" y="133"/>
                    </a:lnTo>
                    <a:lnTo>
                      <a:pt x="824" y="179"/>
                    </a:lnTo>
                    <a:lnTo>
                      <a:pt x="821" y="227"/>
                    </a:lnTo>
                    <a:lnTo>
                      <a:pt x="820" y="282"/>
                    </a:lnTo>
                    <a:lnTo>
                      <a:pt x="819" y="340"/>
                    </a:lnTo>
                    <a:lnTo>
                      <a:pt x="819" y="402"/>
                    </a:lnTo>
                    <a:lnTo>
                      <a:pt x="819" y="468"/>
                    </a:lnTo>
                    <a:lnTo>
                      <a:pt x="820" y="537"/>
                    </a:lnTo>
                    <a:lnTo>
                      <a:pt x="822" y="606"/>
                    </a:lnTo>
                    <a:lnTo>
                      <a:pt x="826" y="680"/>
                    </a:lnTo>
                    <a:lnTo>
                      <a:pt x="832" y="753"/>
                    </a:lnTo>
                    <a:lnTo>
                      <a:pt x="838" y="829"/>
                    </a:lnTo>
                    <a:lnTo>
                      <a:pt x="847" y="903"/>
                    </a:lnTo>
                    <a:lnTo>
                      <a:pt x="858" y="979"/>
                    </a:lnTo>
                    <a:lnTo>
                      <a:pt x="871" y="1055"/>
                    </a:lnTo>
                    <a:lnTo>
                      <a:pt x="886" y="1128"/>
                    </a:lnTo>
                    <a:lnTo>
                      <a:pt x="903" y="1201"/>
                    </a:lnTo>
                    <a:lnTo>
                      <a:pt x="923" y="1272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0" name="Freeform 23"/>
              <p:cNvSpPr>
                <a:spLocks/>
              </p:cNvSpPr>
              <p:nvPr/>
            </p:nvSpPr>
            <p:spPr bwMode="auto">
              <a:xfrm>
                <a:off x="-8412163" y="-2735263"/>
                <a:ext cx="1501775" cy="2128838"/>
              </a:xfrm>
              <a:custGeom>
                <a:avLst/>
                <a:gdLst>
                  <a:gd name="T0" fmla="*/ 110 w 946"/>
                  <a:gd name="T1" fmla="*/ 0 h 1341"/>
                  <a:gd name="T2" fmla="*/ 946 w 946"/>
                  <a:gd name="T3" fmla="*/ 0 h 1341"/>
                  <a:gd name="T4" fmla="*/ 946 w 946"/>
                  <a:gd name="T5" fmla="*/ 1341 h 1341"/>
                  <a:gd name="T6" fmla="*/ 0 w 946"/>
                  <a:gd name="T7" fmla="*/ 1341 h 1341"/>
                  <a:gd name="T8" fmla="*/ 24 w 946"/>
                  <a:gd name="T9" fmla="*/ 1272 h 1341"/>
                  <a:gd name="T10" fmla="*/ 43 w 946"/>
                  <a:gd name="T11" fmla="*/ 1201 h 1341"/>
                  <a:gd name="T12" fmla="*/ 60 w 946"/>
                  <a:gd name="T13" fmla="*/ 1128 h 1341"/>
                  <a:gd name="T14" fmla="*/ 75 w 946"/>
                  <a:gd name="T15" fmla="*/ 1055 h 1341"/>
                  <a:gd name="T16" fmla="*/ 88 w 946"/>
                  <a:gd name="T17" fmla="*/ 979 h 1341"/>
                  <a:gd name="T18" fmla="*/ 99 w 946"/>
                  <a:gd name="T19" fmla="*/ 903 h 1341"/>
                  <a:gd name="T20" fmla="*/ 108 w 946"/>
                  <a:gd name="T21" fmla="*/ 829 h 1341"/>
                  <a:gd name="T22" fmla="*/ 114 w 946"/>
                  <a:gd name="T23" fmla="*/ 753 h 1341"/>
                  <a:gd name="T24" fmla="*/ 120 w 946"/>
                  <a:gd name="T25" fmla="*/ 680 h 1341"/>
                  <a:gd name="T26" fmla="*/ 124 w 946"/>
                  <a:gd name="T27" fmla="*/ 606 h 1341"/>
                  <a:gd name="T28" fmla="*/ 126 w 946"/>
                  <a:gd name="T29" fmla="*/ 537 h 1341"/>
                  <a:gd name="T30" fmla="*/ 127 w 946"/>
                  <a:gd name="T31" fmla="*/ 468 h 1341"/>
                  <a:gd name="T32" fmla="*/ 127 w 946"/>
                  <a:gd name="T33" fmla="*/ 402 h 1341"/>
                  <a:gd name="T34" fmla="*/ 127 w 946"/>
                  <a:gd name="T35" fmla="*/ 340 h 1341"/>
                  <a:gd name="T36" fmla="*/ 126 w 946"/>
                  <a:gd name="T37" fmla="*/ 282 h 1341"/>
                  <a:gd name="T38" fmla="*/ 125 w 946"/>
                  <a:gd name="T39" fmla="*/ 227 h 1341"/>
                  <a:gd name="T40" fmla="*/ 123 w 946"/>
                  <a:gd name="T41" fmla="*/ 179 h 1341"/>
                  <a:gd name="T42" fmla="*/ 120 w 946"/>
                  <a:gd name="T43" fmla="*/ 133 h 1341"/>
                  <a:gd name="T44" fmla="*/ 118 w 946"/>
                  <a:gd name="T45" fmla="*/ 95 h 1341"/>
                  <a:gd name="T46" fmla="*/ 115 w 946"/>
                  <a:gd name="T47" fmla="*/ 62 h 1341"/>
                  <a:gd name="T48" fmla="*/ 113 w 946"/>
                  <a:gd name="T49" fmla="*/ 36 h 1341"/>
                  <a:gd name="T50" fmla="*/ 112 w 946"/>
                  <a:gd name="T51" fmla="*/ 16 h 1341"/>
                  <a:gd name="T52" fmla="*/ 110 w 946"/>
                  <a:gd name="T53" fmla="*/ 4 h 1341"/>
                  <a:gd name="T54" fmla="*/ 11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110" y="0"/>
                    </a:moveTo>
                    <a:lnTo>
                      <a:pt x="946" y="0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24" y="1272"/>
                    </a:lnTo>
                    <a:lnTo>
                      <a:pt x="43" y="1201"/>
                    </a:lnTo>
                    <a:lnTo>
                      <a:pt x="60" y="1128"/>
                    </a:lnTo>
                    <a:lnTo>
                      <a:pt x="75" y="1055"/>
                    </a:lnTo>
                    <a:lnTo>
                      <a:pt x="88" y="979"/>
                    </a:lnTo>
                    <a:lnTo>
                      <a:pt x="99" y="903"/>
                    </a:lnTo>
                    <a:lnTo>
                      <a:pt x="108" y="829"/>
                    </a:lnTo>
                    <a:lnTo>
                      <a:pt x="114" y="753"/>
                    </a:lnTo>
                    <a:lnTo>
                      <a:pt x="120" y="680"/>
                    </a:lnTo>
                    <a:lnTo>
                      <a:pt x="124" y="606"/>
                    </a:lnTo>
                    <a:lnTo>
                      <a:pt x="126" y="537"/>
                    </a:lnTo>
                    <a:lnTo>
                      <a:pt x="127" y="468"/>
                    </a:lnTo>
                    <a:lnTo>
                      <a:pt x="127" y="402"/>
                    </a:lnTo>
                    <a:lnTo>
                      <a:pt x="127" y="340"/>
                    </a:lnTo>
                    <a:lnTo>
                      <a:pt x="126" y="282"/>
                    </a:lnTo>
                    <a:lnTo>
                      <a:pt x="125" y="227"/>
                    </a:lnTo>
                    <a:lnTo>
                      <a:pt x="123" y="179"/>
                    </a:lnTo>
                    <a:lnTo>
                      <a:pt x="120" y="133"/>
                    </a:lnTo>
                    <a:lnTo>
                      <a:pt x="118" y="95"/>
                    </a:lnTo>
                    <a:lnTo>
                      <a:pt x="115" y="62"/>
                    </a:lnTo>
                    <a:lnTo>
                      <a:pt x="113" y="36"/>
                    </a:lnTo>
                    <a:lnTo>
                      <a:pt x="112" y="16"/>
                    </a:lnTo>
                    <a:lnTo>
                      <a:pt x="110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Freeform 24"/>
              <p:cNvSpPr>
                <a:spLocks/>
              </p:cNvSpPr>
              <p:nvPr/>
            </p:nvSpPr>
            <p:spPr bwMode="auto">
              <a:xfrm>
                <a:off x="-7713663" y="-2262188"/>
                <a:ext cx="1346200" cy="2082800"/>
              </a:xfrm>
              <a:custGeom>
                <a:avLst/>
                <a:gdLst>
                  <a:gd name="T0" fmla="*/ 463 w 848"/>
                  <a:gd name="T1" fmla="*/ 5 h 1312"/>
                  <a:gd name="T2" fmla="*/ 538 w 848"/>
                  <a:gd name="T3" fmla="*/ 37 h 1312"/>
                  <a:gd name="T4" fmla="*/ 606 w 848"/>
                  <a:gd name="T5" fmla="*/ 96 h 1312"/>
                  <a:gd name="T6" fmla="*/ 670 w 848"/>
                  <a:gd name="T7" fmla="*/ 178 h 1312"/>
                  <a:gd name="T8" fmla="*/ 725 w 848"/>
                  <a:gd name="T9" fmla="*/ 277 h 1312"/>
                  <a:gd name="T10" fmla="*/ 771 w 848"/>
                  <a:gd name="T11" fmla="*/ 390 h 1312"/>
                  <a:gd name="T12" fmla="*/ 808 w 848"/>
                  <a:gd name="T13" fmla="*/ 511 h 1312"/>
                  <a:gd name="T14" fmla="*/ 834 w 848"/>
                  <a:gd name="T15" fmla="*/ 637 h 1312"/>
                  <a:gd name="T16" fmla="*/ 847 w 848"/>
                  <a:gd name="T17" fmla="*/ 763 h 1312"/>
                  <a:gd name="T18" fmla="*/ 847 w 848"/>
                  <a:gd name="T19" fmla="*/ 885 h 1312"/>
                  <a:gd name="T20" fmla="*/ 833 w 848"/>
                  <a:gd name="T21" fmla="*/ 994 h 1312"/>
                  <a:gd name="T22" fmla="*/ 803 w 848"/>
                  <a:gd name="T23" fmla="*/ 1084 h 1312"/>
                  <a:gd name="T24" fmla="*/ 763 w 848"/>
                  <a:gd name="T25" fmla="*/ 1159 h 1312"/>
                  <a:gd name="T26" fmla="*/ 710 w 848"/>
                  <a:gd name="T27" fmla="*/ 1216 h 1312"/>
                  <a:gd name="T28" fmla="*/ 650 w 848"/>
                  <a:gd name="T29" fmla="*/ 1259 h 1312"/>
                  <a:gd name="T30" fmla="*/ 581 w 848"/>
                  <a:gd name="T31" fmla="*/ 1290 h 1312"/>
                  <a:gd name="T32" fmla="*/ 505 w 848"/>
                  <a:gd name="T33" fmla="*/ 1306 h 1312"/>
                  <a:gd name="T34" fmla="*/ 424 w 848"/>
                  <a:gd name="T35" fmla="*/ 1312 h 1312"/>
                  <a:gd name="T36" fmla="*/ 345 w 848"/>
                  <a:gd name="T37" fmla="*/ 1306 h 1312"/>
                  <a:gd name="T38" fmla="*/ 269 w 848"/>
                  <a:gd name="T39" fmla="*/ 1290 h 1312"/>
                  <a:gd name="T40" fmla="*/ 200 w 848"/>
                  <a:gd name="T41" fmla="*/ 1259 h 1312"/>
                  <a:gd name="T42" fmla="*/ 138 w 848"/>
                  <a:gd name="T43" fmla="*/ 1216 h 1312"/>
                  <a:gd name="T44" fmla="*/ 87 w 848"/>
                  <a:gd name="T45" fmla="*/ 1159 h 1312"/>
                  <a:gd name="T46" fmla="*/ 47 w 848"/>
                  <a:gd name="T47" fmla="*/ 1084 h 1312"/>
                  <a:gd name="T48" fmla="*/ 17 w 848"/>
                  <a:gd name="T49" fmla="*/ 994 h 1312"/>
                  <a:gd name="T50" fmla="*/ 3 w 848"/>
                  <a:gd name="T51" fmla="*/ 885 h 1312"/>
                  <a:gd name="T52" fmla="*/ 3 w 848"/>
                  <a:gd name="T53" fmla="*/ 763 h 1312"/>
                  <a:gd name="T54" fmla="*/ 16 w 848"/>
                  <a:gd name="T55" fmla="*/ 637 h 1312"/>
                  <a:gd name="T56" fmla="*/ 42 w 848"/>
                  <a:gd name="T57" fmla="*/ 511 h 1312"/>
                  <a:gd name="T58" fmla="*/ 79 w 848"/>
                  <a:gd name="T59" fmla="*/ 390 h 1312"/>
                  <a:gd name="T60" fmla="*/ 125 w 848"/>
                  <a:gd name="T61" fmla="*/ 277 h 1312"/>
                  <a:gd name="T62" fmla="*/ 180 w 848"/>
                  <a:gd name="T63" fmla="*/ 178 h 1312"/>
                  <a:gd name="T64" fmla="*/ 244 w 848"/>
                  <a:gd name="T65" fmla="*/ 96 h 1312"/>
                  <a:gd name="T66" fmla="*/ 312 w 848"/>
                  <a:gd name="T67" fmla="*/ 37 h 1312"/>
                  <a:gd name="T68" fmla="*/ 387 w 848"/>
                  <a:gd name="T69" fmla="*/ 5 h 1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48" h="1312">
                    <a:moveTo>
                      <a:pt x="424" y="0"/>
                    </a:moveTo>
                    <a:lnTo>
                      <a:pt x="463" y="5"/>
                    </a:lnTo>
                    <a:lnTo>
                      <a:pt x="501" y="17"/>
                    </a:lnTo>
                    <a:lnTo>
                      <a:pt x="538" y="37"/>
                    </a:lnTo>
                    <a:lnTo>
                      <a:pt x="573" y="63"/>
                    </a:lnTo>
                    <a:lnTo>
                      <a:pt x="606" y="96"/>
                    </a:lnTo>
                    <a:lnTo>
                      <a:pt x="639" y="134"/>
                    </a:lnTo>
                    <a:lnTo>
                      <a:pt x="670" y="178"/>
                    </a:lnTo>
                    <a:lnTo>
                      <a:pt x="698" y="225"/>
                    </a:lnTo>
                    <a:lnTo>
                      <a:pt x="725" y="277"/>
                    </a:lnTo>
                    <a:lnTo>
                      <a:pt x="749" y="332"/>
                    </a:lnTo>
                    <a:lnTo>
                      <a:pt x="771" y="390"/>
                    </a:lnTo>
                    <a:lnTo>
                      <a:pt x="791" y="450"/>
                    </a:lnTo>
                    <a:lnTo>
                      <a:pt x="808" y="511"/>
                    </a:lnTo>
                    <a:lnTo>
                      <a:pt x="823" y="575"/>
                    </a:lnTo>
                    <a:lnTo>
                      <a:pt x="834" y="637"/>
                    </a:lnTo>
                    <a:lnTo>
                      <a:pt x="842" y="701"/>
                    </a:lnTo>
                    <a:lnTo>
                      <a:pt x="847" y="763"/>
                    </a:lnTo>
                    <a:lnTo>
                      <a:pt x="848" y="824"/>
                    </a:lnTo>
                    <a:lnTo>
                      <a:pt x="847" y="885"/>
                    </a:lnTo>
                    <a:lnTo>
                      <a:pt x="841" y="943"/>
                    </a:lnTo>
                    <a:lnTo>
                      <a:pt x="833" y="994"/>
                    </a:lnTo>
                    <a:lnTo>
                      <a:pt x="819" y="1042"/>
                    </a:lnTo>
                    <a:lnTo>
                      <a:pt x="803" y="1084"/>
                    </a:lnTo>
                    <a:lnTo>
                      <a:pt x="785" y="1123"/>
                    </a:lnTo>
                    <a:lnTo>
                      <a:pt x="763" y="1159"/>
                    </a:lnTo>
                    <a:lnTo>
                      <a:pt x="738" y="1189"/>
                    </a:lnTo>
                    <a:lnTo>
                      <a:pt x="710" y="1216"/>
                    </a:lnTo>
                    <a:lnTo>
                      <a:pt x="681" y="1240"/>
                    </a:lnTo>
                    <a:lnTo>
                      <a:pt x="650" y="1259"/>
                    </a:lnTo>
                    <a:lnTo>
                      <a:pt x="616" y="1276"/>
                    </a:lnTo>
                    <a:lnTo>
                      <a:pt x="581" y="1290"/>
                    </a:lnTo>
                    <a:lnTo>
                      <a:pt x="544" y="1299"/>
                    </a:lnTo>
                    <a:lnTo>
                      <a:pt x="505" y="1306"/>
                    </a:lnTo>
                    <a:lnTo>
                      <a:pt x="466" y="1310"/>
                    </a:lnTo>
                    <a:lnTo>
                      <a:pt x="424" y="1312"/>
                    </a:lnTo>
                    <a:lnTo>
                      <a:pt x="384" y="1310"/>
                    </a:lnTo>
                    <a:lnTo>
                      <a:pt x="345" y="1306"/>
                    </a:lnTo>
                    <a:lnTo>
                      <a:pt x="306" y="1299"/>
                    </a:lnTo>
                    <a:lnTo>
                      <a:pt x="269" y="1290"/>
                    </a:lnTo>
                    <a:lnTo>
                      <a:pt x="234" y="1276"/>
                    </a:lnTo>
                    <a:lnTo>
                      <a:pt x="200" y="1259"/>
                    </a:lnTo>
                    <a:lnTo>
                      <a:pt x="169" y="1240"/>
                    </a:lnTo>
                    <a:lnTo>
                      <a:pt x="138" y="1216"/>
                    </a:lnTo>
                    <a:lnTo>
                      <a:pt x="112" y="1189"/>
                    </a:lnTo>
                    <a:lnTo>
                      <a:pt x="87" y="1159"/>
                    </a:lnTo>
                    <a:lnTo>
                      <a:pt x="65" y="1123"/>
                    </a:lnTo>
                    <a:lnTo>
                      <a:pt x="47" y="1084"/>
                    </a:lnTo>
                    <a:lnTo>
                      <a:pt x="31" y="1042"/>
                    </a:lnTo>
                    <a:lnTo>
                      <a:pt x="17" y="994"/>
                    </a:lnTo>
                    <a:lnTo>
                      <a:pt x="9" y="943"/>
                    </a:lnTo>
                    <a:lnTo>
                      <a:pt x="3" y="885"/>
                    </a:lnTo>
                    <a:lnTo>
                      <a:pt x="0" y="824"/>
                    </a:lnTo>
                    <a:lnTo>
                      <a:pt x="3" y="763"/>
                    </a:lnTo>
                    <a:lnTo>
                      <a:pt x="8" y="701"/>
                    </a:lnTo>
                    <a:lnTo>
                      <a:pt x="16" y="637"/>
                    </a:lnTo>
                    <a:lnTo>
                      <a:pt x="27" y="575"/>
                    </a:lnTo>
                    <a:lnTo>
                      <a:pt x="42" y="511"/>
                    </a:lnTo>
                    <a:lnTo>
                      <a:pt x="59" y="450"/>
                    </a:lnTo>
                    <a:lnTo>
                      <a:pt x="79" y="390"/>
                    </a:lnTo>
                    <a:lnTo>
                      <a:pt x="101" y="332"/>
                    </a:lnTo>
                    <a:lnTo>
                      <a:pt x="125" y="277"/>
                    </a:lnTo>
                    <a:lnTo>
                      <a:pt x="152" y="225"/>
                    </a:lnTo>
                    <a:lnTo>
                      <a:pt x="180" y="178"/>
                    </a:lnTo>
                    <a:lnTo>
                      <a:pt x="211" y="134"/>
                    </a:lnTo>
                    <a:lnTo>
                      <a:pt x="244" y="96"/>
                    </a:lnTo>
                    <a:lnTo>
                      <a:pt x="277" y="63"/>
                    </a:lnTo>
                    <a:lnTo>
                      <a:pt x="312" y="37"/>
                    </a:lnTo>
                    <a:lnTo>
                      <a:pt x="349" y="17"/>
                    </a:lnTo>
                    <a:lnTo>
                      <a:pt x="387" y="5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E6D1A8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Freeform 25"/>
              <p:cNvSpPr>
                <a:spLocks/>
              </p:cNvSpPr>
              <p:nvPr/>
            </p:nvSpPr>
            <p:spPr bwMode="auto">
              <a:xfrm>
                <a:off x="-8275638" y="-4170363"/>
                <a:ext cx="2474913" cy="2760663"/>
              </a:xfrm>
              <a:custGeom>
                <a:avLst/>
                <a:gdLst>
                  <a:gd name="T0" fmla="*/ 833 w 1559"/>
                  <a:gd name="T1" fmla="*/ 1 h 1739"/>
                  <a:gd name="T2" fmla="*/ 945 w 1559"/>
                  <a:gd name="T3" fmla="*/ 19 h 1739"/>
                  <a:gd name="T4" fmla="*/ 1056 w 1559"/>
                  <a:gd name="T5" fmla="*/ 56 h 1739"/>
                  <a:gd name="T6" fmla="*/ 1160 w 1559"/>
                  <a:gd name="T7" fmla="*/ 110 h 1739"/>
                  <a:gd name="T8" fmla="*/ 1272 w 1559"/>
                  <a:gd name="T9" fmla="*/ 195 h 1739"/>
                  <a:gd name="T10" fmla="*/ 1369 w 1559"/>
                  <a:gd name="T11" fmla="*/ 300 h 1739"/>
                  <a:gd name="T12" fmla="*/ 1449 w 1559"/>
                  <a:gd name="T13" fmla="*/ 423 h 1739"/>
                  <a:gd name="T14" fmla="*/ 1508 w 1559"/>
                  <a:gd name="T15" fmla="*/ 561 h 1739"/>
                  <a:gd name="T16" fmla="*/ 1546 w 1559"/>
                  <a:gd name="T17" fmla="*/ 710 h 1739"/>
                  <a:gd name="T18" fmla="*/ 1559 w 1559"/>
                  <a:gd name="T19" fmla="*/ 869 h 1739"/>
                  <a:gd name="T20" fmla="*/ 1552 w 1559"/>
                  <a:gd name="T21" fmla="*/ 985 h 1739"/>
                  <a:gd name="T22" fmla="*/ 1520 w 1559"/>
                  <a:gd name="T23" fmla="*/ 1140 h 1739"/>
                  <a:gd name="T24" fmla="*/ 1465 w 1559"/>
                  <a:gd name="T25" fmla="*/ 1283 h 1739"/>
                  <a:gd name="T26" fmla="*/ 1389 w 1559"/>
                  <a:gd name="T27" fmla="*/ 1410 h 1739"/>
                  <a:gd name="T28" fmla="*/ 1295 w 1559"/>
                  <a:gd name="T29" fmla="*/ 1521 h 1739"/>
                  <a:gd name="T30" fmla="*/ 1184 w 1559"/>
                  <a:gd name="T31" fmla="*/ 1613 h 1739"/>
                  <a:gd name="T32" fmla="*/ 1059 w 1559"/>
                  <a:gd name="T33" fmla="*/ 1681 h 1739"/>
                  <a:gd name="T34" fmla="*/ 924 w 1559"/>
                  <a:gd name="T35" fmla="*/ 1724 h 1739"/>
                  <a:gd name="T36" fmla="*/ 778 w 1559"/>
                  <a:gd name="T37" fmla="*/ 1739 h 1739"/>
                  <a:gd name="T38" fmla="*/ 640 w 1559"/>
                  <a:gd name="T39" fmla="*/ 1725 h 1739"/>
                  <a:gd name="T40" fmla="*/ 508 w 1559"/>
                  <a:gd name="T41" fmla="*/ 1685 h 1739"/>
                  <a:gd name="T42" fmla="*/ 387 w 1559"/>
                  <a:gd name="T43" fmla="*/ 1621 h 1739"/>
                  <a:gd name="T44" fmla="*/ 279 w 1559"/>
                  <a:gd name="T45" fmla="*/ 1536 h 1739"/>
                  <a:gd name="T46" fmla="*/ 186 w 1559"/>
                  <a:gd name="T47" fmla="*/ 1432 h 1739"/>
                  <a:gd name="T48" fmla="*/ 109 w 1559"/>
                  <a:gd name="T49" fmla="*/ 1311 h 1739"/>
                  <a:gd name="T50" fmla="*/ 50 w 1559"/>
                  <a:gd name="T51" fmla="*/ 1177 h 1739"/>
                  <a:gd name="T52" fmla="*/ 13 w 1559"/>
                  <a:gd name="T53" fmla="*/ 1029 h 1739"/>
                  <a:gd name="T54" fmla="*/ 0 w 1559"/>
                  <a:gd name="T55" fmla="*/ 869 h 1739"/>
                  <a:gd name="T56" fmla="*/ 13 w 1559"/>
                  <a:gd name="T57" fmla="*/ 712 h 1739"/>
                  <a:gd name="T58" fmla="*/ 49 w 1559"/>
                  <a:gd name="T59" fmla="*/ 566 h 1739"/>
                  <a:gd name="T60" fmla="*/ 106 w 1559"/>
                  <a:gd name="T61" fmla="*/ 430 h 1739"/>
                  <a:gd name="T62" fmla="*/ 183 w 1559"/>
                  <a:gd name="T63" fmla="*/ 309 h 1739"/>
                  <a:gd name="T64" fmla="*/ 277 w 1559"/>
                  <a:gd name="T65" fmla="*/ 204 h 1739"/>
                  <a:gd name="T66" fmla="*/ 386 w 1559"/>
                  <a:gd name="T67" fmla="*/ 118 h 1739"/>
                  <a:gd name="T68" fmla="*/ 507 w 1559"/>
                  <a:gd name="T69" fmla="*/ 53 h 1739"/>
                  <a:gd name="T70" fmla="*/ 639 w 1559"/>
                  <a:gd name="T71" fmla="*/ 13 h 1739"/>
                  <a:gd name="T72" fmla="*/ 778 w 1559"/>
                  <a:gd name="T73" fmla="*/ 0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59" h="1739">
                    <a:moveTo>
                      <a:pt x="778" y="0"/>
                    </a:moveTo>
                    <a:lnTo>
                      <a:pt x="833" y="1"/>
                    </a:lnTo>
                    <a:lnTo>
                      <a:pt x="887" y="7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0"/>
                    </a:lnTo>
                    <a:lnTo>
                      <a:pt x="1160" y="110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9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8"/>
                    </a:lnTo>
                    <a:lnTo>
                      <a:pt x="1559" y="869"/>
                    </a:lnTo>
                    <a:lnTo>
                      <a:pt x="1558" y="904"/>
                    </a:lnTo>
                    <a:lnTo>
                      <a:pt x="1552" y="985"/>
                    </a:lnTo>
                    <a:lnTo>
                      <a:pt x="1540" y="1064"/>
                    </a:lnTo>
                    <a:lnTo>
                      <a:pt x="1520" y="1140"/>
                    </a:lnTo>
                    <a:lnTo>
                      <a:pt x="1496" y="1212"/>
                    </a:lnTo>
                    <a:lnTo>
                      <a:pt x="1465" y="1283"/>
                    </a:lnTo>
                    <a:lnTo>
                      <a:pt x="1430" y="1349"/>
                    </a:lnTo>
                    <a:lnTo>
                      <a:pt x="1389" y="1410"/>
                    </a:lnTo>
                    <a:lnTo>
                      <a:pt x="1344" y="1469"/>
                    </a:lnTo>
                    <a:lnTo>
                      <a:pt x="1295" y="1521"/>
                    </a:lnTo>
                    <a:lnTo>
                      <a:pt x="1242" y="1570"/>
                    </a:lnTo>
                    <a:lnTo>
                      <a:pt x="1184" y="1613"/>
                    </a:lnTo>
                    <a:lnTo>
                      <a:pt x="1124" y="1650"/>
                    </a:lnTo>
                    <a:lnTo>
                      <a:pt x="1059" y="1681"/>
                    </a:lnTo>
                    <a:lnTo>
                      <a:pt x="993" y="1706"/>
                    </a:lnTo>
                    <a:lnTo>
                      <a:pt x="924" y="1724"/>
                    </a:lnTo>
                    <a:lnTo>
                      <a:pt x="853" y="1735"/>
                    </a:lnTo>
                    <a:lnTo>
                      <a:pt x="778" y="1739"/>
                    </a:lnTo>
                    <a:lnTo>
                      <a:pt x="709" y="1735"/>
                    </a:lnTo>
                    <a:lnTo>
                      <a:pt x="640" y="1725"/>
                    </a:lnTo>
                    <a:lnTo>
                      <a:pt x="573" y="1708"/>
                    </a:lnTo>
                    <a:lnTo>
                      <a:pt x="508" y="1685"/>
                    </a:lnTo>
                    <a:lnTo>
                      <a:pt x="447" y="1656"/>
                    </a:lnTo>
                    <a:lnTo>
                      <a:pt x="387" y="1621"/>
                    </a:lnTo>
                    <a:lnTo>
                      <a:pt x="332" y="1581"/>
                    </a:lnTo>
                    <a:lnTo>
                      <a:pt x="279" y="1536"/>
                    </a:lnTo>
                    <a:lnTo>
                      <a:pt x="230" y="1486"/>
                    </a:lnTo>
                    <a:lnTo>
                      <a:pt x="186" y="1432"/>
                    </a:lnTo>
                    <a:lnTo>
                      <a:pt x="144" y="1373"/>
                    </a:lnTo>
                    <a:lnTo>
                      <a:pt x="109" y="1311"/>
                    </a:lnTo>
                    <a:lnTo>
                      <a:pt x="77" y="1246"/>
                    </a:lnTo>
                    <a:lnTo>
                      <a:pt x="50" y="1177"/>
                    </a:lnTo>
                    <a:lnTo>
                      <a:pt x="29" y="1105"/>
                    </a:lnTo>
                    <a:lnTo>
                      <a:pt x="13" y="1029"/>
                    </a:lnTo>
                    <a:lnTo>
                      <a:pt x="4" y="949"/>
                    </a:lnTo>
                    <a:lnTo>
                      <a:pt x="0" y="869"/>
                    </a:lnTo>
                    <a:lnTo>
                      <a:pt x="4" y="790"/>
                    </a:lnTo>
                    <a:lnTo>
                      <a:pt x="13" y="712"/>
                    </a:lnTo>
                    <a:lnTo>
                      <a:pt x="28" y="638"/>
                    </a:lnTo>
                    <a:lnTo>
                      <a:pt x="49" y="566"/>
                    </a:lnTo>
                    <a:lnTo>
                      <a:pt x="76" y="496"/>
                    </a:lnTo>
                    <a:lnTo>
                      <a:pt x="106" y="430"/>
                    </a:lnTo>
                    <a:lnTo>
                      <a:pt x="143" y="368"/>
                    </a:lnTo>
                    <a:lnTo>
                      <a:pt x="183" y="309"/>
                    </a:lnTo>
                    <a:lnTo>
                      <a:pt x="228" y="254"/>
                    </a:lnTo>
                    <a:lnTo>
                      <a:pt x="277" y="204"/>
                    </a:lnTo>
                    <a:lnTo>
                      <a:pt x="330" y="159"/>
                    </a:lnTo>
                    <a:lnTo>
                      <a:pt x="386" y="118"/>
                    </a:lnTo>
                    <a:lnTo>
                      <a:pt x="446" y="83"/>
                    </a:lnTo>
                    <a:lnTo>
                      <a:pt x="507" y="53"/>
                    </a:lnTo>
                    <a:lnTo>
                      <a:pt x="572" y="30"/>
                    </a:lnTo>
                    <a:lnTo>
                      <a:pt x="639" y="13"/>
                    </a:lnTo>
                    <a:lnTo>
                      <a:pt x="709" y="2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3" name="Freeform 26"/>
              <p:cNvSpPr>
                <a:spLocks/>
              </p:cNvSpPr>
              <p:nvPr/>
            </p:nvSpPr>
            <p:spPr bwMode="auto">
              <a:xfrm>
                <a:off x="-8275638" y="-4170363"/>
                <a:ext cx="2473325" cy="1755775"/>
              </a:xfrm>
              <a:custGeom>
                <a:avLst/>
                <a:gdLst>
                  <a:gd name="T0" fmla="*/ 833 w 1558"/>
                  <a:gd name="T1" fmla="*/ 2 h 1106"/>
                  <a:gd name="T2" fmla="*/ 945 w 1558"/>
                  <a:gd name="T3" fmla="*/ 19 h 1106"/>
                  <a:gd name="T4" fmla="*/ 1056 w 1558"/>
                  <a:gd name="T5" fmla="*/ 56 h 1106"/>
                  <a:gd name="T6" fmla="*/ 1160 w 1558"/>
                  <a:gd name="T7" fmla="*/ 111 h 1106"/>
                  <a:gd name="T8" fmla="*/ 1272 w 1558"/>
                  <a:gd name="T9" fmla="*/ 195 h 1106"/>
                  <a:gd name="T10" fmla="*/ 1369 w 1558"/>
                  <a:gd name="T11" fmla="*/ 300 h 1106"/>
                  <a:gd name="T12" fmla="*/ 1448 w 1558"/>
                  <a:gd name="T13" fmla="*/ 423 h 1106"/>
                  <a:gd name="T14" fmla="*/ 1508 w 1558"/>
                  <a:gd name="T15" fmla="*/ 561 h 1106"/>
                  <a:gd name="T16" fmla="*/ 1546 w 1558"/>
                  <a:gd name="T17" fmla="*/ 710 h 1106"/>
                  <a:gd name="T18" fmla="*/ 1558 w 1558"/>
                  <a:gd name="T19" fmla="*/ 870 h 1106"/>
                  <a:gd name="T20" fmla="*/ 1491 w 1558"/>
                  <a:gd name="T21" fmla="*/ 892 h 1106"/>
                  <a:gd name="T22" fmla="*/ 1365 w 1558"/>
                  <a:gd name="T23" fmla="*/ 847 h 1106"/>
                  <a:gd name="T24" fmla="*/ 1249 w 1558"/>
                  <a:gd name="T25" fmla="*/ 779 h 1106"/>
                  <a:gd name="T26" fmla="*/ 1146 w 1558"/>
                  <a:gd name="T27" fmla="*/ 693 h 1106"/>
                  <a:gd name="T28" fmla="*/ 1057 w 1558"/>
                  <a:gd name="T29" fmla="*/ 588 h 1106"/>
                  <a:gd name="T30" fmla="*/ 985 w 1558"/>
                  <a:gd name="T31" fmla="*/ 468 h 1106"/>
                  <a:gd name="T32" fmla="*/ 916 w 1558"/>
                  <a:gd name="T33" fmla="*/ 561 h 1106"/>
                  <a:gd name="T34" fmla="*/ 837 w 1558"/>
                  <a:gd name="T35" fmla="*/ 656 h 1106"/>
                  <a:gd name="T36" fmla="*/ 743 w 1558"/>
                  <a:gd name="T37" fmla="*/ 750 h 1106"/>
                  <a:gd name="T38" fmla="*/ 633 w 1558"/>
                  <a:gd name="T39" fmla="*/ 839 h 1106"/>
                  <a:gd name="T40" fmla="*/ 508 w 1558"/>
                  <a:gd name="T41" fmla="*/ 922 h 1106"/>
                  <a:gd name="T42" fmla="*/ 367 w 1558"/>
                  <a:gd name="T43" fmla="*/ 997 h 1106"/>
                  <a:gd name="T44" fmla="*/ 208 w 1558"/>
                  <a:gd name="T45" fmla="*/ 1058 h 1106"/>
                  <a:gd name="T46" fmla="*/ 29 w 1558"/>
                  <a:gd name="T47" fmla="*/ 1106 h 1106"/>
                  <a:gd name="T48" fmla="*/ 4 w 1558"/>
                  <a:gd name="T49" fmla="*/ 951 h 1106"/>
                  <a:gd name="T50" fmla="*/ 4 w 1558"/>
                  <a:gd name="T51" fmla="*/ 786 h 1106"/>
                  <a:gd name="T52" fmla="*/ 32 w 1558"/>
                  <a:gd name="T53" fmla="*/ 625 h 1106"/>
                  <a:gd name="T54" fmla="*/ 84 w 1558"/>
                  <a:gd name="T55" fmla="*/ 476 h 1106"/>
                  <a:gd name="T56" fmla="*/ 159 w 1558"/>
                  <a:gd name="T57" fmla="*/ 343 h 1106"/>
                  <a:gd name="T58" fmla="*/ 254 w 1558"/>
                  <a:gd name="T59" fmla="*/ 227 h 1106"/>
                  <a:gd name="T60" fmla="*/ 367 w 1558"/>
                  <a:gd name="T61" fmla="*/ 132 h 1106"/>
                  <a:gd name="T62" fmla="*/ 492 w 1558"/>
                  <a:gd name="T63" fmla="*/ 61 h 1106"/>
                  <a:gd name="T64" fmla="*/ 632 w 1558"/>
                  <a:gd name="T65" fmla="*/ 16 h 1106"/>
                  <a:gd name="T66" fmla="*/ 778 w 1558"/>
                  <a:gd name="T67" fmla="*/ 0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58" h="1106">
                    <a:moveTo>
                      <a:pt x="778" y="0"/>
                    </a:moveTo>
                    <a:lnTo>
                      <a:pt x="833" y="2"/>
                    </a:lnTo>
                    <a:lnTo>
                      <a:pt x="887" y="8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2"/>
                    </a:lnTo>
                    <a:lnTo>
                      <a:pt x="1160" y="111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8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9"/>
                    </a:lnTo>
                    <a:lnTo>
                      <a:pt x="1558" y="870"/>
                    </a:lnTo>
                    <a:lnTo>
                      <a:pt x="1557" y="905"/>
                    </a:lnTo>
                    <a:lnTo>
                      <a:pt x="1491" y="892"/>
                    </a:lnTo>
                    <a:lnTo>
                      <a:pt x="1427" y="872"/>
                    </a:lnTo>
                    <a:lnTo>
                      <a:pt x="1365" y="847"/>
                    </a:lnTo>
                    <a:lnTo>
                      <a:pt x="1305" y="816"/>
                    </a:lnTo>
                    <a:lnTo>
                      <a:pt x="1249" y="779"/>
                    </a:lnTo>
                    <a:lnTo>
                      <a:pt x="1195" y="738"/>
                    </a:lnTo>
                    <a:lnTo>
                      <a:pt x="1146" y="693"/>
                    </a:lnTo>
                    <a:lnTo>
                      <a:pt x="1100" y="641"/>
                    </a:lnTo>
                    <a:lnTo>
                      <a:pt x="1057" y="588"/>
                    </a:lnTo>
                    <a:lnTo>
                      <a:pt x="1018" y="529"/>
                    </a:lnTo>
                    <a:lnTo>
                      <a:pt x="985" y="468"/>
                    </a:lnTo>
                    <a:lnTo>
                      <a:pt x="952" y="514"/>
                    </a:lnTo>
                    <a:lnTo>
                      <a:pt x="916" y="561"/>
                    </a:lnTo>
                    <a:lnTo>
                      <a:pt x="879" y="608"/>
                    </a:lnTo>
                    <a:lnTo>
                      <a:pt x="837" y="656"/>
                    </a:lnTo>
                    <a:lnTo>
                      <a:pt x="792" y="704"/>
                    </a:lnTo>
                    <a:lnTo>
                      <a:pt x="743" y="750"/>
                    </a:lnTo>
                    <a:lnTo>
                      <a:pt x="690" y="795"/>
                    </a:lnTo>
                    <a:lnTo>
                      <a:pt x="633" y="839"/>
                    </a:lnTo>
                    <a:lnTo>
                      <a:pt x="573" y="882"/>
                    </a:lnTo>
                    <a:lnTo>
                      <a:pt x="508" y="922"/>
                    </a:lnTo>
                    <a:lnTo>
                      <a:pt x="440" y="960"/>
                    </a:lnTo>
                    <a:lnTo>
                      <a:pt x="367" y="997"/>
                    </a:lnTo>
                    <a:lnTo>
                      <a:pt x="290" y="1029"/>
                    </a:lnTo>
                    <a:lnTo>
                      <a:pt x="208" y="1058"/>
                    </a:lnTo>
                    <a:lnTo>
                      <a:pt x="121" y="1084"/>
                    </a:lnTo>
                    <a:lnTo>
                      <a:pt x="29" y="1106"/>
                    </a:lnTo>
                    <a:lnTo>
                      <a:pt x="13" y="1030"/>
                    </a:lnTo>
                    <a:lnTo>
                      <a:pt x="4" y="951"/>
                    </a:lnTo>
                    <a:lnTo>
                      <a:pt x="0" y="870"/>
                    </a:lnTo>
                    <a:lnTo>
                      <a:pt x="4" y="786"/>
                    </a:lnTo>
                    <a:lnTo>
                      <a:pt x="15" y="705"/>
                    </a:lnTo>
                    <a:lnTo>
                      <a:pt x="32" y="625"/>
                    </a:lnTo>
                    <a:lnTo>
                      <a:pt x="55" y="550"/>
                    </a:lnTo>
                    <a:lnTo>
                      <a:pt x="84" y="476"/>
                    </a:lnTo>
                    <a:lnTo>
                      <a:pt x="118" y="408"/>
                    </a:lnTo>
                    <a:lnTo>
                      <a:pt x="159" y="343"/>
                    </a:lnTo>
                    <a:lnTo>
                      <a:pt x="204" y="283"/>
                    </a:lnTo>
                    <a:lnTo>
                      <a:pt x="254" y="227"/>
                    </a:lnTo>
                    <a:lnTo>
                      <a:pt x="308" y="177"/>
                    </a:lnTo>
                    <a:lnTo>
                      <a:pt x="367" y="132"/>
                    </a:lnTo>
                    <a:lnTo>
                      <a:pt x="428" y="94"/>
                    </a:lnTo>
                    <a:lnTo>
                      <a:pt x="492" y="61"/>
                    </a:lnTo>
                    <a:lnTo>
                      <a:pt x="561" y="35"/>
                    </a:lnTo>
                    <a:lnTo>
                      <a:pt x="632" y="16"/>
                    </a:lnTo>
                    <a:lnTo>
                      <a:pt x="705" y="3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Freeform 27"/>
              <p:cNvSpPr>
                <a:spLocks/>
              </p:cNvSpPr>
              <p:nvPr/>
            </p:nvSpPr>
            <p:spPr bwMode="auto">
              <a:xfrm>
                <a:off x="-8415338" y="-715963"/>
                <a:ext cx="2570163" cy="1474788"/>
              </a:xfrm>
              <a:custGeom>
                <a:avLst/>
                <a:gdLst>
                  <a:gd name="T0" fmla="*/ 379 w 1619"/>
                  <a:gd name="T1" fmla="*/ 44 h 929"/>
                  <a:gd name="T2" fmla="*/ 507 w 1619"/>
                  <a:gd name="T3" fmla="*/ 116 h 929"/>
                  <a:gd name="T4" fmla="*/ 645 w 1619"/>
                  <a:gd name="T5" fmla="*/ 165 h 929"/>
                  <a:gd name="T6" fmla="*/ 792 w 1619"/>
                  <a:gd name="T7" fmla="*/ 192 h 929"/>
                  <a:gd name="T8" fmla="*/ 941 w 1619"/>
                  <a:gd name="T9" fmla="*/ 192 h 929"/>
                  <a:gd name="T10" fmla="*/ 1084 w 1619"/>
                  <a:gd name="T11" fmla="*/ 168 h 929"/>
                  <a:gd name="T12" fmla="*/ 1218 w 1619"/>
                  <a:gd name="T13" fmla="*/ 120 h 929"/>
                  <a:gd name="T14" fmla="*/ 1344 w 1619"/>
                  <a:gd name="T15" fmla="*/ 52 h 929"/>
                  <a:gd name="T16" fmla="*/ 1398 w 1619"/>
                  <a:gd name="T17" fmla="*/ 58 h 929"/>
                  <a:gd name="T18" fmla="*/ 1398 w 1619"/>
                  <a:gd name="T19" fmla="*/ 151 h 929"/>
                  <a:gd name="T20" fmla="*/ 1413 w 1619"/>
                  <a:gd name="T21" fmla="*/ 242 h 929"/>
                  <a:gd name="T22" fmla="*/ 1442 w 1619"/>
                  <a:gd name="T23" fmla="*/ 328 h 929"/>
                  <a:gd name="T24" fmla="*/ 1486 w 1619"/>
                  <a:gd name="T25" fmla="*/ 405 h 929"/>
                  <a:gd name="T26" fmla="*/ 1546 w 1619"/>
                  <a:gd name="T27" fmla="*/ 470 h 929"/>
                  <a:gd name="T28" fmla="*/ 1619 w 1619"/>
                  <a:gd name="T29" fmla="*/ 519 h 929"/>
                  <a:gd name="T30" fmla="*/ 1514 w 1619"/>
                  <a:gd name="T31" fmla="*/ 646 h 929"/>
                  <a:gd name="T32" fmla="*/ 1393 w 1619"/>
                  <a:gd name="T33" fmla="*/ 753 h 929"/>
                  <a:gd name="T34" fmla="*/ 1256 w 1619"/>
                  <a:gd name="T35" fmla="*/ 836 h 929"/>
                  <a:gd name="T36" fmla="*/ 1108 w 1619"/>
                  <a:gd name="T37" fmla="*/ 895 h 929"/>
                  <a:gd name="T38" fmla="*/ 949 w 1619"/>
                  <a:gd name="T39" fmla="*/ 926 h 929"/>
                  <a:gd name="T40" fmla="*/ 786 w 1619"/>
                  <a:gd name="T41" fmla="*/ 926 h 929"/>
                  <a:gd name="T42" fmla="*/ 628 w 1619"/>
                  <a:gd name="T43" fmla="*/ 896 h 929"/>
                  <a:gd name="T44" fmla="*/ 481 w 1619"/>
                  <a:gd name="T45" fmla="*/ 839 h 929"/>
                  <a:gd name="T46" fmla="*/ 346 w 1619"/>
                  <a:gd name="T47" fmla="*/ 756 h 929"/>
                  <a:gd name="T48" fmla="*/ 225 w 1619"/>
                  <a:gd name="T49" fmla="*/ 652 h 929"/>
                  <a:gd name="T50" fmla="*/ 121 w 1619"/>
                  <a:gd name="T51" fmla="*/ 527 h 929"/>
                  <a:gd name="T52" fmla="*/ 35 w 1619"/>
                  <a:gd name="T53" fmla="*/ 384 h 929"/>
                  <a:gd name="T54" fmla="*/ 45 w 1619"/>
                  <a:gd name="T55" fmla="*/ 299 h 929"/>
                  <a:gd name="T56" fmla="*/ 127 w 1619"/>
                  <a:gd name="T57" fmla="*/ 267 h 929"/>
                  <a:gd name="T58" fmla="*/ 194 w 1619"/>
                  <a:gd name="T59" fmla="*/ 218 h 929"/>
                  <a:gd name="T60" fmla="*/ 249 w 1619"/>
                  <a:gd name="T61" fmla="*/ 156 h 929"/>
                  <a:gd name="T62" fmla="*/ 291 w 1619"/>
                  <a:gd name="T63" fmla="*/ 82 h 929"/>
                  <a:gd name="T64" fmla="*/ 319 w 1619"/>
                  <a:gd name="T65" fmla="*/ 0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9" h="929">
                    <a:moveTo>
                      <a:pt x="319" y="0"/>
                    </a:moveTo>
                    <a:lnTo>
                      <a:pt x="379" y="44"/>
                    </a:lnTo>
                    <a:lnTo>
                      <a:pt x="441" y="82"/>
                    </a:lnTo>
                    <a:lnTo>
                      <a:pt x="507" y="116"/>
                    </a:lnTo>
                    <a:lnTo>
                      <a:pt x="574" y="143"/>
                    </a:lnTo>
                    <a:lnTo>
                      <a:pt x="645" y="165"/>
                    </a:lnTo>
                    <a:lnTo>
                      <a:pt x="717" y="182"/>
                    </a:lnTo>
                    <a:lnTo>
                      <a:pt x="792" y="192"/>
                    </a:lnTo>
                    <a:lnTo>
                      <a:pt x="866" y="195"/>
                    </a:lnTo>
                    <a:lnTo>
                      <a:pt x="941" y="192"/>
                    </a:lnTo>
                    <a:lnTo>
                      <a:pt x="1013" y="182"/>
                    </a:lnTo>
                    <a:lnTo>
                      <a:pt x="1084" y="168"/>
                    </a:lnTo>
                    <a:lnTo>
                      <a:pt x="1152" y="147"/>
                    </a:lnTo>
                    <a:lnTo>
                      <a:pt x="1218" y="120"/>
                    </a:lnTo>
                    <a:lnTo>
                      <a:pt x="1283" y="88"/>
                    </a:lnTo>
                    <a:lnTo>
                      <a:pt x="1344" y="52"/>
                    </a:lnTo>
                    <a:lnTo>
                      <a:pt x="1403" y="11"/>
                    </a:lnTo>
                    <a:lnTo>
                      <a:pt x="1398" y="58"/>
                    </a:lnTo>
                    <a:lnTo>
                      <a:pt x="1396" y="104"/>
                    </a:lnTo>
                    <a:lnTo>
                      <a:pt x="1398" y="151"/>
                    </a:lnTo>
                    <a:lnTo>
                      <a:pt x="1403" y="197"/>
                    </a:lnTo>
                    <a:lnTo>
                      <a:pt x="1413" y="242"/>
                    </a:lnTo>
                    <a:lnTo>
                      <a:pt x="1426" y="286"/>
                    </a:lnTo>
                    <a:lnTo>
                      <a:pt x="1442" y="328"/>
                    </a:lnTo>
                    <a:lnTo>
                      <a:pt x="1463" y="368"/>
                    </a:lnTo>
                    <a:lnTo>
                      <a:pt x="1486" y="405"/>
                    </a:lnTo>
                    <a:lnTo>
                      <a:pt x="1514" y="439"/>
                    </a:lnTo>
                    <a:lnTo>
                      <a:pt x="1546" y="470"/>
                    </a:lnTo>
                    <a:lnTo>
                      <a:pt x="1580" y="497"/>
                    </a:lnTo>
                    <a:lnTo>
                      <a:pt x="1619" y="519"/>
                    </a:lnTo>
                    <a:lnTo>
                      <a:pt x="1569" y="585"/>
                    </a:lnTo>
                    <a:lnTo>
                      <a:pt x="1514" y="646"/>
                    </a:lnTo>
                    <a:lnTo>
                      <a:pt x="1455" y="702"/>
                    </a:lnTo>
                    <a:lnTo>
                      <a:pt x="1393" y="753"/>
                    </a:lnTo>
                    <a:lnTo>
                      <a:pt x="1326" y="797"/>
                    </a:lnTo>
                    <a:lnTo>
                      <a:pt x="1256" y="836"/>
                    </a:lnTo>
                    <a:lnTo>
                      <a:pt x="1184" y="869"/>
                    </a:lnTo>
                    <a:lnTo>
                      <a:pt x="1108" y="895"/>
                    </a:lnTo>
                    <a:lnTo>
                      <a:pt x="1030" y="915"/>
                    </a:lnTo>
                    <a:lnTo>
                      <a:pt x="949" y="926"/>
                    </a:lnTo>
                    <a:lnTo>
                      <a:pt x="866" y="929"/>
                    </a:lnTo>
                    <a:lnTo>
                      <a:pt x="786" y="926"/>
                    </a:lnTo>
                    <a:lnTo>
                      <a:pt x="705" y="915"/>
                    </a:lnTo>
                    <a:lnTo>
                      <a:pt x="628" y="896"/>
                    </a:lnTo>
                    <a:lnTo>
                      <a:pt x="554" y="871"/>
                    </a:lnTo>
                    <a:lnTo>
                      <a:pt x="481" y="839"/>
                    </a:lnTo>
                    <a:lnTo>
                      <a:pt x="412" y="801"/>
                    </a:lnTo>
                    <a:lnTo>
                      <a:pt x="346" y="756"/>
                    </a:lnTo>
                    <a:lnTo>
                      <a:pt x="283" y="707"/>
                    </a:lnTo>
                    <a:lnTo>
                      <a:pt x="225" y="652"/>
                    </a:lnTo>
                    <a:lnTo>
                      <a:pt x="171" y="592"/>
                    </a:lnTo>
                    <a:lnTo>
                      <a:pt x="121" y="527"/>
                    </a:lnTo>
                    <a:lnTo>
                      <a:pt x="76" y="457"/>
                    </a:lnTo>
                    <a:lnTo>
                      <a:pt x="35" y="384"/>
                    </a:lnTo>
                    <a:lnTo>
                      <a:pt x="0" y="308"/>
                    </a:lnTo>
                    <a:lnTo>
                      <a:pt x="45" y="299"/>
                    </a:lnTo>
                    <a:lnTo>
                      <a:pt x="88" y="285"/>
                    </a:lnTo>
                    <a:lnTo>
                      <a:pt x="127" y="267"/>
                    </a:lnTo>
                    <a:lnTo>
                      <a:pt x="162" y="244"/>
                    </a:lnTo>
                    <a:lnTo>
                      <a:pt x="194" y="218"/>
                    </a:lnTo>
                    <a:lnTo>
                      <a:pt x="224" y="187"/>
                    </a:lnTo>
                    <a:lnTo>
                      <a:pt x="249" y="156"/>
                    </a:lnTo>
                    <a:lnTo>
                      <a:pt x="271" y="120"/>
                    </a:lnTo>
                    <a:lnTo>
                      <a:pt x="291" y="82"/>
                    </a:lnTo>
                    <a:lnTo>
                      <a:pt x="307" y="42"/>
                    </a:lnTo>
                    <a:lnTo>
                      <a:pt x="31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Freeform 28"/>
              <p:cNvSpPr>
                <a:spLocks/>
              </p:cNvSpPr>
              <p:nvPr/>
            </p:nvSpPr>
            <p:spPr bwMode="auto">
              <a:xfrm>
                <a:off x="-5367338" y="-457200"/>
                <a:ext cx="473075" cy="1495425"/>
              </a:xfrm>
              <a:custGeom>
                <a:avLst/>
                <a:gdLst>
                  <a:gd name="T0" fmla="*/ 217 w 298"/>
                  <a:gd name="T1" fmla="*/ 0 h 942"/>
                  <a:gd name="T2" fmla="*/ 219 w 298"/>
                  <a:gd name="T3" fmla="*/ 4 h 942"/>
                  <a:gd name="T4" fmla="*/ 220 w 298"/>
                  <a:gd name="T5" fmla="*/ 16 h 942"/>
                  <a:gd name="T6" fmla="*/ 222 w 298"/>
                  <a:gd name="T7" fmla="*/ 35 h 942"/>
                  <a:gd name="T8" fmla="*/ 225 w 298"/>
                  <a:gd name="T9" fmla="*/ 62 h 942"/>
                  <a:gd name="T10" fmla="*/ 228 w 298"/>
                  <a:gd name="T11" fmla="*/ 95 h 942"/>
                  <a:gd name="T12" fmla="*/ 233 w 298"/>
                  <a:gd name="T13" fmla="*/ 134 h 942"/>
                  <a:gd name="T14" fmla="*/ 238 w 298"/>
                  <a:gd name="T15" fmla="*/ 177 h 942"/>
                  <a:gd name="T16" fmla="*/ 244 w 298"/>
                  <a:gd name="T17" fmla="*/ 226 h 942"/>
                  <a:gd name="T18" fmla="*/ 250 w 298"/>
                  <a:gd name="T19" fmla="*/ 279 h 942"/>
                  <a:gd name="T20" fmla="*/ 257 w 298"/>
                  <a:gd name="T21" fmla="*/ 335 h 942"/>
                  <a:gd name="T22" fmla="*/ 264 w 298"/>
                  <a:gd name="T23" fmla="*/ 395 h 942"/>
                  <a:gd name="T24" fmla="*/ 270 w 298"/>
                  <a:gd name="T25" fmla="*/ 457 h 942"/>
                  <a:gd name="T26" fmla="*/ 277 w 298"/>
                  <a:gd name="T27" fmla="*/ 521 h 942"/>
                  <a:gd name="T28" fmla="*/ 285 w 298"/>
                  <a:gd name="T29" fmla="*/ 587 h 942"/>
                  <a:gd name="T30" fmla="*/ 292 w 298"/>
                  <a:gd name="T31" fmla="*/ 653 h 942"/>
                  <a:gd name="T32" fmla="*/ 298 w 298"/>
                  <a:gd name="T33" fmla="*/ 720 h 942"/>
                  <a:gd name="T34" fmla="*/ 228 w 298"/>
                  <a:gd name="T35" fmla="*/ 780 h 942"/>
                  <a:gd name="T36" fmla="*/ 155 w 298"/>
                  <a:gd name="T37" fmla="*/ 837 h 942"/>
                  <a:gd name="T38" fmla="*/ 78 w 298"/>
                  <a:gd name="T39" fmla="*/ 891 h 942"/>
                  <a:gd name="T40" fmla="*/ 0 w 298"/>
                  <a:gd name="T41" fmla="*/ 942 h 942"/>
                  <a:gd name="T42" fmla="*/ 12 w 298"/>
                  <a:gd name="T43" fmla="*/ 871 h 942"/>
                  <a:gd name="T44" fmla="*/ 26 w 298"/>
                  <a:gd name="T45" fmla="*/ 802 h 942"/>
                  <a:gd name="T46" fmla="*/ 39 w 298"/>
                  <a:gd name="T47" fmla="*/ 732 h 942"/>
                  <a:gd name="T48" fmla="*/ 54 w 298"/>
                  <a:gd name="T49" fmla="*/ 664 h 942"/>
                  <a:gd name="T50" fmla="*/ 67 w 298"/>
                  <a:gd name="T51" fmla="*/ 596 h 942"/>
                  <a:gd name="T52" fmla="*/ 82 w 298"/>
                  <a:gd name="T53" fmla="*/ 532 h 942"/>
                  <a:gd name="T54" fmla="*/ 96 w 298"/>
                  <a:gd name="T55" fmla="*/ 468 h 942"/>
                  <a:gd name="T56" fmla="*/ 111 w 298"/>
                  <a:gd name="T57" fmla="*/ 407 h 942"/>
                  <a:gd name="T58" fmla="*/ 125 w 298"/>
                  <a:gd name="T59" fmla="*/ 349 h 942"/>
                  <a:gd name="T60" fmla="*/ 139 w 298"/>
                  <a:gd name="T61" fmla="*/ 294 h 942"/>
                  <a:gd name="T62" fmla="*/ 151 w 298"/>
                  <a:gd name="T63" fmla="*/ 243 h 942"/>
                  <a:gd name="T64" fmla="*/ 164 w 298"/>
                  <a:gd name="T65" fmla="*/ 197 h 942"/>
                  <a:gd name="T66" fmla="*/ 176 w 298"/>
                  <a:gd name="T67" fmla="*/ 153 h 942"/>
                  <a:gd name="T68" fmla="*/ 186 w 298"/>
                  <a:gd name="T69" fmla="*/ 115 h 942"/>
                  <a:gd name="T70" fmla="*/ 194 w 298"/>
                  <a:gd name="T71" fmla="*/ 81 h 942"/>
                  <a:gd name="T72" fmla="*/ 203 w 298"/>
                  <a:gd name="T73" fmla="*/ 52 h 942"/>
                  <a:gd name="T74" fmla="*/ 209 w 298"/>
                  <a:gd name="T75" fmla="*/ 30 h 942"/>
                  <a:gd name="T76" fmla="*/ 214 w 298"/>
                  <a:gd name="T77" fmla="*/ 13 h 942"/>
                  <a:gd name="T78" fmla="*/ 216 w 298"/>
                  <a:gd name="T79" fmla="*/ 4 h 942"/>
                  <a:gd name="T80" fmla="*/ 217 w 298"/>
                  <a:gd name="T81" fmla="*/ 0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8" h="942">
                    <a:moveTo>
                      <a:pt x="217" y="0"/>
                    </a:moveTo>
                    <a:lnTo>
                      <a:pt x="219" y="4"/>
                    </a:lnTo>
                    <a:lnTo>
                      <a:pt x="220" y="16"/>
                    </a:lnTo>
                    <a:lnTo>
                      <a:pt x="222" y="35"/>
                    </a:lnTo>
                    <a:lnTo>
                      <a:pt x="225" y="62"/>
                    </a:lnTo>
                    <a:lnTo>
                      <a:pt x="228" y="95"/>
                    </a:lnTo>
                    <a:lnTo>
                      <a:pt x="233" y="134"/>
                    </a:lnTo>
                    <a:lnTo>
                      <a:pt x="238" y="177"/>
                    </a:lnTo>
                    <a:lnTo>
                      <a:pt x="244" y="226"/>
                    </a:lnTo>
                    <a:lnTo>
                      <a:pt x="250" y="279"/>
                    </a:lnTo>
                    <a:lnTo>
                      <a:pt x="257" y="335"/>
                    </a:lnTo>
                    <a:lnTo>
                      <a:pt x="264" y="395"/>
                    </a:lnTo>
                    <a:lnTo>
                      <a:pt x="270" y="457"/>
                    </a:lnTo>
                    <a:lnTo>
                      <a:pt x="277" y="521"/>
                    </a:lnTo>
                    <a:lnTo>
                      <a:pt x="285" y="587"/>
                    </a:lnTo>
                    <a:lnTo>
                      <a:pt x="292" y="653"/>
                    </a:lnTo>
                    <a:lnTo>
                      <a:pt x="298" y="720"/>
                    </a:lnTo>
                    <a:lnTo>
                      <a:pt x="228" y="780"/>
                    </a:lnTo>
                    <a:lnTo>
                      <a:pt x="155" y="837"/>
                    </a:lnTo>
                    <a:lnTo>
                      <a:pt x="78" y="891"/>
                    </a:lnTo>
                    <a:lnTo>
                      <a:pt x="0" y="942"/>
                    </a:lnTo>
                    <a:lnTo>
                      <a:pt x="12" y="871"/>
                    </a:lnTo>
                    <a:lnTo>
                      <a:pt x="26" y="802"/>
                    </a:lnTo>
                    <a:lnTo>
                      <a:pt x="39" y="732"/>
                    </a:lnTo>
                    <a:lnTo>
                      <a:pt x="54" y="664"/>
                    </a:lnTo>
                    <a:lnTo>
                      <a:pt x="67" y="596"/>
                    </a:lnTo>
                    <a:lnTo>
                      <a:pt x="82" y="532"/>
                    </a:lnTo>
                    <a:lnTo>
                      <a:pt x="96" y="468"/>
                    </a:lnTo>
                    <a:lnTo>
                      <a:pt x="111" y="407"/>
                    </a:lnTo>
                    <a:lnTo>
                      <a:pt x="125" y="349"/>
                    </a:lnTo>
                    <a:lnTo>
                      <a:pt x="139" y="294"/>
                    </a:lnTo>
                    <a:lnTo>
                      <a:pt x="151" y="243"/>
                    </a:lnTo>
                    <a:lnTo>
                      <a:pt x="164" y="197"/>
                    </a:lnTo>
                    <a:lnTo>
                      <a:pt x="176" y="153"/>
                    </a:lnTo>
                    <a:lnTo>
                      <a:pt x="186" y="115"/>
                    </a:lnTo>
                    <a:lnTo>
                      <a:pt x="194" y="81"/>
                    </a:lnTo>
                    <a:lnTo>
                      <a:pt x="203" y="52"/>
                    </a:lnTo>
                    <a:lnTo>
                      <a:pt x="209" y="30"/>
                    </a:lnTo>
                    <a:lnTo>
                      <a:pt x="214" y="13"/>
                    </a:lnTo>
                    <a:lnTo>
                      <a:pt x="216" y="4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29"/>
              <p:cNvSpPr>
                <a:spLocks/>
              </p:cNvSpPr>
              <p:nvPr/>
            </p:nvSpPr>
            <p:spPr bwMode="auto">
              <a:xfrm>
                <a:off x="-7040563" y="-992188"/>
                <a:ext cx="2017713" cy="2500313"/>
              </a:xfrm>
              <a:custGeom>
                <a:avLst/>
                <a:gdLst>
                  <a:gd name="T0" fmla="*/ 424 w 1271"/>
                  <a:gd name="T1" fmla="*/ 11 h 1575"/>
                  <a:gd name="T2" fmla="*/ 585 w 1271"/>
                  <a:gd name="T3" fmla="*/ 57 h 1575"/>
                  <a:gd name="T4" fmla="*/ 751 w 1271"/>
                  <a:gd name="T5" fmla="*/ 113 h 1575"/>
                  <a:gd name="T6" fmla="*/ 945 w 1271"/>
                  <a:gd name="T7" fmla="*/ 185 h 1575"/>
                  <a:gd name="T8" fmla="*/ 1165 w 1271"/>
                  <a:gd name="T9" fmla="*/ 282 h 1575"/>
                  <a:gd name="T10" fmla="*/ 1270 w 1271"/>
                  <a:gd name="T11" fmla="*/ 341 h 1575"/>
                  <a:gd name="T12" fmla="*/ 1263 w 1271"/>
                  <a:gd name="T13" fmla="*/ 367 h 1575"/>
                  <a:gd name="T14" fmla="*/ 1248 w 1271"/>
                  <a:gd name="T15" fmla="*/ 418 h 1575"/>
                  <a:gd name="T16" fmla="*/ 1230 w 1271"/>
                  <a:gd name="T17" fmla="*/ 490 h 1575"/>
                  <a:gd name="T18" fmla="*/ 1205 w 1271"/>
                  <a:gd name="T19" fmla="*/ 580 h 1575"/>
                  <a:gd name="T20" fmla="*/ 1179 w 1271"/>
                  <a:gd name="T21" fmla="*/ 686 h 1575"/>
                  <a:gd name="T22" fmla="*/ 1150 w 1271"/>
                  <a:gd name="T23" fmla="*/ 805 h 1575"/>
                  <a:gd name="T24" fmla="*/ 1121 w 1271"/>
                  <a:gd name="T25" fmla="*/ 933 h 1575"/>
                  <a:gd name="T26" fmla="*/ 1093 w 1271"/>
                  <a:gd name="T27" fmla="*/ 1069 h 1575"/>
                  <a:gd name="T28" fmla="*/ 1066 w 1271"/>
                  <a:gd name="T29" fmla="*/ 1208 h 1575"/>
                  <a:gd name="T30" fmla="*/ 960 w 1271"/>
                  <a:gd name="T31" fmla="*/ 1333 h 1575"/>
                  <a:gd name="T32" fmla="*/ 764 w 1271"/>
                  <a:gd name="T33" fmla="*/ 1426 h 1575"/>
                  <a:gd name="T34" fmla="*/ 558 w 1271"/>
                  <a:gd name="T35" fmla="*/ 1498 h 1575"/>
                  <a:gd name="T36" fmla="*/ 341 w 1271"/>
                  <a:gd name="T37" fmla="*/ 1547 h 1575"/>
                  <a:gd name="T38" fmla="*/ 116 w 1271"/>
                  <a:gd name="T39" fmla="*/ 1571 h 1575"/>
                  <a:gd name="T40" fmla="*/ 0 w 1271"/>
                  <a:gd name="T41" fmla="*/ 1081 h 1575"/>
                  <a:gd name="T42" fmla="*/ 3 w 1271"/>
                  <a:gd name="T43" fmla="*/ 1076 h 1575"/>
                  <a:gd name="T44" fmla="*/ 8 w 1271"/>
                  <a:gd name="T45" fmla="*/ 1069 h 1575"/>
                  <a:gd name="T46" fmla="*/ 13 w 1271"/>
                  <a:gd name="T47" fmla="*/ 1056 h 1575"/>
                  <a:gd name="T48" fmla="*/ 28 w 1271"/>
                  <a:gd name="T49" fmla="*/ 1023 h 1575"/>
                  <a:gd name="T50" fmla="*/ 57 w 1271"/>
                  <a:gd name="T51" fmla="*/ 955 h 1575"/>
                  <a:gd name="T52" fmla="*/ 94 w 1271"/>
                  <a:gd name="T53" fmla="*/ 865 h 1575"/>
                  <a:gd name="T54" fmla="*/ 138 w 1271"/>
                  <a:gd name="T55" fmla="*/ 757 h 1575"/>
                  <a:gd name="T56" fmla="*/ 185 w 1271"/>
                  <a:gd name="T57" fmla="*/ 636 h 1575"/>
                  <a:gd name="T58" fmla="*/ 234 w 1271"/>
                  <a:gd name="T59" fmla="*/ 507 h 1575"/>
                  <a:gd name="T60" fmla="*/ 300 w 1271"/>
                  <a:gd name="T61" fmla="*/ 317 h 1575"/>
                  <a:gd name="T62" fmla="*/ 343 w 1271"/>
                  <a:gd name="T63" fmla="*/ 180 h 1575"/>
                  <a:gd name="T64" fmla="*/ 376 w 1271"/>
                  <a:gd name="T65" fmla="*/ 57 h 1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71" h="1575">
                    <a:moveTo>
                      <a:pt x="388" y="0"/>
                    </a:moveTo>
                    <a:lnTo>
                      <a:pt x="424" y="11"/>
                    </a:lnTo>
                    <a:lnTo>
                      <a:pt x="503" y="33"/>
                    </a:lnTo>
                    <a:lnTo>
                      <a:pt x="585" y="57"/>
                    </a:lnTo>
                    <a:lnTo>
                      <a:pt x="669" y="85"/>
                    </a:lnTo>
                    <a:lnTo>
                      <a:pt x="751" y="113"/>
                    </a:lnTo>
                    <a:lnTo>
                      <a:pt x="834" y="144"/>
                    </a:lnTo>
                    <a:lnTo>
                      <a:pt x="945" y="185"/>
                    </a:lnTo>
                    <a:lnTo>
                      <a:pt x="1056" y="232"/>
                    </a:lnTo>
                    <a:lnTo>
                      <a:pt x="1165" y="282"/>
                    </a:lnTo>
                    <a:lnTo>
                      <a:pt x="1271" y="337"/>
                    </a:lnTo>
                    <a:lnTo>
                      <a:pt x="1270" y="341"/>
                    </a:lnTo>
                    <a:lnTo>
                      <a:pt x="1268" y="350"/>
                    </a:lnTo>
                    <a:lnTo>
                      <a:pt x="1263" y="367"/>
                    </a:lnTo>
                    <a:lnTo>
                      <a:pt x="1257" y="389"/>
                    </a:lnTo>
                    <a:lnTo>
                      <a:pt x="1248" y="418"/>
                    </a:lnTo>
                    <a:lnTo>
                      <a:pt x="1240" y="452"/>
                    </a:lnTo>
                    <a:lnTo>
                      <a:pt x="1230" y="490"/>
                    </a:lnTo>
                    <a:lnTo>
                      <a:pt x="1218" y="532"/>
                    </a:lnTo>
                    <a:lnTo>
                      <a:pt x="1205" y="580"/>
                    </a:lnTo>
                    <a:lnTo>
                      <a:pt x="1193" y="631"/>
                    </a:lnTo>
                    <a:lnTo>
                      <a:pt x="1179" y="686"/>
                    </a:lnTo>
                    <a:lnTo>
                      <a:pt x="1165" y="744"/>
                    </a:lnTo>
                    <a:lnTo>
                      <a:pt x="1150" y="805"/>
                    </a:lnTo>
                    <a:lnTo>
                      <a:pt x="1136" y="867"/>
                    </a:lnTo>
                    <a:lnTo>
                      <a:pt x="1121" y="933"/>
                    </a:lnTo>
                    <a:lnTo>
                      <a:pt x="1108" y="1001"/>
                    </a:lnTo>
                    <a:lnTo>
                      <a:pt x="1093" y="1069"/>
                    </a:lnTo>
                    <a:lnTo>
                      <a:pt x="1080" y="1139"/>
                    </a:lnTo>
                    <a:lnTo>
                      <a:pt x="1066" y="1208"/>
                    </a:lnTo>
                    <a:lnTo>
                      <a:pt x="1054" y="1279"/>
                    </a:lnTo>
                    <a:lnTo>
                      <a:pt x="960" y="1333"/>
                    </a:lnTo>
                    <a:lnTo>
                      <a:pt x="863" y="1382"/>
                    </a:lnTo>
                    <a:lnTo>
                      <a:pt x="764" y="1426"/>
                    </a:lnTo>
                    <a:lnTo>
                      <a:pt x="662" y="1464"/>
                    </a:lnTo>
                    <a:lnTo>
                      <a:pt x="558" y="1498"/>
                    </a:lnTo>
                    <a:lnTo>
                      <a:pt x="450" y="1525"/>
                    </a:lnTo>
                    <a:lnTo>
                      <a:pt x="341" y="1547"/>
                    </a:lnTo>
                    <a:lnTo>
                      <a:pt x="230" y="1563"/>
                    </a:lnTo>
                    <a:lnTo>
                      <a:pt x="116" y="1571"/>
                    </a:lnTo>
                    <a:lnTo>
                      <a:pt x="0" y="1575"/>
                    </a:lnTo>
                    <a:lnTo>
                      <a:pt x="0" y="1081"/>
                    </a:lnTo>
                    <a:lnTo>
                      <a:pt x="2" y="1080"/>
                    </a:lnTo>
                    <a:lnTo>
                      <a:pt x="3" y="1076"/>
                    </a:lnTo>
                    <a:lnTo>
                      <a:pt x="5" y="1073"/>
                    </a:lnTo>
                    <a:lnTo>
                      <a:pt x="8" y="1069"/>
                    </a:lnTo>
                    <a:lnTo>
                      <a:pt x="13" y="1058"/>
                    </a:lnTo>
                    <a:lnTo>
                      <a:pt x="13" y="1056"/>
                    </a:lnTo>
                    <a:lnTo>
                      <a:pt x="14" y="1052"/>
                    </a:lnTo>
                    <a:lnTo>
                      <a:pt x="28" y="1023"/>
                    </a:lnTo>
                    <a:lnTo>
                      <a:pt x="41" y="993"/>
                    </a:lnTo>
                    <a:lnTo>
                      <a:pt x="57" y="955"/>
                    </a:lnTo>
                    <a:lnTo>
                      <a:pt x="75" y="913"/>
                    </a:lnTo>
                    <a:lnTo>
                      <a:pt x="94" y="865"/>
                    </a:lnTo>
                    <a:lnTo>
                      <a:pt x="115" y="812"/>
                    </a:lnTo>
                    <a:lnTo>
                      <a:pt x="138" y="757"/>
                    </a:lnTo>
                    <a:lnTo>
                      <a:pt x="162" y="697"/>
                    </a:lnTo>
                    <a:lnTo>
                      <a:pt x="185" y="636"/>
                    </a:lnTo>
                    <a:lnTo>
                      <a:pt x="209" y="573"/>
                    </a:lnTo>
                    <a:lnTo>
                      <a:pt x="234" y="507"/>
                    </a:lnTo>
                    <a:lnTo>
                      <a:pt x="258" y="441"/>
                    </a:lnTo>
                    <a:lnTo>
                      <a:pt x="300" y="317"/>
                    </a:lnTo>
                    <a:lnTo>
                      <a:pt x="323" y="244"/>
                    </a:lnTo>
                    <a:lnTo>
                      <a:pt x="343" y="180"/>
                    </a:lnTo>
                    <a:lnTo>
                      <a:pt x="360" y="118"/>
                    </a:lnTo>
                    <a:lnTo>
                      <a:pt x="376" y="57"/>
                    </a:lnTo>
                    <a:lnTo>
                      <a:pt x="38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Freeform 30"/>
              <p:cNvSpPr>
                <a:spLocks/>
              </p:cNvSpPr>
              <p:nvPr/>
            </p:nvSpPr>
            <p:spPr bwMode="auto">
              <a:xfrm>
                <a:off x="-7040563" y="-1260475"/>
                <a:ext cx="1190625" cy="1982788"/>
              </a:xfrm>
              <a:custGeom>
                <a:avLst/>
                <a:gdLst>
                  <a:gd name="T0" fmla="*/ 410 w 750"/>
                  <a:gd name="T1" fmla="*/ 0 h 1249"/>
                  <a:gd name="T2" fmla="*/ 412 w 750"/>
                  <a:gd name="T3" fmla="*/ 1 h 1249"/>
                  <a:gd name="T4" fmla="*/ 418 w 750"/>
                  <a:gd name="T5" fmla="*/ 7 h 1249"/>
                  <a:gd name="T6" fmla="*/ 428 w 750"/>
                  <a:gd name="T7" fmla="*/ 17 h 1249"/>
                  <a:gd name="T8" fmla="*/ 443 w 750"/>
                  <a:gd name="T9" fmla="*/ 29 h 1249"/>
                  <a:gd name="T10" fmla="*/ 459 w 750"/>
                  <a:gd name="T11" fmla="*/ 45 h 1249"/>
                  <a:gd name="T12" fmla="*/ 478 w 750"/>
                  <a:gd name="T13" fmla="*/ 63 h 1249"/>
                  <a:gd name="T14" fmla="*/ 499 w 750"/>
                  <a:gd name="T15" fmla="*/ 83 h 1249"/>
                  <a:gd name="T16" fmla="*/ 522 w 750"/>
                  <a:gd name="T17" fmla="*/ 105 h 1249"/>
                  <a:gd name="T18" fmla="*/ 545 w 750"/>
                  <a:gd name="T19" fmla="*/ 128 h 1249"/>
                  <a:gd name="T20" fmla="*/ 571 w 750"/>
                  <a:gd name="T21" fmla="*/ 151 h 1249"/>
                  <a:gd name="T22" fmla="*/ 596 w 750"/>
                  <a:gd name="T23" fmla="*/ 177 h 1249"/>
                  <a:gd name="T24" fmla="*/ 621 w 750"/>
                  <a:gd name="T25" fmla="*/ 202 h 1249"/>
                  <a:gd name="T26" fmla="*/ 646 w 750"/>
                  <a:gd name="T27" fmla="*/ 227 h 1249"/>
                  <a:gd name="T28" fmla="*/ 669 w 750"/>
                  <a:gd name="T29" fmla="*/ 252 h 1249"/>
                  <a:gd name="T30" fmla="*/ 693 w 750"/>
                  <a:gd name="T31" fmla="*/ 277 h 1249"/>
                  <a:gd name="T32" fmla="*/ 715 w 750"/>
                  <a:gd name="T33" fmla="*/ 302 h 1249"/>
                  <a:gd name="T34" fmla="*/ 734 w 750"/>
                  <a:gd name="T35" fmla="*/ 324 h 1249"/>
                  <a:gd name="T36" fmla="*/ 750 w 750"/>
                  <a:gd name="T37" fmla="*/ 345 h 1249"/>
                  <a:gd name="T38" fmla="*/ 580 w 750"/>
                  <a:gd name="T39" fmla="*/ 433 h 1249"/>
                  <a:gd name="T40" fmla="*/ 690 w 750"/>
                  <a:gd name="T41" fmla="*/ 698 h 1249"/>
                  <a:gd name="T42" fmla="*/ 39 w 750"/>
                  <a:gd name="T43" fmla="*/ 1218 h 1249"/>
                  <a:gd name="T44" fmla="*/ 0 w 750"/>
                  <a:gd name="T45" fmla="*/ 1249 h 1249"/>
                  <a:gd name="T46" fmla="*/ 3 w 750"/>
                  <a:gd name="T47" fmla="*/ 1247 h 1249"/>
                  <a:gd name="T48" fmla="*/ 6 w 750"/>
                  <a:gd name="T49" fmla="*/ 1239 h 1249"/>
                  <a:gd name="T50" fmla="*/ 13 w 750"/>
                  <a:gd name="T51" fmla="*/ 1226 h 1249"/>
                  <a:gd name="T52" fmla="*/ 20 w 750"/>
                  <a:gd name="T53" fmla="*/ 1209 h 1249"/>
                  <a:gd name="T54" fmla="*/ 30 w 750"/>
                  <a:gd name="T55" fmla="*/ 1187 h 1249"/>
                  <a:gd name="T56" fmla="*/ 39 w 750"/>
                  <a:gd name="T57" fmla="*/ 1161 h 1249"/>
                  <a:gd name="T58" fmla="*/ 57 w 750"/>
                  <a:gd name="T59" fmla="*/ 1121 h 1249"/>
                  <a:gd name="T60" fmla="*/ 76 w 750"/>
                  <a:gd name="T61" fmla="*/ 1074 h 1249"/>
                  <a:gd name="T62" fmla="*/ 97 w 750"/>
                  <a:gd name="T63" fmla="*/ 1023 h 1249"/>
                  <a:gd name="T64" fmla="*/ 120 w 750"/>
                  <a:gd name="T65" fmla="*/ 967 h 1249"/>
                  <a:gd name="T66" fmla="*/ 145 w 750"/>
                  <a:gd name="T67" fmla="*/ 907 h 1249"/>
                  <a:gd name="T68" fmla="*/ 169 w 750"/>
                  <a:gd name="T69" fmla="*/ 843 h 1249"/>
                  <a:gd name="T70" fmla="*/ 195 w 750"/>
                  <a:gd name="T71" fmla="*/ 777 h 1249"/>
                  <a:gd name="T72" fmla="*/ 220 w 750"/>
                  <a:gd name="T73" fmla="*/ 709 h 1249"/>
                  <a:gd name="T74" fmla="*/ 246 w 750"/>
                  <a:gd name="T75" fmla="*/ 639 h 1249"/>
                  <a:gd name="T76" fmla="*/ 270 w 750"/>
                  <a:gd name="T77" fmla="*/ 569 h 1249"/>
                  <a:gd name="T78" fmla="*/ 295 w 750"/>
                  <a:gd name="T79" fmla="*/ 499 h 1249"/>
                  <a:gd name="T80" fmla="*/ 317 w 750"/>
                  <a:gd name="T81" fmla="*/ 429 h 1249"/>
                  <a:gd name="T82" fmla="*/ 339 w 750"/>
                  <a:gd name="T83" fmla="*/ 359 h 1249"/>
                  <a:gd name="T84" fmla="*/ 357 w 750"/>
                  <a:gd name="T85" fmla="*/ 293 h 1249"/>
                  <a:gd name="T86" fmla="*/ 374 w 750"/>
                  <a:gd name="T87" fmla="*/ 228 h 1249"/>
                  <a:gd name="T88" fmla="*/ 388 w 750"/>
                  <a:gd name="T89" fmla="*/ 167 h 1249"/>
                  <a:gd name="T90" fmla="*/ 396 w 750"/>
                  <a:gd name="T91" fmla="*/ 121 h 1249"/>
                  <a:gd name="T92" fmla="*/ 404 w 750"/>
                  <a:gd name="T93" fmla="*/ 77 h 1249"/>
                  <a:gd name="T94" fmla="*/ 407 w 750"/>
                  <a:gd name="T95" fmla="*/ 37 h 1249"/>
                  <a:gd name="T96" fmla="*/ 410 w 750"/>
                  <a:gd name="T97" fmla="*/ 0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50" h="1249">
                    <a:moveTo>
                      <a:pt x="410" y="0"/>
                    </a:moveTo>
                    <a:lnTo>
                      <a:pt x="412" y="1"/>
                    </a:lnTo>
                    <a:lnTo>
                      <a:pt x="418" y="7"/>
                    </a:lnTo>
                    <a:lnTo>
                      <a:pt x="428" y="17"/>
                    </a:lnTo>
                    <a:lnTo>
                      <a:pt x="443" y="29"/>
                    </a:lnTo>
                    <a:lnTo>
                      <a:pt x="459" y="45"/>
                    </a:lnTo>
                    <a:lnTo>
                      <a:pt x="478" y="63"/>
                    </a:lnTo>
                    <a:lnTo>
                      <a:pt x="499" y="83"/>
                    </a:lnTo>
                    <a:lnTo>
                      <a:pt x="522" y="105"/>
                    </a:lnTo>
                    <a:lnTo>
                      <a:pt x="545" y="128"/>
                    </a:lnTo>
                    <a:lnTo>
                      <a:pt x="571" y="151"/>
                    </a:lnTo>
                    <a:lnTo>
                      <a:pt x="596" y="177"/>
                    </a:lnTo>
                    <a:lnTo>
                      <a:pt x="621" y="202"/>
                    </a:lnTo>
                    <a:lnTo>
                      <a:pt x="646" y="227"/>
                    </a:lnTo>
                    <a:lnTo>
                      <a:pt x="669" y="252"/>
                    </a:lnTo>
                    <a:lnTo>
                      <a:pt x="693" y="277"/>
                    </a:lnTo>
                    <a:lnTo>
                      <a:pt x="715" y="302"/>
                    </a:lnTo>
                    <a:lnTo>
                      <a:pt x="734" y="324"/>
                    </a:lnTo>
                    <a:lnTo>
                      <a:pt x="750" y="345"/>
                    </a:lnTo>
                    <a:lnTo>
                      <a:pt x="580" y="433"/>
                    </a:lnTo>
                    <a:lnTo>
                      <a:pt x="690" y="698"/>
                    </a:lnTo>
                    <a:lnTo>
                      <a:pt x="39" y="1218"/>
                    </a:lnTo>
                    <a:lnTo>
                      <a:pt x="0" y="1249"/>
                    </a:lnTo>
                    <a:lnTo>
                      <a:pt x="3" y="1247"/>
                    </a:lnTo>
                    <a:lnTo>
                      <a:pt x="6" y="1239"/>
                    </a:lnTo>
                    <a:lnTo>
                      <a:pt x="13" y="1226"/>
                    </a:lnTo>
                    <a:lnTo>
                      <a:pt x="20" y="1209"/>
                    </a:lnTo>
                    <a:lnTo>
                      <a:pt x="30" y="1187"/>
                    </a:lnTo>
                    <a:lnTo>
                      <a:pt x="39" y="1161"/>
                    </a:lnTo>
                    <a:lnTo>
                      <a:pt x="57" y="1121"/>
                    </a:lnTo>
                    <a:lnTo>
                      <a:pt x="76" y="1074"/>
                    </a:lnTo>
                    <a:lnTo>
                      <a:pt x="97" y="1023"/>
                    </a:lnTo>
                    <a:lnTo>
                      <a:pt x="120" y="967"/>
                    </a:lnTo>
                    <a:lnTo>
                      <a:pt x="145" y="907"/>
                    </a:lnTo>
                    <a:lnTo>
                      <a:pt x="169" y="843"/>
                    </a:lnTo>
                    <a:lnTo>
                      <a:pt x="195" y="777"/>
                    </a:lnTo>
                    <a:lnTo>
                      <a:pt x="220" y="709"/>
                    </a:lnTo>
                    <a:lnTo>
                      <a:pt x="246" y="639"/>
                    </a:lnTo>
                    <a:lnTo>
                      <a:pt x="270" y="569"/>
                    </a:lnTo>
                    <a:lnTo>
                      <a:pt x="295" y="499"/>
                    </a:lnTo>
                    <a:lnTo>
                      <a:pt x="317" y="429"/>
                    </a:lnTo>
                    <a:lnTo>
                      <a:pt x="339" y="359"/>
                    </a:lnTo>
                    <a:lnTo>
                      <a:pt x="357" y="293"/>
                    </a:lnTo>
                    <a:lnTo>
                      <a:pt x="374" y="228"/>
                    </a:lnTo>
                    <a:lnTo>
                      <a:pt x="388" y="167"/>
                    </a:lnTo>
                    <a:lnTo>
                      <a:pt x="396" y="121"/>
                    </a:lnTo>
                    <a:lnTo>
                      <a:pt x="404" y="77"/>
                    </a:lnTo>
                    <a:lnTo>
                      <a:pt x="407" y="37"/>
                    </a:lnTo>
                    <a:lnTo>
                      <a:pt x="41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 31"/>
              <p:cNvSpPr>
                <a:spLocks/>
              </p:cNvSpPr>
              <p:nvPr/>
            </p:nvSpPr>
            <p:spPr bwMode="auto">
              <a:xfrm>
                <a:off x="-9182100" y="-455613"/>
                <a:ext cx="473075" cy="1493838"/>
              </a:xfrm>
              <a:custGeom>
                <a:avLst/>
                <a:gdLst>
                  <a:gd name="T0" fmla="*/ 82 w 298"/>
                  <a:gd name="T1" fmla="*/ 0 h 941"/>
                  <a:gd name="T2" fmla="*/ 82 w 298"/>
                  <a:gd name="T3" fmla="*/ 3 h 941"/>
                  <a:gd name="T4" fmla="*/ 86 w 298"/>
                  <a:gd name="T5" fmla="*/ 14 h 941"/>
                  <a:gd name="T6" fmla="*/ 89 w 298"/>
                  <a:gd name="T7" fmla="*/ 29 h 941"/>
                  <a:gd name="T8" fmla="*/ 95 w 298"/>
                  <a:gd name="T9" fmla="*/ 51 h 941"/>
                  <a:gd name="T10" fmla="*/ 103 w 298"/>
                  <a:gd name="T11" fmla="*/ 78 h 941"/>
                  <a:gd name="T12" fmla="*/ 113 w 298"/>
                  <a:gd name="T13" fmla="*/ 110 h 941"/>
                  <a:gd name="T14" fmla="*/ 122 w 298"/>
                  <a:gd name="T15" fmla="*/ 148 h 941"/>
                  <a:gd name="T16" fmla="*/ 127 w 298"/>
                  <a:gd name="T17" fmla="*/ 168 h 941"/>
                  <a:gd name="T18" fmla="*/ 132 w 298"/>
                  <a:gd name="T19" fmla="*/ 188 h 941"/>
                  <a:gd name="T20" fmla="*/ 144 w 298"/>
                  <a:gd name="T21" fmla="*/ 231 h 941"/>
                  <a:gd name="T22" fmla="*/ 155 w 298"/>
                  <a:gd name="T23" fmla="*/ 279 h 941"/>
                  <a:gd name="T24" fmla="*/ 170 w 298"/>
                  <a:gd name="T25" fmla="*/ 331 h 941"/>
                  <a:gd name="T26" fmla="*/ 185 w 298"/>
                  <a:gd name="T27" fmla="*/ 395 h 941"/>
                  <a:gd name="T28" fmla="*/ 203 w 298"/>
                  <a:gd name="T29" fmla="*/ 473 h 941"/>
                  <a:gd name="T30" fmla="*/ 223 w 298"/>
                  <a:gd name="T31" fmla="*/ 555 h 941"/>
                  <a:gd name="T32" fmla="*/ 240 w 298"/>
                  <a:gd name="T33" fmla="*/ 638 h 941"/>
                  <a:gd name="T34" fmla="*/ 263 w 298"/>
                  <a:gd name="T35" fmla="*/ 748 h 941"/>
                  <a:gd name="T36" fmla="*/ 285 w 298"/>
                  <a:gd name="T37" fmla="*/ 861 h 941"/>
                  <a:gd name="T38" fmla="*/ 295 w 298"/>
                  <a:gd name="T39" fmla="*/ 916 h 941"/>
                  <a:gd name="T40" fmla="*/ 296 w 298"/>
                  <a:gd name="T41" fmla="*/ 929 h 941"/>
                  <a:gd name="T42" fmla="*/ 298 w 298"/>
                  <a:gd name="T43" fmla="*/ 941 h 941"/>
                  <a:gd name="T44" fmla="*/ 220 w 298"/>
                  <a:gd name="T45" fmla="*/ 890 h 941"/>
                  <a:gd name="T46" fmla="*/ 144 w 298"/>
                  <a:gd name="T47" fmla="*/ 836 h 941"/>
                  <a:gd name="T48" fmla="*/ 71 w 298"/>
                  <a:gd name="T49" fmla="*/ 779 h 941"/>
                  <a:gd name="T50" fmla="*/ 0 w 298"/>
                  <a:gd name="T51" fmla="*/ 719 h 941"/>
                  <a:gd name="T52" fmla="*/ 7 w 298"/>
                  <a:gd name="T53" fmla="*/ 652 h 941"/>
                  <a:gd name="T54" fmla="*/ 15 w 298"/>
                  <a:gd name="T55" fmla="*/ 586 h 941"/>
                  <a:gd name="T56" fmla="*/ 22 w 298"/>
                  <a:gd name="T57" fmla="*/ 520 h 941"/>
                  <a:gd name="T58" fmla="*/ 28 w 298"/>
                  <a:gd name="T59" fmla="*/ 456 h 941"/>
                  <a:gd name="T60" fmla="*/ 36 w 298"/>
                  <a:gd name="T61" fmla="*/ 395 h 941"/>
                  <a:gd name="T62" fmla="*/ 43 w 298"/>
                  <a:gd name="T63" fmla="*/ 335 h 941"/>
                  <a:gd name="T64" fmla="*/ 49 w 298"/>
                  <a:gd name="T65" fmla="*/ 279 h 941"/>
                  <a:gd name="T66" fmla="*/ 55 w 298"/>
                  <a:gd name="T67" fmla="*/ 226 h 941"/>
                  <a:gd name="T68" fmla="*/ 60 w 298"/>
                  <a:gd name="T69" fmla="*/ 177 h 941"/>
                  <a:gd name="T70" fmla="*/ 66 w 298"/>
                  <a:gd name="T71" fmla="*/ 133 h 941"/>
                  <a:gd name="T72" fmla="*/ 70 w 298"/>
                  <a:gd name="T73" fmla="*/ 95 h 941"/>
                  <a:gd name="T74" fmla="*/ 73 w 298"/>
                  <a:gd name="T75" fmla="*/ 62 h 941"/>
                  <a:gd name="T76" fmla="*/ 77 w 298"/>
                  <a:gd name="T77" fmla="*/ 36 h 941"/>
                  <a:gd name="T78" fmla="*/ 80 w 298"/>
                  <a:gd name="T79" fmla="*/ 16 h 941"/>
                  <a:gd name="T80" fmla="*/ 81 w 298"/>
                  <a:gd name="T81" fmla="*/ 4 h 941"/>
                  <a:gd name="T82" fmla="*/ 82 w 298"/>
                  <a:gd name="T8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8" h="941">
                    <a:moveTo>
                      <a:pt x="82" y="0"/>
                    </a:moveTo>
                    <a:lnTo>
                      <a:pt x="82" y="3"/>
                    </a:lnTo>
                    <a:lnTo>
                      <a:pt x="86" y="14"/>
                    </a:lnTo>
                    <a:lnTo>
                      <a:pt x="89" y="29"/>
                    </a:lnTo>
                    <a:lnTo>
                      <a:pt x="95" y="51"/>
                    </a:lnTo>
                    <a:lnTo>
                      <a:pt x="103" y="78"/>
                    </a:lnTo>
                    <a:lnTo>
                      <a:pt x="113" y="110"/>
                    </a:lnTo>
                    <a:lnTo>
                      <a:pt x="122" y="148"/>
                    </a:lnTo>
                    <a:lnTo>
                      <a:pt x="127" y="168"/>
                    </a:lnTo>
                    <a:lnTo>
                      <a:pt x="132" y="188"/>
                    </a:lnTo>
                    <a:lnTo>
                      <a:pt x="144" y="231"/>
                    </a:lnTo>
                    <a:lnTo>
                      <a:pt x="155" y="279"/>
                    </a:lnTo>
                    <a:lnTo>
                      <a:pt x="170" y="331"/>
                    </a:lnTo>
                    <a:lnTo>
                      <a:pt x="185" y="395"/>
                    </a:lnTo>
                    <a:lnTo>
                      <a:pt x="203" y="473"/>
                    </a:lnTo>
                    <a:lnTo>
                      <a:pt x="223" y="555"/>
                    </a:lnTo>
                    <a:lnTo>
                      <a:pt x="240" y="638"/>
                    </a:lnTo>
                    <a:lnTo>
                      <a:pt x="263" y="748"/>
                    </a:lnTo>
                    <a:lnTo>
                      <a:pt x="285" y="861"/>
                    </a:lnTo>
                    <a:lnTo>
                      <a:pt x="295" y="916"/>
                    </a:lnTo>
                    <a:lnTo>
                      <a:pt x="296" y="929"/>
                    </a:lnTo>
                    <a:lnTo>
                      <a:pt x="298" y="941"/>
                    </a:lnTo>
                    <a:lnTo>
                      <a:pt x="220" y="890"/>
                    </a:lnTo>
                    <a:lnTo>
                      <a:pt x="144" y="836"/>
                    </a:lnTo>
                    <a:lnTo>
                      <a:pt x="71" y="779"/>
                    </a:lnTo>
                    <a:lnTo>
                      <a:pt x="0" y="719"/>
                    </a:lnTo>
                    <a:lnTo>
                      <a:pt x="7" y="652"/>
                    </a:lnTo>
                    <a:lnTo>
                      <a:pt x="15" y="586"/>
                    </a:lnTo>
                    <a:lnTo>
                      <a:pt x="22" y="520"/>
                    </a:lnTo>
                    <a:lnTo>
                      <a:pt x="28" y="456"/>
                    </a:lnTo>
                    <a:lnTo>
                      <a:pt x="36" y="395"/>
                    </a:lnTo>
                    <a:lnTo>
                      <a:pt x="43" y="335"/>
                    </a:lnTo>
                    <a:lnTo>
                      <a:pt x="49" y="279"/>
                    </a:lnTo>
                    <a:lnTo>
                      <a:pt x="55" y="226"/>
                    </a:lnTo>
                    <a:lnTo>
                      <a:pt x="60" y="177"/>
                    </a:lnTo>
                    <a:lnTo>
                      <a:pt x="66" y="133"/>
                    </a:lnTo>
                    <a:lnTo>
                      <a:pt x="70" y="95"/>
                    </a:lnTo>
                    <a:lnTo>
                      <a:pt x="73" y="62"/>
                    </a:lnTo>
                    <a:lnTo>
                      <a:pt x="77" y="36"/>
                    </a:lnTo>
                    <a:lnTo>
                      <a:pt x="80" y="16"/>
                    </a:lnTo>
                    <a:lnTo>
                      <a:pt x="81" y="4"/>
                    </a:lnTo>
                    <a:lnTo>
                      <a:pt x="8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 32"/>
              <p:cNvSpPr>
                <a:spLocks/>
              </p:cNvSpPr>
              <p:nvPr/>
            </p:nvSpPr>
            <p:spPr bwMode="auto">
              <a:xfrm>
                <a:off x="-9055100" y="-995363"/>
                <a:ext cx="2014538" cy="2503488"/>
              </a:xfrm>
              <a:custGeom>
                <a:avLst/>
                <a:gdLst>
                  <a:gd name="T0" fmla="*/ 889 w 1269"/>
                  <a:gd name="T1" fmla="*/ 31 h 1577"/>
                  <a:gd name="T2" fmla="*/ 916 w 1269"/>
                  <a:gd name="T3" fmla="*/ 136 h 1577"/>
                  <a:gd name="T4" fmla="*/ 948 w 1269"/>
                  <a:gd name="T5" fmla="*/ 245 h 1577"/>
                  <a:gd name="T6" fmla="*/ 954 w 1269"/>
                  <a:gd name="T7" fmla="*/ 262 h 1577"/>
                  <a:gd name="T8" fmla="*/ 1014 w 1269"/>
                  <a:gd name="T9" fmla="*/ 442 h 1577"/>
                  <a:gd name="T10" fmla="*/ 1081 w 1269"/>
                  <a:gd name="T11" fmla="*/ 621 h 1577"/>
                  <a:gd name="T12" fmla="*/ 1119 w 1269"/>
                  <a:gd name="T13" fmla="*/ 720 h 1577"/>
                  <a:gd name="T14" fmla="*/ 1151 w 1269"/>
                  <a:gd name="T15" fmla="*/ 801 h 1577"/>
                  <a:gd name="T16" fmla="*/ 1174 w 1269"/>
                  <a:gd name="T17" fmla="*/ 857 h 1577"/>
                  <a:gd name="T18" fmla="*/ 1214 w 1269"/>
                  <a:gd name="T19" fmla="*/ 954 h 1577"/>
                  <a:gd name="T20" fmla="*/ 1244 w 1269"/>
                  <a:gd name="T21" fmla="*/ 1023 h 1577"/>
                  <a:gd name="T22" fmla="*/ 1265 w 1269"/>
                  <a:gd name="T23" fmla="*/ 1069 h 1577"/>
                  <a:gd name="T24" fmla="*/ 1269 w 1269"/>
                  <a:gd name="T25" fmla="*/ 1083 h 1577"/>
                  <a:gd name="T26" fmla="*/ 1156 w 1269"/>
                  <a:gd name="T27" fmla="*/ 1573 h 1577"/>
                  <a:gd name="T28" fmla="*/ 931 w 1269"/>
                  <a:gd name="T29" fmla="*/ 1549 h 1577"/>
                  <a:gd name="T30" fmla="*/ 715 w 1269"/>
                  <a:gd name="T31" fmla="*/ 1500 h 1577"/>
                  <a:gd name="T32" fmla="*/ 508 w 1269"/>
                  <a:gd name="T33" fmla="*/ 1428 h 1577"/>
                  <a:gd name="T34" fmla="*/ 312 w 1269"/>
                  <a:gd name="T35" fmla="*/ 1335 h 1577"/>
                  <a:gd name="T36" fmla="*/ 213 w 1269"/>
                  <a:gd name="T37" fmla="*/ 1256 h 1577"/>
                  <a:gd name="T38" fmla="*/ 182 w 1269"/>
                  <a:gd name="T39" fmla="*/ 1088 h 1577"/>
                  <a:gd name="T40" fmla="*/ 140 w 1269"/>
                  <a:gd name="T41" fmla="*/ 895 h 1577"/>
                  <a:gd name="T42" fmla="*/ 103 w 1269"/>
                  <a:gd name="T43" fmla="*/ 735 h 1577"/>
                  <a:gd name="T44" fmla="*/ 81 w 1269"/>
                  <a:gd name="T45" fmla="*/ 644 h 1577"/>
                  <a:gd name="T46" fmla="*/ 62 w 1269"/>
                  <a:gd name="T47" fmla="*/ 571 h 1577"/>
                  <a:gd name="T48" fmla="*/ 41 w 1269"/>
                  <a:gd name="T49" fmla="*/ 488 h 1577"/>
                  <a:gd name="T50" fmla="*/ 22 w 1269"/>
                  <a:gd name="T51" fmla="*/ 418 h 1577"/>
                  <a:gd name="T52" fmla="*/ 8 w 1269"/>
                  <a:gd name="T53" fmla="*/ 369 h 1577"/>
                  <a:gd name="T54" fmla="*/ 1 w 1269"/>
                  <a:gd name="T55" fmla="*/ 343 h 1577"/>
                  <a:gd name="T56" fmla="*/ 106 w 1269"/>
                  <a:gd name="T57" fmla="*/ 285 h 1577"/>
                  <a:gd name="T58" fmla="*/ 326 w 1269"/>
                  <a:gd name="T59" fmla="*/ 187 h 1577"/>
                  <a:gd name="T60" fmla="*/ 521 w 1269"/>
                  <a:gd name="T61" fmla="*/ 114 h 1577"/>
                  <a:gd name="T62" fmla="*/ 688 w 1269"/>
                  <a:gd name="T63" fmla="*/ 58 h 1577"/>
                  <a:gd name="T64" fmla="*/ 847 w 1269"/>
                  <a:gd name="T65" fmla="*/ 11 h 1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69" h="1577">
                    <a:moveTo>
                      <a:pt x="883" y="0"/>
                    </a:moveTo>
                    <a:lnTo>
                      <a:pt x="889" y="31"/>
                    </a:lnTo>
                    <a:lnTo>
                      <a:pt x="902" y="82"/>
                    </a:lnTo>
                    <a:lnTo>
                      <a:pt x="916" y="136"/>
                    </a:lnTo>
                    <a:lnTo>
                      <a:pt x="928" y="180"/>
                    </a:lnTo>
                    <a:lnTo>
                      <a:pt x="948" y="245"/>
                    </a:lnTo>
                    <a:lnTo>
                      <a:pt x="950" y="253"/>
                    </a:lnTo>
                    <a:lnTo>
                      <a:pt x="954" y="262"/>
                    </a:lnTo>
                    <a:lnTo>
                      <a:pt x="972" y="318"/>
                    </a:lnTo>
                    <a:lnTo>
                      <a:pt x="1014" y="442"/>
                    </a:lnTo>
                    <a:lnTo>
                      <a:pt x="1047" y="532"/>
                    </a:lnTo>
                    <a:lnTo>
                      <a:pt x="1081" y="621"/>
                    </a:lnTo>
                    <a:lnTo>
                      <a:pt x="1102" y="676"/>
                    </a:lnTo>
                    <a:lnTo>
                      <a:pt x="1119" y="720"/>
                    </a:lnTo>
                    <a:lnTo>
                      <a:pt x="1134" y="758"/>
                    </a:lnTo>
                    <a:lnTo>
                      <a:pt x="1151" y="801"/>
                    </a:lnTo>
                    <a:lnTo>
                      <a:pt x="1163" y="829"/>
                    </a:lnTo>
                    <a:lnTo>
                      <a:pt x="1174" y="857"/>
                    </a:lnTo>
                    <a:lnTo>
                      <a:pt x="1195" y="908"/>
                    </a:lnTo>
                    <a:lnTo>
                      <a:pt x="1214" y="954"/>
                    </a:lnTo>
                    <a:lnTo>
                      <a:pt x="1232" y="994"/>
                    </a:lnTo>
                    <a:lnTo>
                      <a:pt x="1244" y="1023"/>
                    </a:lnTo>
                    <a:lnTo>
                      <a:pt x="1258" y="1054"/>
                    </a:lnTo>
                    <a:lnTo>
                      <a:pt x="1265" y="1069"/>
                    </a:lnTo>
                    <a:lnTo>
                      <a:pt x="1268" y="1078"/>
                    </a:lnTo>
                    <a:lnTo>
                      <a:pt x="1269" y="1083"/>
                    </a:lnTo>
                    <a:lnTo>
                      <a:pt x="1269" y="1577"/>
                    </a:lnTo>
                    <a:lnTo>
                      <a:pt x="1156" y="1573"/>
                    </a:lnTo>
                    <a:lnTo>
                      <a:pt x="1042" y="1565"/>
                    </a:lnTo>
                    <a:lnTo>
                      <a:pt x="931" y="1549"/>
                    </a:lnTo>
                    <a:lnTo>
                      <a:pt x="822" y="1527"/>
                    </a:lnTo>
                    <a:lnTo>
                      <a:pt x="715" y="1500"/>
                    </a:lnTo>
                    <a:lnTo>
                      <a:pt x="611" y="1466"/>
                    </a:lnTo>
                    <a:lnTo>
                      <a:pt x="508" y="1428"/>
                    </a:lnTo>
                    <a:lnTo>
                      <a:pt x="409" y="1384"/>
                    </a:lnTo>
                    <a:lnTo>
                      <a:pt x="312" y="1335"/>
                    </a:lnTo>
                    <a:lnTo>
                      <a:pt x="218" y="1281"/>
                    </a:lnTo>
                    <a:lnTo>
                      <a:pt x="213" y="1256"/>
                    </a:lnTo>
                    <a:lnTo>
                      <a:pt x="204" y="1201"/>
                    </a:lnTo>
                    <a:lnTo>
                      <a:pt x="182" y="1088"/>
                    </a:lnTo>
                    <a:lnTo>
                      <a:pt x="158" y="978"/>
                    </a:lnTo>
                    <a:lnTo>
                      <a:pt x="140" y="895"/>
                    </a:lnTo>
                    <a:lnTo>
                      <a:pt x="122" y="813"/>
                    </a:lnTo>
                    <a:lnTo>
                      <a:pt x="103" y="735"/>
                    </a:lnTo>
                    <a:lnTo>
                      <a:pt x="88" y="671"/>
                    </a:lnTo>
                    <a:lnTo>
                      <a:pt x="81" y="644"/>
                    </a:lnTo>
                    <a:lnTo>
                      <a:pt x="74" y="619"/>
                    </a:lnTo>
                    <a:lnTo>
                      <a:pt x="62" y="571"/>
                    </a:lnTo>
                    <a:lnTo>
                      <a:pt x="51" y="528"/>
                    </a:lnTo>
                    <a:lnTo>
                      <a:pt x="41" y="488"/>
                    </a:lnTo>
                    <a:lnTo>
                      <a:pt x="30" y="450"/>
                    </a:lnTo>
                    <a:lnTo>
                      <a:pt x="22" y="418"/>
                    </a:lnTo>
                    <a:lnTo>
                      <a:pt x="14" y="391"/>
                    </a:lnTo>
                    <a:lnTo>
                      <a:pt x="8" y="369"/>
                    </a:lnTo>
                    <a:lnTo>
                      <a:pt x="3" y="354"/>
                    </a:lnTo>
                    <a:lnTo>
                      <a:pt x="1" y="343"/>
                    </a:lnTo>
                    <a:lnTo>
                      <a:pt x="0" y="340"/>
                    </a:lnTo>
                    <a:lnTo>
                      <a:pt x="106" y="285"/>
                    </a:lnTo>
                    <a:lnTo>
                      <a:pt x="215" y="234"/>
                    </a:lnTo>
                    <a:lnTo>
                      <a:pt x="326" y="187"/>
                    </a:lnTo>
                    <a:lnTo>
                      <a:pt x="437" y="143"/>
                    </a:lnTo>
                    <a:lnTo>
                      <a:pt x="521" y="114"/>
                    </a:lnTo>
                    <a:lnTo>
                      <a:pt x="602" y="86"/>
                    </a:lnTo>
                    <a:lnTo>
                      <a:pt x="688" y="58"/>
                    </a:lnTo>
                    <a:lnTo>
                      <a:pt x="770" y="33"/>
                    </a:lnTo>
                    <a:lnTo>
                      <a:pt x="847" y="11"/>
                    </a:lnTo>
                    <a:lnTo>
                      <a:pt x="88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Freeform 33"/>
              <p:cNvSpPr>
                <a:spLocks/>
              </p:cNvSpPr>
              <p:nvPr/>
            </p:nvSpPr>
            <p:spPr bwMode="auto">
              <a:xfrm>
                <a:off x="-8224838" y="-1260475"/>
                <a:ext cx="1184275" cy="1984375"/>
              </a:xfrm>
              <a:custGeom>
                <a:avLst/>
                <a:gdLst>
                  <a:gd name="T0" fmla="*/ 339 w 746"/>
                  <a:gd name="T1" fmla="*/ 0 h 1250"/>
                  <a:gd name="T2" fmla="*/ 342 w 746"/>
                  <a:gd name="T3" fmla="*/ 38 h 1250"/>
                  <a:gd name="T4" fmla="*/ 346 w 746"/>
                  <a:gd name="T5" fmla="*/ 78 h 1250"/>
                  <a:gd name="T6" fmla="*/ 353 w 746"/>
                  <a:gd name="T7" fmla="*/ 122 h 1250"/>
                  <a:gd name="T8" fmla="*/ 361 w 746"/>
                  <a:gd name="T9" fmla="*/ 169 h 1250"/>
                  <a:gd name="T10" fmla="*/ 375 w 746"/>
                  <a:gd name="T11" fmla="*/ 230 h 1250"/>
                  <a:gd name="T12" fmla="*/ 392 w 746"/>
                  <a:gd name="T13" fmla="*/ 293 h 1250"/>
                  <a:gd name="T14" fmla="*/ 410 w 746"/>
                  <a:gd name="T15" fmla="*/ 360 h 1250"/>
                  <a:gd name="T16" fmla="*/ 432 w 746"/>
                  <a:gd name="T17" fmla="*/ 429 h 1250"/>
                  <a:gd name="T18" fmla="*/ 454 w 746"/>
                  <a:gd name="T19" fmla="*/ 500 h 1250"/>
                  <a:gd name="T20" fmla="*/ 479 w 746"/>
                  <a:gd name="T21" fmla="*/ 569 h 1250"/>
                  <a:gd name="T22" fmla="*/ 503 w 746"/>
                  <a:gd name="T23" fmla="*/ 640 h 1250"/>
                  <a:gd name="T24" fmla="*/ 529 w 746"/>
                  <a:gd name="T25" fmla="*/ 710 h 1250"/>
                  <a:gd name="T26" fmla="*/ 555 w 746"/>
                  <a:gd name="T27" fmla="*/ 778 h 1250"/>
                  <a:gd name="T28" fmla="*/ 580 w 746"/>
                  <a:gd name="T29" fmla="*/ 844 h 1250"/>
                  <a:gd name="T30" fmla="*/ 605 w 746"/>
                  <a:gd name="T31" fmla="*/ 908 h 1250"/>
                  <a:gd name="T32" fmla="*/ 629 w 746"/>
                  <a:gd name="T33" fmla="*/ 968 h 1250"/>
                  <a:gd name="T34" fmla="*/ 652 w 746"/>
                  <a:gd name="T35" fmla="*/ 1024 h 1250"/>
                  <a:gd name="T36" fmla="*/ 673 w 746"/>
                  <a:gd name="T37" fmla="*/ 1075 h 1250"/>
                  <a:gd name="T38" fmla="*/ 693 w 746"/>
                  <a:gd name="T39" fmla="*/ 1122 h 1250"/>
                  <a:gd name="T40" fmla="*/ 710 w 746"/>
                  <a:gd name="T41" fmla="*/ 1161 h 1250"/>
                  <a:gd name="T42" fmla="*/ 720 w 746"/>
                  <a:gd name="T43" fmla="*/ 1188 h 1250"/>
                  <a:gd name="T44" fmla="*/ 729 w 746"/>
                  <a:gd name="T45" fmla="*/ 1210 h 1250"/>
                  <a:gd name="T46" fmla="*/ 737 w 746"/>
                  <a:gd name="T47" fmla="*/ 1227 h 1250"/>
                  <a:gd name="T48" fmla="*/ 743 w 746"/>
                  <a:gd name="T49" fmla="*/ 1239 h 1250"/>
                  <a:gd name="T50" fmla="*/ 746 w 746"/>
                  <a:gd name="T51" fmla="*/ 1248 h 1250"/>
                  <a:gd name="T52" fmla="*/ 746 w 746"/>
                  <a:gd name="T53" fmla="*/ 1250 h 1250"/>
                  <a:gd name="T54" fmla="*/ 710 w 746"/>
                  <a:gd name="T55" fmla="*/ 1220 h 1250"/>
                  <a:gd name="T56" fmla="*/ 60 w 746"/>
                  <a:gd name="T57" fmla="*/ 699 h 1250"/>
                  <a:gd name="T58" fmla="*/ 170 w 746"/>
                  <a:gd name="T59" fmla="*/ 433 h 1250"/>
                  <a:gd name="T60" fmla="*/ 0 w 746"/>
                  <a:gd name="T61" fmla="*/ 345 h 1250"/>
                  <a:gd name="T62" fmla="*/ 16 w 746"/>
                  <a:gd name="T63" fmla="*/ 325 h 1250"/>
                  <a:gd name="T64" fmla="*/ 34 w 746"/>
                  <a:gd name="T65" fmla="*/ 303 h 1250"/>
                  <a:gd name="T66" fmla="*/ 56 w 746"/>
                  <a:gd name="T67" fmla="*/ 279 h 1250"/>
                  <a:gd name="T68" fmla="*/ 80 w 746"/>
                  <a:gd name="T69" fmla="*/ 253 h 1250"/>
                  <a:gd name="T70" fmla="*/ 104 w 746"/>
                  <a:gd name="T71" fmla="*/ 227 h 1250"/>
                  <a:gd name="T72" fmla="*/ 128 w 746"/>
                  <a:gd name="T73" fmla="*/ 203 h 1250"/>
                  <a:gd name="T74" fmla="*/ 154 w 746"/>
                  <a:gd name="T75" fmla="*/ 177 h 1250"/>
                  <a:gd name="T76" fmla="*/ 178 w 746"/>
                  <a:gd name="T77" fmla="*/ 153 h 1250"/>
                  <a:gd name="T78" fmla="*/ 204 w 746"/>
                  <a:gd name="T79" fmla="*/ 128 h 1250"/>
                  <a:gd name="T80" fmla="*/ 227 w 746"/>
                  <a:gd name="T81" fmla="*/ 105 h 1250"/>
                  <a:gd name="T82" fmla="*/ 250 w 746"/>
                  <a:gd name="T83" fmla="*/ 84 h 1250"/>
                  <a:gd name="T84" fmla="*/ 271 w 746"/>
                  <a:gd name="T85" fmla="*/ 63 h 1250"/>
                  <a:gd name="T86" fmla="*/ 291 w 746"/>
                  <a:gd name="T87" fmla="*/ 46 h 1250"/>
                  <a:gd name="T88" fmla="*/ 306 w 746"/>
                  <a:gd name="T89" fmla="*/ 30 h 1250"/>
                  <a:gd name="T90" fmla="*/ 321 w 746"/>
                  <a:gd name="T91" fmla="*/ 18 h 1250"/>
                  <a:gd name="T92" fmla="*/ 331 w 746"/>
                  <a:gd name="T93" fmla="*/ 8 h 1250"/>
                  <a:gd name="T94" fmla="*/ 337 w 746"/>
                  <a:gd name="T95" fmla="*/ 2 h 1250"/>
                  <a:gd name="T96" fmla="*/ 339 w 746"/>
                  <a:gd name="T9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6" h="1250">
                    <a:moveTo>
                      <a:pt x="339" y="0"/>
                    </a:moveTo>
                    <a:lnTo>
                      <a:pt x="342" y="38"/>
                    </a:lnTo>
                    <a:lnTo>
                      <a:pt x="346" y="78"/>
                    </a:lnTo>
                    <a:lnTo>
                      <a:pt x="353" y="122"/>
                    </a:lnTo>
                    <a:lnTo>
                      <a:pt x="361" y="169"/>
                    </a:lnTo>
                    <a:lnTo>
                      <a:pt x="375" y="230"/>
                    </a:lnTo>
                    <a:lnTo>
                      <a:pt x="392" y="293"/>
                    </a:lnTo>
                    <a:lnTo>
                      <a:pt x="410" y="360"/>
                    </a:lnTo>
                    <a:lnTo>
                      <a:pt x="432" y="429"/>
                    </a:lnTo>
                    <a:lnTo>
                      <a:pt x="454" y="500"/>
                    </a:lnTo>
                    <a:lnTo>
                      <a:pt x="479" y="569"/>
                    </a:lnTo>
                    <a:lnTo>
                      <a:pt x="503" y="640"/>
                    </a:lnTo>
                    <a:lnTo>
                      <a:pt x="529" y="710"/>
                    </a:lnTo>
                    <a:lnTo>
                      <a:pt x="555" y="778"/>
                    </a:lnTo>
                    <a:lnTo>
                      <a:pt x="580" y="844"/>
                    </a:lnTo>
                    <a:lnTo>
                      <a:pt x="605" y="908"/>
                    </a:lnTo>
                    <a:lnTo>
                      <a:pt x="629" y="968"/>
                    </a:lnTo>
                    <a:lnTo>
                      <a:pt x="652" y="1024"/>
                    </a:lnTo>
                    <a:lnTo>
                      <a:pt x="673" y="1075"/>
                    </a:lnTo>
                    <a:lnTo>
                      <a:pt x="693" y="1122"/>
                    </a:lnTo>
                    <a:lnTo>
                      <a:pt x="710" y="1161"/>
                    </a:lnTo>
                    <a:lnTo>
                      <a:pt x="720" y="1188"/>
                    </a:lnTo>
                    <a:lnTo>
                      <a:pt x="729" y="1210"/>
                    </a:lnTo>
                    <a:lnTo>
                      <a:pt x="737" y="1227"/>
                    </a:lnTo>
                    <a:lnTo>
                      <a:pt x="743" y="1239"/>
                    </a:lnTo>
                    <a:lnTo>
                      <a:pt x="746" y="1248"/>
                    </a:lnTo>
                    <a:lnTo>
                      <a:pt x="746" y="1250"/>
                    </a:lnTo>
                    <a:lnTo>
                      <a:pt x="710" y="1220"/>
                    </a:lnTo>
                    <a:lnTo>
                      <a:pt x="60" y="699"/>
                    </a:lnTo>
                    <a:lnTo>
                      <a:pt x="170" y="433"/>
                    </a:lnTo>
                    <a:lnTo>
                      <a:pt x="0" y="345"/>
                    </a:lnTo>
                    <a:lnTo>
                      <a:pt x="16" y="325"/>
                    </a:lnTo>
                    <a:lnTo>
                      <a:pt x="34" y="303"/>
                    </a:lnTo>
                    <a:lnTo>
                      <a:pt x="56" y="279"/>
                    </a:lnTo>
                    <a:lnTo>
                      <a:pt x="80" y="253"/>
                    </a:lnTo>
                    <a:lnTo>
                      <a:pt x="104" y="227"/>
                    </a:lnTo>
                    <a:lnTo>
                      <a:pt x="128" y="203"/>
                    </a:lnTo>
                    <a:lnTo>
                      <a:pt x="154" y="177"/>
                    </a:lnTo>
                    <a:lnTo>
                      <a:pt x="178" y="153"/>
                    </a:lnTo>
                    <a:lnTo>
                      <a:pt x="204" y="128"/>
                    </a:lnTo>
                    <a:lnTo>
                      <a:pt x="227" y="105"/>
                    </a:lnTo>
                    <a:lnTo>
                      <a:pt x="250" y="84"/>
                    </a:lnTo>
                    <a:lnTo>
                      <a:pt x="271" y="63"/>
                    </a:lnTo>
                    <a:lnTo>
                      <a:pt x="291" y="46"/>
                    </a:lnTo>
                    <a:lnTo>
                      <a:pt x="306" y="30"/>
                    </a:lnTo>
                    <a:lnTo>
                      <a:pt x="321" y="18"/>
                    </a:lnTo>
                    <a:lnTo>
                      <a:pt x="331" y="8"/>
                    </a:lnTo>
                    <a:lnTo>
                      <a:pt x="337" y="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B5B4FD5-9117-459F-9BA5-9ED8C4D03638}"/>
              </a:ext>
            </a:extLst>
          </p:cNvPr>
          <p:cNvGrpSpPr/>
          <p:nvPr userDrawn="1"/>
        </p:nvGrpSpPr>
        <p:grpSpPr>
          <a:xfrm>
            <a:off x="5433479" y="1756149"/>
            <a:ext cx="1305752" cy="1160263"/>
            <a:chOff x="5533547" y="1772816"/>
            <a:chExt cx="1177418" cy="1177418"/>
          </a:xfrm>
        </p:grpSpPr>
        <p:sp>
          <p:nvSpPr>
            <p:cNvPr id="66" name="Oval 65"/>
            <p:cNvSpPr/>
            <p:nvPr/>
          </p:nvSpPr>
          <p:spPr>
            <a:xfrm>
              <a:off x="5533547" y="177281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7" name="Freeform 38"/>
            <p:cNvSpPr>
              <a:spLocks/>
            </p:cNvSpPr>
            <p:nvPr/>
          </p:nvSpPr>
          <p:spPr bwMode="auto">
            <a:xfrm>
              <a:off x="5619856" y="1859125"/>
              <a:ext cx="1004799" cy="1004799"/>
            </a:xfrm>
            <a:custGeom>
              <a:avLst/>
              <a:gdLst>
                <a:gd name="T0" fmla="*/ 2156 w 4063"/>
                <a:gd name="T1" fmla="*/ 3 h 4063"/>
                <a:gd name="T2" fmla="*/ 2397 w 4063"/>
                <a:gd name="T3" fmla="*/ 33 h 4063"/>
                <a:gd name="T4" fmla="*/ 2629 w 4063"/>
                <a:gd name="T5" fmla="*/ 88 h 4063"/>
                <a:gd name="T6" fmla="*/ 2849 w 4063"/>
                <a:gd name="T7" fmla="*/ 171 h 4063"/>
                <a:gd name="T8" fmla="*/ 3057 w 4063"/>
                <a:gd name="T9" fmla="*/ 277 h 4063"/>
                <a:gd name="T10" fmla="*/ 3251 w 4063"/>
                <a:gd name="T11" fmla="*/ 406 h 4063"/>
                <a:gd name="T12" fmla="*/ 3427 w 4063"/>
                <a:gd name="T13" fmla="*/ 555 h 4063"/>
                <a:gd name="T14" fmla="*/ 3585 w 4063"/>
                <a:gd name="T15" fmla="*/ 723 h 4063"/>
                <a:gd name="T16" fmla="*/ 3725 w 4063"/>
                <a:gd name="T17" fmla="*/ 907 h 4063"/>
                <a:gd name="T18" fmla="*/ 3842 w 4063"/>
                <a:gd name="T19" fmla="*/ 1108 h 4063"/>
                <a:gd name="T20" fmla="*/ 3936 w 4063"/>
                <a:gd name="T21" fmla="*/ 1322 h 4063"/>
                <a:gd name="T22" fmla="*/ 4005 w 4063"/>
                <a:gd name="T23" fmla="*/ 1549 h 4063"/>
                <a:gd name="T24" fmla="*/ 4048 w 4063"/>
                <a:gd name="T25" fmla="*/ 1786 h 4063"/>
                <a:gd name="T26" fmla="*/ 4063 w 4063"/>
                <a:gd name="T27" fmla="*/ 2031 h 4063"/>
                <a:gd name="T28" fmla="*/ 4048 w 4063"/>
                <a:gd name="T29" fmla="*/ 2276 h 4063"/>
                <a:gd name="T30" fmla="*/ 4005 w 4063"/>
                <a:gd name="T31" fmla="*/ 2514 h 4063"/>
                <a:gd name="T32" fmla="*/ 3936 w 4063"/>
                <a:gd name="T33" fmla="*/ 2741 h 4063"/>
                <a:gd name="T34" fmla="*/ 3842 w 4063"/>
                <a:gd name="T35" fmla="*/ 2955 h 4063"/>
                <a:gd name="T36" fmla="*/ 3725 w 4063"/>
                <a:gd name="T37" fmla="*/ 3156 h 4063"/>
                <a:gd name="T38" fmla="*/ 3585 w 4063"/>
                <a:gd name="T39" fmla="*/ 3340 h 4063"/>
                <a:gd name="T40" fmla="*/ 3427 w 4063"/>
                <a:gd name="T41" fmla="*/ 3508 h 4063"/>
                <a:gd name="T42" fmla="*/ 3251 w 4063"/>
                <a:gd name="T43" fmla="*/ 3657 h 4063"/>
                <a:gd name="T44" fmla="*/ 3057 w 4063"/>
                <a:gd name="T45" fmla="*/ 3786 h 4063"/>
                <a:gd name="T46" fmla="*/ 2849 w 4063"/>
                <a:gd name="T47" fmla="*/ 3892 h 4063"/>
                <a:gd name="T48" fmla="*/ 2629 w 4063"/>
                <a:gd name="T49" fmla="*/ 3974 h 4063"/>
                <a:gd name="T50" fmla="*/ 2397 w 4063"/>
                <a:gd name="T51" fmla="*/ 4030 h 4063"/>
                <a:gd name="T52" fmla="*/ 2156 w 4063"/>
                <a:gd name="T53" fmla="*/ 4059 h 4063"/>
                <a:gd name="T54" fmla="*/ 1907 w 4063"/>
                <a:gd name="T55" fmla="*/ 4059 h 4063"/>
                <a:gd name="T56" fmla="*/ 1666 w 4063"/>
                <a:gd name="T57" fmla="*/ 4030 h 4063"/>
                <a:gd name="T58" fmla="*/ 1434 w 4063"/>
                <a:gd name="T59" fmla="*/ 3974 h 4063"/>
                <a:gd name="T60" fmla="*/ 1214 w 4063"/>
                <a:gd name="T61" fmla="*/ 3892 h 4063"/>
                <a:gd name="T62" fmla="*/ 1006 w 4063"/>
                <a:gd name="T63" fmla="*/ 3786 h 4063"/>
                <a:gd name="T64" fmla="*/ 813 w 4063"/>
                <a:gd name="T65" fmla="*/ 3657 h 4063"/>
                <a:gd name="T66" fmla="*/ 637 w 4063"/>
                <a:gd name="T67" fmla="*/ 3508 h 4063"/>
                <a:gd name="T68" fmla="*/ 478 w 4063"/>
                <a:gd name="T69" fmla="*/ 3340 h 4063"/>
                <a:gd name="T70" fmla="*/ 339 w 4063"/>
                <a:gd name="T71" fmla="*/ 3156 h 4063"/>
                <a:gd name="T72" fmla="*/ 222 w 4063"/>
                <a:gd name="T73" fmla="*/ 2955 h 4063"/>
                <a:gd name="T74" fmla="*/ 127 w 4063"/>
                <a:gd name="T75" fmla="*/ 2741 h 4063"/>
                <a:gd name="T76" fmla="*/ 58 w 4063"/>
                <a:gd name="T77" fmla="*/ 2514 h 4063"/>
                <a:gd name="T78" fmla="*/ 15 w 4063"/>
                <a:gd name="T79" fmla="*/ 2276 h 4063"/>
                <a:gd name="T80" fmla="*/ 0 w 4063"/>
                <a:gd name="T81" fmla="*/ 2031 h 4063"/>
                <a:gd name="T82" fmla="*/ 15 w 4063"/>
                <a:gd name="T83" fmla="*/ 1786 h 4063"/>
                <a:gd name="T84" fmla="*/ 58 w 4063"/>
                <a:gd name="T85" fmla="*/ 1549 h 4063"/>
                <a:gd name="T86" fmla="*/ 127 w 4063"/>
                <a:gd name="T87" fmla="*/ 1322 h 4063"/>
                <a:gd name="T88" fmla="*/ 222 w 4063"/>
                <a:gd name="T89" fmla="*/ 1108 h 4063"/>
                <a:gd name="T90" fmla="*/ 339 w 4063"/>
                <a:gd name="T91" fmla="*/ 907 h 4063"/>
                <a:gd name="T92" fmla="*/ 478 w 4063"/>
                <a:gd name="T93" fmla="*/ 723 h 4063"/>
                <a:gd name="T94" fmla="*/ 637 w 4063"/>
                <a:gd name="T95" fmla="*/ 555 h 4063"/>
                <a:gd name="T96" fmla="*/ 813 w 4063"/>
                <a:gd name="T97" fmla="*/ 406 h 4063"/>
                <a:gd name="T98" fmla="*/ 1006 w 4063"/>
                <a:gd name="T99" fmla="*/ 277 h 4063"/>
                <a:gd name="T100" fmla="*/ 1214 w 4063"/>
                <a:gd name="T101" fmla="*/ 171 h 4063"/>
                <a:gd name="T102" fmla="*/ 1434 w 4063"/>
                <a:gd name="T103" fmla="*/ 88 h 4063"/>
                <a:gd name="T104" fmla="*/ 1666 w 4063"/>
                <a:gd name="T105" fmla="*/ 33 h 4063"/>
                <a:gd name="T106" fmla="*/ 1907 w 4063"/>
                <a:gd name="T107" fmla="*/ 3 h 4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63" h="4063">
                  <a:moveTo>
                    <a:pt x="2030" y="0"/>
                  </a:moveTo>
                  <a:lnTo>
                    <a:pt x="2156" y="3"/>
                  </a:lnTo>
                  <a:lnTo>
                    <a:pt x="2277" y="15"/>
                  </a:lnTo>
                  <a:lnTo>
                    <a:pt x="2397" y="33"/>
                  </a:lnTo>
                  <a:lnTo>
                    <a:pt x="2514" y="58"/>
                  </a:lnTo>
                  <a:lnTo>
                    <a:pt x="2629" y="88"/>
                  </a:lnTo>
                  <a:lnTo>
                    <a:pt x="2741" y="127"/>
                  </a:lnTo>
                  <a:lnTo>
                    <a:pt x="2849" y="171"/>
                  </a:lnTo>
                  <a:lnTo>
                    <a:pt x="2955" y="221"/>
                  </a:lnTo>
                  <a:lnTo>
                    <a:pt x="3057" y="277"/>
                  </a:lnTo>
                  <a:lnTo>
                    <a:pt x="3156" y="338"/>
                  </a:lnTo>
                  <a:lnTo>
                    <a:pt x="3251" y="406"/>
                  </a:lnTo>
                  <a:lnTo>
                    <a:pt x="3340" y="478"/>
                  </a:lnTo>
                  <a:lnTo>
                    <a:pt x="3427" y="555"/>
                  </a:lnTo>
                  <a:lnTo>
                    <a:pt x="3508" y="636"/>
                  </a:lnTo>
                  <a:lnTo>
                    <a:pt x="3585" y="723"/>
                  </a:lnTo>
                  <a:lnTo>
                    <a:pt x="3657" y="812"/>
                  </a:lnTo>
                  <a:lnTo>
                    <a:pt x="3725" y="907"/>
                  </a:lnTo>
                  <a:lnTo>
                    <a:pt x="3786" y="1006"/>
                  </a:lnTo>
                  <a:lnTo>
                    <a:pt x="3842" y="1108"/>
                  </a:lnTo>
                  <a:lnTo>
                    <a:pt x="3892" y="1214"/>
                  </a:lnTo>
                  <a:lnTo>
                    <a:pt x="3936" y="1322"/>
                  </a:lnTo>
                  <a:lnTo>
                    <a:pt x="3975" y="1434"/>
                  </a:lnTo>
                  <a:lnTo>
                    <a:pt x="4005" y="1549"/>
                  </a:lnTo>
                  <a:lnTo>
                    <a:pt x="4030" y="1666"/>
                  </a:lnTo>
                  <a:lnTo>
                    <a:pt x="4048" y="1786"/>
                  </a:lnTo>
                  <a:lnTo>
                    <a:pt x="4060" y="1907"/>
                  </a:lnTo>
                  <a:lnTo>
                    <a:pt x="4063" y="2031"/>
                  </a:lnTo>
                  <a:lnTo>
                    <a:pt x="4060" y="2156"/>
                  </a:lnTo>
                  <a:lnTo>
                    <a:pt x="4048" y="2276"/>
                  </a:lnTo>
                  <a:lnTo>
                    <a:pt x="4030" y="2397"/>
                  </a:lnTo>
                  <a:lnTo>
                    <a:pt x="4005" y="2514"/>
                  </a:lnTo>
                  <a:lnTo>
                    <a:pt x="3975" y="2629"/>
                  </a:lnTo>
                  <a:lnTo>
                    <a:pt x="3936" y="2741"/>
                  </a:lnTo>
                  <a:lnTo>
                    <a:pt x="3892" y="2849"/>
                  </a:lnTo>
                  <a:lnTo>
                    <a:pt x="3842" y="2955"/>
                  </a:lnTo>
                  <a:lnTo>
                    <a:pt x="3786" y="3057"/>
                  </a:lnTo>
                  <a:lnTo>
                    <a:pt x="3725" y="3156"/>
                  </a:lnTo>
                  <a:lnTo>
                    <a:pt x="3657" y="3250"/>
                  </a:lnTo>
                  <a:lnTo>
                    <a:pt x="3585" y="3340"/>
                  </a:lnTo>
                  <a:lnTo>
                    <a:pt x="3508" y="3426"/>
                  </a:lnTo>
                  <a:lnTo>
                    <a:pt x="3427" y="3508"/>
                  </a:lnTo>
                  <a:lnTo>
                    <a:pt x="3340" y="3585"/>
                  </a:lnTo>
                  <a:lnTo>
                    <a:pt x="3251" y="3657"/>
                  </a:lnTo>
                  <a:lnTo>
                    <a:pt x="3156" y="3724"/>
                  </a:lnTo>
                  <a:lnTo>
                    <a:pt x="3057" y="3786"/>
                  </a:lnTo>
                  <a:lnTo>
                    <a:pt x="2955" y="3841"/>
                  </a:lnTo>
                  <a:lnTo>
                    <a:pt x="2849" y="3892"/>
                  </a:lnTo>
                  <a:lnTo>
                    <a:pt x="2741" y="3936"/>
                  </a:lnTo>
                  <a:lnTo>
                    <a:pt x="2629" y="3974"/>
                  </a:lnTo>
                  <a:lnTo>
                    <a:pt x="2514" y="4005"/>
                  </a:lnTo>
                  <a:lnTo>
                    <a:pt x="2397" y="4030"/>
                  </a:lnTo>
                  <a:lnTo>
                    <a:pt x="2277" y="4048"/>
                  </a:lnTo>
                  <a:lnTo>
                    <a:pt x="2156" y="4059"/>
                  </a:lnTo>
                  <a:lnTo>
                    <a:pt x="2030" y="4063"/>
                  </a:lnTo>
                  <a:lnTo>
                    <a:pt x="1907" y="4059"/>
                  </a:lnTo>
                  <a:lnTo>
                    <a:pt x="1787" y="4048"/>
                  </a:lnTo>
                  <a:lnTo>
                    <a:pt x="1666" y="4030"/>
                  </a:lnTo>
                  <a:lnTo>
                    <a:pt x="1549" y="4005"/>
                  </a:lnTo>
                  <a:lnTo>
                    <a:pt x="1434" y="3974"/>
                  </a:lnTo>
                  <a:lnTo>
                    <a:pt x="1322" y="3936"/>
                  </a:lnTo>
                  <a:lnTo>
                    <a:pt x="1214" y="3892"/>
                  </a:lnTo>
                  <a:lnTo>
                    <a:pt x="1108" y="3841"/>
                  </a:lnTo>
                  <a:lnTo>
                    <a:pt x="1006" y="3786"/>
                  </a:lnTo>
                  <a:lnTo>
                    <a:pt x="907" y="3724"/>
                  </a:lnTo>
                  <a:lnTo>
                    <a:pt x="813" y="3657"/>
                  </a:lnTo>
                  <a:lnTo>
                    <a:pt x="723" y="3585"/>
                  </a:lnTo>
                  <a:lnTo>
                    <a:pt x="637" y="3508"/>
                  </a:lnTo>
                  <a:lnTo>
                    <a:pt x="555" y="3426"/>
                  </a:lnTo>
                  <a:lnTo>
                    <a:pt x="478" y="3340"/>
                  </a:lnTo>
                  <a:lnTo>
                    <a:pt x="406" y="3250"/>
                  </a:lnTo>
                  <a:lnTo>
                    <a:pt x="339" y="3156"/>
                  </a:lnTo>
                  <a:lnTo>
                    <a:pt x="277" y="3057"/>
                  </a:lnTo>
                  <a:lnTo>
                    <a:pt x="222" y="2955"/>
                  </a:lnTo>
                  <a:lnTo>
                    <a:pt x="171" y="2849"/>
                  </a:lnTo>
                  <a:lnTo>
                    <a:pt x="127" y="2741"/>
                  </a:lnTo>
                  <a:lnTo>
                    <a:pt x="89" y="2629"/>
                  </a:lnTo>
                  <a:lnTo>
                    <a:pt x="58" y="2514"/>
                  </a:lnTo>
                  <a:lnTo>
                    <a:pt x="33" y="2397"/>
                  </a:lnTo>
                  <a:lnTo>
                    <a:pt x="15" y="2276"/>
                  </a:lnTo>
                  <a:lnTo>
                    <a:pt x="4" y="2156"/>
                  </a:lnTo>
                  <a:lnTo>
                    <a:pt x="0" y="2031"/>
                  </a:lnTo>
                  <a:lnTo>
                    <a:pt x="4" y="1907"/>
                  </a:lnTo>
                  <a:lnTo>
                    <a:pt x="15" y="1786"/>
                  </a:lnTo>
                  <a:lnTo>
                    <a:pt x="33" y="1666"/>
                  </a:lnTo>
                  <a:lnTo>
                    <a:pt x="58" y="1549"/>
                  </a:lnTo>
                  <a:lnTo>
                    <a:pt x="89" y="1434"/>
                  </a:lnTo>
                  <a:lnTo>
                    <a:pt x="127" y="1322"/>
                  </a:lnTo>
                  <a:lnTo>
                    <a:pt x="171" y="1214"/>
                  </a:lnTo>
                  <a:lnTo>
                    <a:pt x="222" y="1108"/>
                  </a:lnTo>
                  <a:lnTo>
                    <a:pt x="277" y="1006"/>
                  </a:lnTo>
                  <a:lnTo>
                    <a:pt x="339" y="907"/>
                  </a:lnTo>
                  <a:lnTo>
                    <a:pt x="406" y="812"/>
                  </a:lnTo>
                  <a:lnTo>
                    <a:pt x="478" y="723"/>
                  </a:lnTo>
                  <a:lnTo>
                    <a:pt x="555" y="636"/>
                  </a:lnTo>
                  <a:lnTo>
                    <a:pt x="637" y="555"/>
                  </a:lnTo>
                  <a:lnTo>
                    <a:pt x="723" y="478"/>
                  </a:lnTo>
                  <a:lnTo>
                    <a:pt x="813" y="406"/>
                  </a:lnTo>
                  <a:lnTo>
                    <a:pt x="907" y="338"/>
                  </a:lnTo>
                  <a:lnTo>
                    <a:pt x="1006" y="277"/>
                  </a:lnTo>
                  <a:lnTo>
                    <a:pt x="1108" y="221"/>
                  </a:lnTo>
                  <a:lnTo>
                    <a:pt x="1214" y="171"/>
                  </a:lnTo>
                  <a:lnTo>
                    <a:pt x="1322" y="127"/>
                  </a:lnTo>
                  <a:lnTo>
                    <a:pt x="1434" y="88"/>
                  </a:lnTo>
                  <a:lnTo>
                    <a:pt x="1549" y="58"/>
                  </a:lnTo>
                  <a:lnTo>
                    <a:pt x="1666" y="33"/>
                  </a:lnTo>
                  <a:lnTo>
                    <a:pt x="1787" y="15"/>
                  </a:lnTo>
                  <a:lnTo>
                    <a:pt x="1907" y="3"/>
                  </a:lnTo>
                  <a:lnTo>
                    <a:pt x="203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5732132" y="1930843"/>
              <a:ext cx="780246" cy="933081"/>
              <a:chOff x="-1231900" y="-5329238"/>
              <a:chExt cx="5008563" cy="5989638"/>
            </a:xfrm>
          </p:grpSpPr>
          <p:sp>
            <p:nvSpPr>
              <p:cNvPr id="69" name="Freeform 39"/>
              <p:cNvSpPr>
                <a:spLocks/>
              </p:cNvSpPr>
              <p:nvPr/>
            </p:nvSpPr>
            <p:spPr bwMode="auto">
              <a:xfrm>
                <a:off x="1257300" y="-1182688"/>
                <a:ext cx="30163" cy="3175"/>
              </a:xfrm>
              <a:custGeom>
                <a:avLst/>
                <a:gdLst>
                  <a:gd name="T0" fmla="*/ 0 w 19"/>
                  <a:gd name="T1" fmla="*/ 0 h 2"/>
                  <a:gd name="T2" fmla="*/ 19 w 19"/>
                  <a:gd name="T3" fmla="*/ 0 h 2"/>
                  <a:gd name="T4" fmla="*/ 16 w 19"/>
                  <a:gd name="T5" fmla="*/ 0 h 2"/>
                  <a:gd name="T6" fmla="*/ 13 w 19"/>
                  <a:gd name="T7" fmla="*/ 2 h 2"/>
                  <a:gd name="T8" fmla="*/ 8 w 19"/>
                  <a:gd name="T9" fmla="*/ 2 h 2"/>
                  <a:gd name="T10" fmla="*/ 6 w 19"/>
                  <a:gd name="T11" fmla="*/ 2 h 2"/>
                  <a:gd name="T12" fmla="*/ 3 w 19"/>
                  <a:gd name="T13" fmla="*/ 0 h 2"/>
                  <a:gd name="T14" fmla="*/ 0 w 19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lnTo>
                      <a:pt x="19" y="0"/>
                    </a:lnTo>
                    <a:lnTo>
                      <a:pt x="16" y="0"/>
                    </a:lnTo>
                    <a:lnTo>
                      <a:pt x="13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Freeform 40"/>
              <p:cNvSpPr>
                <a:spLocks/>
              </p:cNvSpPr>
              <p:nvPr/>
            </p:nvSpPr>
            <p:spPr bwMode="auto">
              <a:xfrm>
                <a:off x="-1231900" y="-1512888"/>
                <a:ext cx="5008563" cy="2173288"/>
              </a:xfrm>
              <a:custGeom>
                <a:avLst/>
                <a:gdLst>
                  <a:gd name="T0" fmla="*/ 1001 w 3155"/>
                  <a:gd name="T1" fmla="*/ 81 h 1369"/>
                  <a:gd name="T2" fmla="*/ 1012 w 3155"/>
                  <a:gd name="T3" fmla="*/ 208 h 1369"/>
                  <a:gd name="T4" fmla="*/ 1037 w 3155"/>
                  <a:gd name="T5" fmla="*/ 325 h 1369"/>
                  <a:gd name="T6" fmla="*/ 1064 w 3155"/>
                  <a:gd name="T7" fmla="*/ 418 h 1369"/>
                  <a:gd name="T8" fmla="*/ 1085 w 3155"/>
                  <a:gd name="T9" fmla="*/ 475 h 1369"/>
                  <a:gd name="T10" fmla="*/ 1112 w 3155"/>
                  <a:gd name="T11" fmla="*/ 446 h 1369"/>
                  <a:gd name="T12" fmla="*/ 1198 w 3155"/>
                  <a:gd name="T13" fmla="*/ 347 h 1369"/>
                  <a:gd name="T14" fmla="*/ 1303 w 3155"/>
                  <a:gd name="T15" fmla="*/ 281 h 1369"/>
                  <a:gd name="T16" fmla="*/ 1411 w 3155"/>
                  <a:gd name="T17" fmla="*/ 240 h 1369"/>
                  <a:gd name="T18" fmla="*/ 1505 w 3155"/>
                  <a:gd name="T19" fmla="*/ 218 h 1369"/>
                  <a:gd name="T20" fmla="*/ 1564 w 3155"/>
                  <a:gd name="T21" fmla="*/ 209 h 1369"/>
                  <a:gd name="T22" fmla="*/ 1581 w 3155"/>
                  <a:gd name="T23" fmla="*/ 208 h 1369"/>
                  <a:gd name="T24" fmla="*/ 1626 w 3155"/>
                  <a:gd name="T25" fmla="*/ 213 h 1369"/>
                  <a:gd name="T26" fmla="*/ 1709 w 3155"/>
                  <a:gd name="T27" fmla="*/ 230 h 1369"/>
                  <a:gd name="T28" fmla="*/ 1814 w 3155"/>
                  <a:gd name="T29" fmla="*/ 265 h 1369"/>
                  <a:gd name="T30" fmla="*/ 1922 w 3155"/>
                  <a:gd name="T31" fmla="*/ 322 h 1369"/>
                  <a:gd name="T32" fmla="*/ 2016 w 3155"/>
                  <a:gd name="T33" fmla="*/ 409 h 1369"/>
                  <a:gd name="T34" fmla="*/ 2063 w 3155"/>
                  <a:gd name="T35" fmla="*/ 484 h 1369"/>
                  <a:gd name="T36" fmla="*/ 2080 w 3155"/>
                  <a:gd name="T37" fmla="*/ 442 h 1369"/>
                  <a:gd name="T38" fmla="*/ 2107 w 3155"/>
                  <a:gd name="T39" fmla="*/ 359 h 1369"/>
                  <a:gd name="T40" fmla="*/ 2133 w 3155"/>
                  <a:gd name="T41" fmla="*/ 249 h 1369"/>
                  <a:gd name="T42" fmla="*/ 2150 w 3155"/>
                  <a:gd name="T43" fmla="*/ 123 h 1369"/>
                  <a:gd name="T44" fmla="*/ 2148 w 3155"/>
                  <a:gd name="T45" fmla="*/ 0 h 1369"/>
                  <a:gd name="T46" fmla="*/ 2356 w 3155"/>
                  <a:gd name="T47" fmla="*/ 63 h 1369"/>
                  <a:gd name="T48" fmla="*/ 2571 w 3155"/>
                  <a:gd name="T49" fmla="*/ 152 h 1369"/>
                  <a:gd name="T50" fmla="*/ 2783 w 3155"/>
                  <a:gd name="T51" fmla="*/ 271 h 1369"/>
                  <a:gd name="T52" fmla="*/ 2981 w 3155"/>
                  <a:gd name="T53" fmla="*/ 425 h 1369"/>
                  <a:gd name="T54" fmla="*/ 3155 w 3155"/>
                  <a:gd name="T55" fmla="*/ 617 h 1369"/>
                  <a:gd name="T56" fmla="*/ 2910 w 3155"/>
                  <a:gd name="T57" fmla="*/ 872 h 1369"/>
                  <a:gd name="T58" fmla="*/ 2623 w 3155"/>
                  <a:gd name="T59" fmla="*/ 1080 h 1369"/>
                  <a:gd name="T60" fmla="*/ 2300 w 3155"/>
                  <a:gd name="T61" fmla="*/ 1236 h 1369"/>
                  <a:gd name="T62" fmla="*/ 1951 w 3155"/>
                  <a:gd name="T63" fmla="*/ 1335 h 1369"/>
                  <a:gd name="T64" fmla="*/ 1576 w 3155"/>
                  <a:gd name="T65" fmla="*/ 1369 h 1369"/>
                  <a:gd name="T66" fmla="*/ 1205 w 3155"/>
                  <a:gd name="T67" fmla="*/ 1335 h 1369"/>
                  <a:gd name="T68" fmla="*/ 855 w 3155"/>
                  <a:gd name="T69" fmla="*/ 1236 h 1369"/>
                  <a:gd name="T70" fmla="*/ 532 w 3155"/>
                  <a:gd name="T71" fmla="*/ 1080 h 1369"/>
                  <a:gd name="T72" fmla="*/ 245 w 3155"/>
                  <a:gd name="T73" fmla="*/ 872 h 1369"/>
                  <a:gd name="T74" fmla="*/ 0 w 3155"/>
                  <a:gd name="T75" fmla="*/ 617 h 1369"/>
                  <a:gd name="T76" fmla="*/ 189 w 3155"/>
                  <a:gd name="T77" fmla="*/ 412 h 1369"/>
                  <a:gd name="T78" fmla="*/ 403 w 3155"/>
                  <a:gd name="T79" fmla="*/ 252 h 1369"/>
                  <a:gd name="T80" fmla="*/ 630 w 3155"/>
                  <a:gd name="T81" fmla="*/ 130 h 1369"/>
                  <a:gd name="T82" fmla="*/ 859 w 3155"/>
                  <a:gd name="T83" fmla="*/ 43 h 1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55" h="1369">
                    <a:moveTo>
                      <a:pt x="1005" y="0"/>
                    </a:moveTo>
                    <a:lnTo>
                      <a:pt x="1001" y="40"/>
                    </a:lnTo>
                    <a:lnTo>
                      <a:pt x="1001" y="81"/>
                    </a:lnTo>
                    <a:lnTo>
                      <a:pt x="1003" y="123"/>
                    </a:lnTo>
                    <a:lnTo>
                      <a:pt x="1008" y="166"/>
                    </a:lnTo>
                    <a:lnTo>
                      <a:pt x="1012" y="208"/>
                    </a:lnTo>
                    <a:lnTo>
                      <a:pt x="1020" y="249"/>
                    </a:lnTo>
                    <a:lnTo>
                      <a:pt x="1028" y="287"/>
                    </a:lnTo>
                    <a:lnTo>
                      <a:pt x="1037" y="325"/>
                    </a:lnTo>
                    <a:lnTo>
                      <a:pt x="1047" y="359"/>
                    </a:lnTo>
                    <a:lnTo>
                      <a:pt x="1056" y="390"/>
                    </a:lnTo>
                    <a:lnTo>
                      <a:pt x="1064" y="418"/>
                    </a:lnTo>
                    <a:lnTo>
                      <a:pt x="1073" y="442"/>
                    </a:lnTo>
                    <a:lnTo>
                      <a:pt x="1080" y="462"/>
                    </a:lnTo>
                    <a:lnTo>
                      <a:pt x="1085" y="475"/>
                    </a:lnTo>
                    <a:lnTo>
                      <a:pt x="1090" y="484"/>
                    </a:lnTo>
                    <a:lnTo>
                      <a:pt x="1091" y="486"/>
                    </a:lnTo>
                    <a:lnTo>
                      <a:pt x="1112" y="446"/>
                    </a:lnTo>
                    <a:lnTo>
                      <a:pt x="1138" y="409"/>
                    </a:lnTo>
                    <a:lnTo>
                      <a:pt x="1166" y="377"/>
                    </a:lnTo>
                    <a:lnTo>
                      <a:pt x="1198" y="347"/>
                    </a:lnTo>
                    <a:lnTo>
                      <a:pt x="1232" y="322"/>
                    </a:lnTo>
                    <a:lnTo>
                      <a:pt x="1267" y="300"/>
                    </a:lnTo>
                    <a:lnTo>
                      <a:pt x="1303" y="281"/>
                    </a:lnTo>
                    <a:lnTo>
                      <a:pt x="1340" y="265"/>
                    </a:lnTo>
                    <a:lnTo>
                      <a:pt x="1377" y="251"/>
                    </a:lnTo>
                    <a:lnTo>
                      <a:pt x="1411" y="240"/>
                    </a:lnTo>
                    <a:lnTo>
                      <a:pt x="1445" y="230"/>
                    </a:lnTo>
                    <a:lnTo>
                      <a:pt x="1477" y="223"/>
                    </a:lnTo>
                    <a:lnTo>
                      <a:pt x="1505" y="218"/>
                    </a:lnTo>
                    <a:lnTo>
                      <a:pt x="1530" y="213"/>
                    </a:lnTo>
                    <a:lnTo>
                      <a:pt x="1549" y="210"/>
                    </a:lnTo>
                    <a:lnTo>
                      <a:pt x="1564" y="209"/>
                    </a:lnTo>
                    <a:lnTo>
                      <a:pt x="1574" y="208"/>
                    </a:lnTo>
                    <a:lnTo>
                      <a:pt x="1576" y="208"/>
                    </a:lnTo>
                    <a:lnTo>
                      <a:pt x="1581" y="208"/>
                    </a:lnTo>
                    <a:lnTo>
                      <a:pt x="1591" y="209"/>
                    </a:lnTo>
                    <a:lnTo>
                      <a:pt x="1606" y="210"/>
                    </a:lnTo>
                    <a:lnTo>
                      <a:pt x="1626" y="213"/>
                    </a:lnTo>
                    <a:lnTo>
                      <a:pt x="1650" y="218"/>
                    </a:lnTo>
                    <a:lnTo>
                      <a:pt x="1679" y="223"/>
                    </a:lnTo>
                    <a:lnTo>
                      <a:pt x="1709" y="230"/>
                    </a:lnTo>
                    <a:lnTo>
                      <a:pt x="1744" y="240"/>
                    </a:lnTo>
                    <a:lnTo>
                      <a:pt x="1778" y="251"/>
                    </a:lnTo>
                    <a:lnTo>
                      <a:pt x="1814" y="265"/>
                    </a:lnTo>
                    <a:lnTo>
                      <a:pt x="1851" y="281"/>
                    </a:lnTo>
                    <a:lnTo>
                      <a:pt x="1887" y="300"/>
                    </a:lnTo>
                    <a:lnTo>
                      <a:pt x="1922" y="322"/>
                    </a:lnTo>
                    <a:lnTo>
                      <a:pt x="1956" y="347"/>
                    </a:lnTo>
                    <a:lnTo>
                      <a:pt x="1988" y="377"/>
                    </a:lnTo>
                    <a:lnTo>
                      <a:pt x="2016" y="409"/>
                    </a:lnTo>
                    <a:lnTo>
                      <a:pt x="2041" y="446"/>
                    </a:lnTo>
                    <a:lnTo>
                      <a:pt x="2060" y="486"/>
                    </a:lnTo>
                    <a:lnTo>
                      <a:pt x="2063" y="484"/>
                    </a:lnTo>
                    <a:lnTo>
                      <a:pt x="2066" y="475"/>
                    </a:lnTo>
                    <a:lnTo>
                      <a:pt x="2073" y="462"/>
                    </a:lnTo>
                    <a:lnTo>
                      <a:pt x="2080" y="442"/>
                    </a:lnTo>
                    <a:lnTo>
                      <a:pt x="2087" y="418"/>
                    </a:lnTo>
                    <a:lnTo>
                      <a:pt x="2097" y="390"/>
                    </a:lnTo>
                    <a:lnTo>
                      <a:pt x="2107" y="359"/>
                    </a:lnTo>
                    <a:lnTo>
                      <a:pt x="2116" y="325"/>
                    </a:lnTo>
                    <a:lnTo>
                      <a:pt x="2126" y="287"/>
                    </a:lnTo>
                    <a:lnTo>
                      <a:pt x="2133" y="249"/>
                    </a:lnTo>
                    <a:lnTo>
                      <a:pt x="2140" y="208"/>
                    </a:lnTo>
                    <a:lnTo>
                      <a:pt x="2146" y="166"/>
                    </a:lnTo>
                    <a:lnTo>
                      <a:pt x="2150" y="123"/>
                    </a:lnTo>
                    <a:lnTo>
                      <a:pt x="2151" y="81"/>
                    </a:lnTo>
                    <a:lnTo>
                      <a:pt x="2151" y="40"/>
                    </a:lnTo>
                    <a:lnTo>
                      <a:pt x="2148" y="0"/>
                    </a:lnTo>
                    <a:lnTo>
                      <a:pt x="2215" y="18"/>
                    </a:lnTo>
                    <a:lnTo>
                      <a:pt x="2284" y="39"/>
                    </a:lnTo>
                    <a:lnTo>
                      <a:pt x="2356" y="63"/>
                    </a:lnTo>
                    <a:lnTo>
                      <a:pt x="2427" y="90"/>
                    </a:lnTo>
                    <a:lnTo>
                      <a:pt x="2500" y="119"/>
                    </a:lnTo>
                    <a:lnTo>
                      <a:pt x="2571" y="152"/>
                    </a:lnTo>
                    <a:lnTo>
                      <a:pt x="2643" y="188"/>
                    </a:lnTo>
                    <a:lnTo>
                      <a:pt x="2714" y="228"/>
                    </a:lnTo>
                    <a:lnTo>
                      <a:pt x="2783" y="271"/>
                    </a:lnTo>
                    <a:lnTo>
                      <a:pt x="2852" y="319"/>
                    </a:lnTo>
                    <a:lnTo>
                      <a:pt x="2917" y="369"/>
                    </a:lnTo>
                    <a:lnTo>
                      <a:pt x="2981" y="425"/>
                    </a:lnTo>
                    <a:lnTo>
                      <a:pt x="3043" y="485"/>
                    </a:lnTo>
                    <a:lnTo>
                      <a:pt x="3101" y="549"/>
                    </a:lnTo>
                    <a:lnTo>
                      <a:pt x="3155" y="617"/>
                    </a:lnTo>
                    <a:lnTo>
                      <a:pt x="3079" y="707"/>
                    </a:lnTo>
                    <a:lnTo>
                      <a:pt x="2996" y="792"/>
                    </a:lnTo>
                    <a:lnTo>
                      <a:pt x="2910" y="872"/>
                    </a:lnTo>
                    <a:lnTo>
                      <a:pt x="2819" y="945"/>
                    </a:lnTo>
                    <a:lnTo>
                      <a:pt x="2723" y="1016"/>
                    </a:lnTo>
                    <a:lnTo>
                      <a:pt x="2623" y="1080"/>
                    </a:lnTo>
                    <a:lnTo>
                      <a:pt x="2520" y="1138"/>
                    </a:lnTo>
                    <a:lnTo>
                      <a:pt x="2411" y="1190"/>
                    </a:lnTo>
                    <a:lnTo>
                      <a:pt x="2300" y="1236"/>
                    </a:lnTo>
                    <a:lnTo>
                      <a:pt x="2187" y="1275"/>
                    </a:lnTo>
                    <a:lnTo>
                      <a:pt x="2070" y="1309"/>
                    </a:lnTo>
                    <a:lnTo>
                      <a:pt x="1951" y="1335"/>
                    </a:lnTo>
                    <a:lnTo>
                      <a:pt x="1829" y="1354"/>
                    </a:lnTo>
                    <a:lnTo>
                      <a:pt x="1704" y="1365"/>
                    </a:lnTo>
                    <a:lnTo>
                      <a:pt x="1576" y="1369"/>
                    </a:lnTo>
                    <a:lnTo>
                      <a:pt x="1451" y="1365"/>
                    </a:lnTo>
                    <a:lnTo>
                      <a:pt x="1326" y="1354"/>
                    </a:lnTo>
                    <a:lnTo>
                      <a:pt x="1205" y="1335"/>
                    </a:lnTo>
                    <a:lnTo>
                      <a:pt x="1085" y="1309"/>
                    </a:lnTo>
                    <a:lnTo>
                      <a:pt x="968" y="1275"/>
                    </a:lnTo>
                    <a:lnTo>
                      <a:pt x="855" y="1236"/>
                    </a:lnTo>
                    <a:lnTo>
                      <a:pt x="744" y="1190"/>
                    </a:lnTo>
                    <a:lnTo>
                      <a:pt x="636" y="1138"/>
                    </a:lnTo>
                    <a:lnTo>
                      <a:pt x="532" y="1080"/>
                    </a:lnTo>
                    <a:lnTo>
                      <a:pt x="433" y="1016"/>
                    </a:lnTo>
                    <a:lnTo>
                      <a:pt x="336" y="945"/>
                    </a:lnTo>
                    <a:lnTo>
                      <a:pt x="245" y="872"/>
                    </a:lnTo>
                    <a:lnTo>
                      <a:pt x="159" y="792"/>
                    </a:lnTo>
                    <a:lnTo>
                      <a:pt x="77" y="707"/>
                    </a:lnTo>
                    <a:lnTo>
                      <a:pt x="0" y="617"/>
                    </a:lnTo>
                    <a:lnTo>
                      <a:pt x="59" y="544"/>
                    </a:lnTo>
                    <a:lnTo>
                      <a:pt x="122" y="475"/>
                    </a:lnTo>
                    <a:lnTo>
                      <a:pt x="189" y="412"/>
                    </a:lnTo>
                    <a:lnTo>
                      <a:pt x="258" y="354"/>
                    </a:lnTo>
                    <a:lnTo>
                      <a:pt x="329" y="301"/>
                    </a:lnTo>
                    <a:lnTo>
                      <a:pt x="403" y="252"/>
                    </a:lnTo>
                    <a:lnTo>
                      <a:pt x="477" y="208"/>
                    </a:lnTo>
                    <a:lnTo>
                      <a:pt x="553" y="167"/>
                    </a:lnTo>
                    <a:lnTo>
                      <a:pt x="630" y="130"/>
                    </a:lnTo>
                    <a:lnTo>
                      <a:pt x="707" y="98"/>
                    </a:lnTo>
                    <a:lnTo>
                      <a:pt x="783" y="69"/>
                    </a:lnTo>
                    <a:lnTo>
                      <a:pt x="859" y="43"/>
                    </a:lnTo>
                    <a:lnTo>
                      <a:pt x="932" y="20"/>
                    </a:lnTo>
                    <a:lnTo>
                      <a:pt x="10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1" name="Freeform 41"/>
              <p:cNvSpPr>
                <a:spLocks/>
              </p:cNvSpPr>
              <p:nvPr/>
            </p:nvSpPr>
            <p:spPr bwMode="auto">
              <a:xfrm>
                <a:off x="546100" y="-2027238"/>
                <a:ext cx="1454150" cy="838200"/>
              </a:xfrm>
              <a:custGeom>
                <a:avLst/>
                <a:gdLst>
                  <a:gd name="T0" fmla="*/ 19 w 916"/>
                  <a:gd name="T1" fmla="*/ 0 h 528"/>
                  <a:gd name="T2" fmla="*/ 62 w 916"/>
                  <a:gd name="T3" fmla="*/ 50 h 528"/>
                  <a:gd name="T4" fmla="*/ 107 w 916"/>
                  <a:gd name="T5" fmla="*/ 97 h 528"/>
                  <a:gd name="T6" fmla="*/ 152 w 916"/>
                  <a:gd name="T7" fmla="*/ 138 h 528"/>
                  <a:gd name="T8" fmla="*/ 200 w 916"/>
                  <a:gd name="T9" fmla="*/ 175 h 528"/>
                  <a:gd name="T10" fmla="*/ 248 w 916"/>
                  <a:gd name="T11" fmla="*/ 206 h 528"/>
                  <a:gd name="T12" fmla="*/ 299 w 916"/>
                  <a:gd name="T13" fmla="*/ 230 h 528"/>
                  <a:gd name="T14" fmla="*/ 350 w 916"/>
                  <a:gd name="T15" fmla="*/ 247 h 528"/>
                  <a:gd name="T16" fmla="*/ 403 w 916"/>
                  <a:gd name="T17" fmla="*/ 259 h 528"/>
                  <a:gd name="T18" fmla="*/ 456 w 916"/>
                  <a:gd name="T19" fmla="*/ 263 h 528"/>
                  <a:gd name="T20" fmla="*/ 512 w 916"/>
                  <a:gd name="T21" fmla="*/ 259 h 528"/>
                  <a:gd name="T22" fmla="*/ 565 w 916"/>
                  <a:gd name="T23" fmla="*/ 247 h 528"/>
                  <a:gd name="T24" fmla="*/ 616 w 916"/>
                  <a:gd name="T25" fmla="*/ 230 h 528"/>
                  <a:gd name="T26" fmla="*/ 667 w 916"/>
                  <a:gd name="T27" fmla="*/ 206 h 528"/>
                  <a:gd name="T28" fmla="*/ 715 w 916"/>
                  <a:gd name="T29" fmla="*/ 175 h 528"/>
                  <a:gd name="T30" fmla="*/ 763 w 916"/>
                  <a:gd name="T31" fmla="*/ 138 h 528"/>
                  <a:gd name="T32" fmla="*/ 809 w 916"/>
                  <a:gd name="T33" fmla="*/ 97 h 528"/>
                  <a:gd name="T34" fmla="*/ 853 w 916"/>
                  <a:gd name="T35" fmla="*/ 50 h 528"/>
                  <a:gd name="T36" fmla="*/ 896 w 916"/>
                  <a:gd name="T37" fmla="*/ 0 h 528"/>
                  <a:gd name="T38" fmla="*/ 905 w 916"/>
                  <a:gd name="T39" fmla="*/ 42 h 528"/>
                  <a:gd name="T40" fmla="*/ 912 w 916"/>
                  <a:gd name="T41" fmla="*/ 84 h 528"/>
                  <a:gd name="T42" fmla="*/ 916 w 916"/>
                  <a:gd name="T43" fmla="*/ 126 h 528"/>
                  <a:gd name="T44" fmla="*/ 916 w 916"/>
                  <a:gd name="T45" fmla="*/ 128 h 528"/>
                  <a:gd name="T46" fmla="*/ 914 w 916"/>
                  <a:gd name="T47" fmla="*/ 135 h 528"/>
                  <a:gd name="T48" fmla="*/ 914 w 916"/>
                  <a:gd name="T49" fmla="*/ 147 h 528"/>
                  <a:gd name="T50" fmla="*/ 912 w 916"/>
                  <a:gd name="T51" fmla="*/ 160 h 528"/>
                  <a:gd name="T52" fmla="*/ 907 w 916"/>
                  <a:gd name="T53" fmla="*/ 177 h 528"/>
                  <a:gd name="T54" fmla="*/ 901 w 916"/>
                  <a:gd name="T55" fmla="*/ 196 h 528"/>
                  <a:gd name="T56" fmla="*/ 891 w 916"/>
                  <a:gd name="T57" fmla="*/ 218 h 528"/>
                  <a:gd name="T58" fmla="*/ 879 w 916"/>
                  <a:gd name="T59" fmla="*/ 241 h 528"/>
                  <a:gd name="T60" fmla="*/ 863 w 916"/>
                  <a:gd name="T61" fmla="*/ 266 h 528"/>
                  <a:gd name="T62" fmla="*/ 842 w 916"/>
                  <a:gd name="T63" fmla="*/ 293 h 528"/>
                  <a:gd name="T64" fmla="*/ 817 w 916"/>
                  <a:gd name="T65" fmla="*/ 320 h 528"/>
                  <a:gd name="T66" fmla="*/ 786 w 916"/>
                  <a:gd name="T67" fmla="*/ 350 h 528"/>
                  <a:gd name="T68" fmla="*/ 751 w 916"/>
                  <a:gd name="T69" fmla="*/ 379 h 528"/>
                  <a:gd name="T70" fmla="*/ 709 w 916"/>
                  <a:gd name="T71" fmla="*/ 409 h 528"/>
                  <a:gd name="T72" fmla="*/ 660 w 916"/>
                  <a:gd name="T73" fmla="*/ 440 h 528"/>
                  <a:gd name="T74" fmla="*/ 603 w 916"/>
                  <a:gd name="T75" fmla="*/ 469 h 528"/>
                  <a:gd name="T76" fmla="*/ 539 w 916"/>
                  <a:gd name="T77" fmla="*/ 499 h 528"/>
                  <a:gd name="T78" fmla="*/ 467 w 916"/>
                  <a:gd name="T79" fmla="*/ 528 h 528"/>
                  <a:gd name="T80" fmla="*/ 448 w 916"/>
                  <a:gd name="T81" fmla="*/ 528 h 528"/>
                  <a:gd name="T82" fmla="*/ 376 w 916"/>
                  <a:gd name="T83" fmla="*/ 499 h 528"/>
                  <a:gd name="T84" fmla="*/ 312 w 916"/>
                  <a:gd name="T85" fmla="*/ 469 h 528"/>
                  <a:gd name="T86" fmla="*/ 256 w 916"/>
                  <a:gd name="T87" fmla="*/ 440 h 528"/>
                  <a:gd name="T88" fmla="*/ 206 w 916"/>
                  <a:gd name="T89" fmla="*/ 409 h 528"/>
                  <a:gd name="T90" fmla="*/ 165 w 916"/>
                  <a:gd name="T91" fmla="*/ 379 h 528"/>
                  <a:gd name="T92" fmla="*/ 129 w 916"/>
                  <a:gd name="T93" fmla="*/ 350 h 528"/>
                  <a:gd name="T94" fmla="*/ 98 w 916"/>
                  <a:gd name="T95" fmla="*/ 320 h 528"/>
                  <a:gd name="T96" fmla="*/ 73 w 916"/>
                  <a:gd name="T97" fmla="*/ 293 h 528"/>
                  <a:gd name="T98" fmla="*/ 53 w 916"/>
                  <a:gd name="T99" fmla="*/ 266 h 528"/>
                  <a:gd name="T100" fmla="*/ 37 w 916"/>
                  <a:gd name="T101" fmla="*/ 241 h 528"/>
                  <a:gd name="T102" fmla="*/ 24 w 916"/>
                  <a:gd name="T103" fmla="*/ 218 h 528"/>
                  <a:gd name="T104" fmla="*/ 14 w 916"/>
                  <a:gd name="T105" fmla="*/ 196 h 528"/>
                  <a:gd name="T106" fmla="*/ 8 w 916"/>
                  <a:gd name="T107" fmla="*/ 177 h 528"/>
                  <a:gd name="T108" fmla="*/ 3 w 916"/>
                  <a:gd name="T109" fmla="*/ 160 h 528"/>
                  <a:gd name="T110" fmla="*/ 1 w 916"/>
                  <a:gd name="T111" fmla="*/ 147 h 528"/>
                  <a:gd name="T112" fmla="*/ 1 w 916"/>
                  <a:gd name="T113" fmla="*/ 135 h 528"/>
                  <a:gd name="T114" fmla="*/ 0 w 916"/>
                  <a:gd name="T115" fmla="*/ 128 h 528"/>
                  <a:gd name="T116" fmla="*/ 0 w 916"/>
                  <a:gd name="T117" fmla="*/ 126 h 528"/>
                  <a:gd name="T118" fmla="*/ 3 w 916"/>
                  <a:gd name="T119" fmla="*/ 84 h 528"/>
                  <a:gd name="T120" fmla="*/ 11 w 916"/>
                  <a:gd name="T121" fmla="*/ 42 h 528"/>
                  <a:gd name="T122" fmla="*/ 19 w 916"/>
                  <a:gd name="T123" fmla="*/ 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16" h="528">
                    <a:moveTo>
                      <a:pt x="19" y="0"/>
                    </a:moveTo>
                    <a:lnTo>
                      <a:pt x="62" y="50"/>
                    </a:lnTo>
                    <a:lnTo>
                      <a:pt x="107" y="97"/>
                    </a:lnTo>
                    <a:lnTo>
                      <a:pt x="152" y="138"/>
                    </a:lnTo>
                    <a:lnTo>
                      <a:pt x="200" y="175"/>
                    </a:lnTo>
                    <a:lnTo>
                      <a:pt x="248" y="206"/>
                    </a:lnTo>
                    <a:lnTo>
                      <a:pt x="299" y="230"/>
                    </a:lnTo>
                    <a:lnTo>
                      <a:pt x="350" y="247"/>
                    </a:lnTo>
                    <a:lnTo>
                      <a:pt x="403" y="259"/>
                    </a:lnTo>
                    <a:lnTo>
                      <a:pt x="456" y="263"/>
                    </a:lnTo>
                    <a:lnTo>
                      <a:pt x="512" y="259"/>
                    </a:lnTo>
                    <a:lnTo>
                      <a:pt x="565" y="247"/>
                    </a:lnTo>
                    <a:lnTo>
                      <a:pt x="616" y="230"/>
                    </a:lnTo>
                    <a:lnTo>
                      <a:pt x="667" y="206"/>
                    </a:lnTo>
                    <a:lnTo>
                      <a:pt x="715" y="175"/>
                    </a:lnTo>
                    <a:lnTo>
                      <a:pt x="763" y="138"/>
                    </a:lnTo>
                    <a:lnTo>
                      <a:pt x="809" y="97"/>
                    </a:lnTo>
                    <a:lnTo>
                      <a:pt x="853" y="50"/>
                    </a:lnTo>
                    <a:lnTo>
                      <a:pt x="896" y="0"/>
                    </a:lnTo>
                    <a:lnTo>
                      <a:pt x="905" y="42"/>
                    </a:lnTo>
                    <a:lnTo>
                      <a:pt x="912" y="84"/>
                    </a:lnTo>
                    <a:lnTo>
                      <a:pt x="916" y="126"/>
                    </a:lnTo>
                    <a:lnTo>
                      <a:pt x="916" y="128"/>
                    </a:lnTo>
                    <a:lnTo>
                      <a:pt x="914" y="135"/>
                    </a:lnTo>
                    <a:lnTo>
                      <a:pt x="914" y="147"/>
                    </a:lnTo>
                    <a:lnTo>
                      <a:pt x="912" y="160"/>
                    </a:lnTo>
                    <a:lnTo>
                      <a:pt x="907" y="177"/>
                    </a:lnTo>
                    <a:lnTo>
                      <a:pt x="901" y="196"/>
                    </a:lnTo>
                    <a:lnTo>
                      <a:pt x="891" y="218"/>
                    </a:lnTo>
                    <a:lnTo>
                      <a:pt x="879" y="241"/>
                    </a:lnTo>
                    <a:lnTo>
                      <a:pt x="863" y="266"/>
                    </a:lnTo>
                    <a:lnTo>
                      <a:pt x="842" y="293"/>
                    </a:lnTo>
                    <a:lnTo>
                      <a:pt x="817" y="320"/>
                    </a:lnTo>
                    <a:lnTo>
                      <a:pt x="786" y="350"/>
                    </a:lnTo>
                    <a:lnTo>
                      <a:pt x="751" y="379"/>
                    </a:lnTo>
                    <a:lnTo>
                      <a:pt x="709" y="409"/>
                    </a:lnTo>
                    <a:lnTo>
                      <a:pt x="660" y="440"/>
                    </a:lnTo>
                    <a:lnTo>
                      <a:pt x="603" y="469"/>
                    </a:lnTo>
                    <a:lnTo>
                      <a:pt x="539" y="499"/>
                    </a:lnTo>
                    <a:lnTo>
                      <a:pt x="467" y="528"/>
                    </a:lnTo>
                    <a:lnTo>
                      <a:pt x="448" y="528"/>
                    </a:lnTo>
                    <a:lnTo>
                      <a:pt x="376" y="499"/>
                    </a:lnTo>
                    <a:lnTo>
                      <a:pt x="312" y="469"/>
                    </a:lnTo>
                    <a:lnTo>
                      <a:pt x="256" y="440"/>
                    </a:lnTo>
                    <a:lnTo>
                      <a:pt x="206" y="409"/>
                    </a:lnTo>
                    <a:lnTo>
                      <a:pt x="165" y="379"/>
                    </a:lnTo>
                    <a:lnTo>
                      <a:pt x="129" y="350"/>
                    </a:lnTo>
                    <a:lnTo>
                      <a:pt x="98" y="320"/>
                    </a:lnTo>
                    <a:lnTo>
                      <a:pt x="73" y="293"/>
                    </a:lnTo>
                    <a:lnTo>
                      <a:pt x="53" y="266"/>
                    </a:lnTo>
                    <a:lnTo>
                      <a:pt x="37" y="241"/>
                    </a:lnTo>
                    <a:lnTo>
                      <a:pt x="24" y="218"/>
                    </a:lnTo>
                    <a:lnTo>
                      <a:pt x="14" y="196"/>
                    </a:lnTo>
                    <a:lnTo>
                      <a:pt x="8" y="177"/>
                    </a:lnTo>
                    <a:lnTo>
                      <a:pt x="3" y="160"/>
                    </a:lnTo>
                    <a:lnTo>
                      <a:pt x="1" y="147"/>
                    </a:lnTo>
                    <a:lnTo>
                      <a:pt x="1" y="135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3" y="84"/>
                    </a:lnTo>
                    <a:lnTo>
                      <a:pt x="11" y="42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2" name="Freeform 42"/>
              <p:cNvSpPr>
                <a:spLocks/>
              </p:cNvSpPr>
              <p:nvPr/>
            </p:nvSpPr>
            <p:spPr bwMode="auto">
              <a:xfrm>
                <a:off x="1270000" y="-1827213"/>
                <a:ext cx="915988" cy="1090613"/>
              </a:xfrm>
              <a:custGeom>
                <a:avLst/>
                <a:gdLst>
                  <a:gd name="T0" fmla="*/ 460 w 577"/>
                  <a:gd name="T1" fmla="*/ 0 h 687"/>
                  <a:gd name="T2" fmla="*/ 488 w 577"/>
                  <a:gd name="T3" fmla="*/ 18 h 687"/>
                  <a:gd name="T4" fmla="*/ 511 w 577"/>
                  <a:gd name="T5" fmla="*/ 41 h 687"/>
                  <a:gd name="T6" fmla="*/ 531 w 577"/>
                  <a:gd name="T7" fmla="*/ 69 h 687"/>
                  <a:gd name="T8" fmla="*/ 547 w 577"/>
                  <a:gd name="T9" fmla="*/ 98 h 687"/>
                  <a:gd name="T10" fmla="*/ 559 w 577"/>
                  <a:gd name="T11" fmla="*/ 131 h 687"/>
                  <a:gd name="T12" fmla="*/ 568 w 577"/>
                  <a:gd name="T13" fmla="*/ 166 h 687"/>
                  <a:gd name="T14" fmla="*/ 574 w 577"/>
                  <a:gd name="T15" fmla="*/ 203 h 687"/>
                  <a:gd name="T16" fmla="*/ 577 w 577"/>
                  <a:gd name="T17" fmla="*/ 240 h 687"/>
                  <a:gd name="T18" fmla="*/ 577 w 577"/>
                  <a:gd name="T19" fmla="*/ 279 h 687"/>
                  <a:gd name="T20" fmla="*/ 575 w 577"/>
                  <a:gd name="T21" fmla="*/ 318 h 687"/>
                  <a:gd name="T22" fmla="*/ 572 w 577"/>
                  <a:gd name="T23" fmla="*/ 358 h 687"/>
                  <a:gd name="T24" fmla="*/ 567 w 577"/>
                  <a:gd name="T25" fmla="*/ 397 h 687"/>
                  <a:gd name="T26" fmla="*/ 561 w 577"/>
                  <a:gd name="T27" fmla="*/ 435 h 687"/>
                  <a:gd name="T28" fmla="*/ 553 w 577"/>
                  <a:gd name="T29" fmla="*/ 472 h 687"/>
                  <a:gd name="T30" fmla="*/ 545 w 577"/>
                  <a:gd name="T31" fmla="*/ 508 h 687"/>
                  <a:gd name="T32" fmla="*/ 536 w 577"/>
                  <a:gd name="T33" fmla="*/ 543 h 687"/>
                  <a:gd name="T34" fmla="*/ 527 w 577"/>
                  <a:gd name="T35" fmla="*/ 573 h 687"/>
                  <a:gd name="T36" fmla="*/ 518 w 577"/>
                  <a:gd name="T37" fmla="*/ 602 h 687"/>
                  <a:gd name="T38" fmla="*/ 510 w 577"/>
                  <a:gd name="T39" fmla="*/ 626 h 687"/>
                  <a:gd name="T40" fmla="*/ 503 w 577"/>
                  <a:gd name="T41" fmla="*/ 648 h 687"/>
                  <a:gd name="T42" fmla="*/ 495 w 577"/>
                  <a:gd name="T43" fmla="*/ 666 h 687"/>
                  <a:gd name="T44" fmla="*/ 490 w 577"/>
                  <a:gd name="T45" fmla="*/ 678 h 687"/>
                  <a:gd name="T46" fmla="*/ 487 w 577"/>
                  <a:gd name="T47" fmla="*/ 685 h 687"/>
                  <a:gd name="T48" fmla="*/ 484 w 577"/>
                  <a:gd name="T49" fmla="*/ 687 h 687"/>
                  <a:gd name="T50" fmla="*/ 465 w 577"/>
                  <a:gd name="T51" fmla="*/ 647 h 687"/>
                  <a:gd name="T52" fmla="*/ 440 w 577"/>
                  <a:gd name="T53" fmla="*/ 610 h 687"/>
                  <a:gd name="T54" fmla="*/ 412 w 577"/>
                  <a:gd name="T55" fmla="*/ 578 h 687"/>
                  <a:gd name="T56" fmla="*/ 380 w 577"/>
                  <a:gd name="T57" fmla="*/ 549 h 687"/>
                  <a:gd name="T58" fmla="*/ 346 w 577"/>
                  <a:gd name="T59" fmla="*/ 523 h 687"/>
                  <a:gd name="T60" fmla="*/ 311 w 577"/>
                  <a:gd name="T61" fmla="*/ 501 h 687"/>
                  <a:gd name="T62" fmla="*/ 275 w 577"/>
                  <a:gd name="T63" fmla="*/ 482 h 687"/>
                  <a:gd name="T64" fmla="*/ 238 w 577"/>
                  <a:gd name="T65" fmla="*/ 466 h 687"/>
                  <a:gd name="T66" fmla="*/ 202 w 577"/>
                  <a:gd name="T67" fmla="*/ 451 h 687"/>
                  <a:gd name="T68" fmla="*/ 168 w 577"/>
                  <a:gd name="T69" fmla="*/ 440 h 687"/>
                  <a:gd name="T70" fmla="*/ 133 w 577"/>
                  <a:gd name="T71" fmla="*/ 432 h 687"/>
                  <a:gd name="T72" fmla="*/ 103 w 577"/>
                  <a:gd name="T73" fmla="*/ 424 h 687"/>
                  <a:gd name="T74" fmla="*/ 74 w 577"/>
                  <a:gd name="T75" fmla="*/ 418 h 687"/>
                  <a:gd name="T76" fmla="*/ 50 w 577"/>
                  <a:gd name="T77" fmla="*/ 415 h 687"/>
                  <a:gd name="T78" fmla="*/ 30 w 577"/>
                  <a:gd name="T79" fmla="*/ 412 h 687"/>
                  <a:gd name="T80" fmla="*/ 15 w 577"/>
                  <a:gd name="T81" fmla="*/ 410 h 687"/>
                  <a:gd name="T82" fmla="*/ 5 w 577"/>
                  <a:gd name="T83" fmla="*/ 410 h 687"/>
                  <a:gd name="T84" fmla="*/ 0 w 577"/>
                  <a:gd name="T85" fmla="*/ 408 h 687"/>
                  <a:gd name="T86" fmla="*/ 73 w 577"/>
                  <a:gd name="T87" fmla="*/ 380 h 687"/>
                  <a:gd name="T88" fmla="*/ 137 w 577"/>
                  <a:gd name="T89" fmla="*/ 350 h 687"/>
                  <a:gd name="T90" fmla="*/ 194 w 577"/>
                  <a:gd name="T91" fmla="*/ 321 h 687"/>
                  <a:gd name="T92" fmla="*/ 243 w 577"/>
                  <a:gd name="T93" fmla="*/ 291 h 687"/>
                  <a:gd name="T94" fmla="*/ 286 w 577"/>
                  <a:gd name="T95" fmla="*/ 262 h 687"/>
                  <a:gd name="T96" fmla="*/ 323 w 577"/>
                  <a:gd name="T97" fmla="*/ 232 h 687"/>
                  <a:gd name="T98" fmla="*/ 354 w 577"/>
                  <a:gd name="T99" fmla="*/ 204 h 687"/>
                  <a:gd name="T100" fmla="*/ 380 w 577"/>
                  <a:gd name="T101" fmla="*/ 177 h 687"/>
                  <a:gd name="T102" fmla="*/ 402 w 577"/>
                  <a:gd name="T103" fmla="*/ 150 h 687"/>
                  <a:gd name="T104" fmla="*/ 419 w 577"/>
                  <a:gd name="T105" fmla="*/ 124 h 687"/>
                  <a:gd name="T106" fmla="*/ 431 w 577"/>
                  <a:gd name="T107" fmla="*/ 101 h 687"/>
                  <a:gd name="T108" fmla="*/ 442 w 577"/>
                  <a:gd name="T109" fmla="*/ 80 h 687"/>
                  <a:gd name="T110" fmla="*/ 450 w 577"/>
                  <a:gd name="T111" fmla="*/ 60 h 687"/>
                  <a:gd name="T112" fmla="*/ 455 w 577"/>
                  <a:gd name="T113" fmla="*/ 41 h 687"/>
                  <a:gd name="T114" fmla="*/ 457 w 577"/>
                  <a:gd name="T115" fmla="*/ 28 h 687"/>
                  <a:gd name="T116" fmla="*/ 458 w 577"/>
                  <a:gd name="T117" fmla="*/ 16 h 687"/>
                  <a:gd name="T118" fmla="*/ 460 w 577"/>
                  <a:gd name="T119" fmla="*/ 7 h 687"/>
                  <a:gd name="T120" fmla="*/ 460 w 577"/>
                  <a:gd name="T121" fmla="*/ 1 h 687"/>
                  <a:gd name="T122" fmla="*/ 460 w 577"/>
                  <a:gd name="T123" fmla="*/ 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7" h="687">
                    <a:moveTo>
                      <a:pt x="460" y="0"/>
                    </a:moveTo>
                    <a:lnTo>
                      <a:pt x="488" y="18"/>
                    </a:lnTo>
                    <a:lnTo>
                      <a:pt x="511" y="41"/>
                    </a:lnTo>
                    <a:lnTo>
                      <a:pt x="531" y="69"/>
                    </a:lnTo>
                    <a:lnTo>
                      <a:pt x="547" y="98"/>
                    </a:lnTo>
                    <a:lnTo>
                      <a:pt x="559" y="131"/>
                    </a:lnTo>
                    <a:lnTo>
                      <a:pt x="568" y="166"/>
                    </a:lnTo>
                    <a:lnTo>
                      <a:pt x="574" y="203"/>
                    </a:lnTo>
                    <a:lnTo>
                      <a:pt x="577" y="240"/>
                    </a:lnTo>
                    <a:lnTo>
                      <a:pt x="577" y="279"/>
                    </a:lnTo>
                    <a:lnTo>
                      <a:pt x="575" y="318"/>
                    </a:lnTo>
                    <a:lnTo>
                      <a:pt x="572" y="358"/>
                    </a:lnTo>
                    <a:lnTo>
                      <a:pt x="567" y="397"/>
                    </a:lnTo>
                    <a:lnTo>
                      <a:pt x="561" y="435"/>
                    </a:lnTo>
                    <a:lnTo>
                      <a:pt x="553" y="472"/>
                    </a:lnTo>
                    <a:lnTo>
                      <a:pt x="545" y="508"/>
                    </a:lnTo>
                    <a:lnTo>
                      <a:pt x="536" y="543"/>
                    </a:lnTo>
                    <a:lnTo>
                      <a:pt x="527" y="573"/>
                    </a:lnTo>
                    <a:lnTo>
                      <a:pt x="518" y="602"/>
                    </a:lnTo>
                    <a:lnTo>
                      <a:pt x="510" y="626"/>
                    </a:lnTo>
                    <a:lnTo>
                      <a:pt x="503" y="648"/>
                    </a:lnTo>
                    <a:lnTo>
                      <a:pt x="495" y="666"/>
                    </a:lnTo>
                    <a:lnTo>
                      <a:pt x="490" y="678"/>
                    </a:lnTo>
                    <a:lnTo>
                      <a:pt x="487" y="685"/>
                    </a:lnTo>
                    <a:lnTo>
                      <a:pt x="484" y="687"/>
                    </a:lnTo>
                    <a:lnTo>
                      <a:pt x="465" y="647"/>
                    </a:lnTo>
                    <a:lnTo>
                      <a:pt x="440" y="610"/>
                    </a:lnTo>
                    <a:lnTo>
                      <a:pt x="412" y="578"/>
                    </a:lnTo>
                    <a:lnTo>
                      <a:pt x="380" y="549"/>
                    </a:lnTo>
                    <a:lnTo>
                      <a:pt x="346" y="523"/>
                    </a:lnTo>
                    <a:lnTo>
                      <a:pt x="311" y="501"/>
                    </a:lnTo>
                    <a:lnTo>
                      <a:pt x="275" y="482"/>
                    </a:lnTo>
                    <a:lnTo>
                      <a:pt x="238" y="466"/>
                    </a:lnTo>
                    <a:lnTo>
                      <a:pt x="202" y="451"/>
                    </a:lnTo>
                    <a:lnTo>
                      <a:pt x="168" y="440"/>
                    </a:lnTo>
                    <a:lnTo>
                      <a:pt x="133" y="432"/>
                    </a:lnTo>
                    <a:lnTo>
                      <a:pt x="103" y="424"/>
                    </a:lnTo>
                    <a:lnTo>
                      <a:pt x="74" y="418"/>
                    </a:lnTo>
                    <a:lnTo>
                      <a:pt x="50" y="415"/>
                    </a:lnTo>
                    <a:lnTo>
                      <a:pt x="30" y="412"/>
                    </a:lnTo>
                    <a:lnTo>
                      <a:pt x="15" y="410"/>
                    </a:lnTo>
                    <a:lnTo>
                      <a:pt x="5" y="410"/>
                    </a:lnTo>
                    <a:lnTo>
                      <a:pt x="0" y="408"/>
                    </a:lnTo>
                    <a:lnTo>
                      <a:pt x="73" y="380"/>
                    </a:lnTo>
                    <a:lnTo>
                      <a:pt x="137" y="350"/>
                    </a:lnTo>
                    <a:lnTo>
                      <a:pt x="194" y="321"/>
                    </a:lnTo>
                    <a:lnTo>
                      <a:pt x="243" y="291"/>
                    </a:lnTo>
                    <a:lnTo>
                      <a:pt x="286" y="262"/>
                    </a:lnTo>
                    <a:lnTo>
                      <a:pt x="323" y="232"/>
                    </a:lnTo>
                    <a:lnTo>
                      <a:pt x="354" y="204"/>
                    </a:lnTo>
                    <a:lnTo>
                      <a:pt x="380" y="177"/>
                    </a:lnTo>
                    <a:lnTo>
                      <a:pt x="402" y="150"/>
                    </a:lnTo>
                    <a:lnTo>
                      <a:pt x="419" y="124"/>
                    </a:lnTo>
                    <a:lnTo>
                      <a:pt x="431" y="101"/>
                    </a:lnTo>
                    <a:lnTo>
                      <a:pt x="442" y="80"/>
                    </a:lnTo>
                    <a:lnTo>
                      <a:pt x="450" y="60"/>
                    </a:lnTo>
                    <a:lnTo>
                      <a:pt x="455" y="41"/>
                    </a:lnTo>
                    <a:lnTo>
                      <a:pt x="457" y="28"/>
                    </a:lnTo>
                    <a:lnTo>
                      <a:pt x="458" y="16"/>
                    </a:lnTo>
                    <a:lnTo>
                      <a:pt x="460" y="7"/>
                    </a:lnTo>
                    <a:lnTo>
                      <a:pt x="460" y="1"/>
                    </a:lnTo>
                    <a:lnTo>
                      <a:pt x="46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3" name="Freeform 43"/>
              <p:cNvSpPr>
                <a:spLocks/>
              </p:cNvSpPr>
              <p:nvPr/>
            </p:nvSpPr>
            <p:spPr bwMode="auto">
              <a:xfrm>
                <a:off x="360363" y="-1827213"/>
                <a:ext cx="909638" cy="1085850"/>
              </a:xfrm>
              <a:custGeom>
                <a:avLst/>
                <a:gdLst>
                  <a:gd name="T0" fmla="*/ 117 w 573"/>
                  <a:gd name="T1" fmla="*/ 0 h 684"/>
                  <a:gd name="T2" fmla="*/ 117 w 573"/>
                  <a:gd name="T3" fmla="*/ 1 h 684"/>
                  <a:gd name="T4" fmla="*/ 117 w 573"/>
                  <a:gd name="T5" fmla="*/ 7 h 684"/>
                  <a:gd name="T6" fmla="*/ 118 w 573"/>
                  <a:gd name="T7" fmla="*/ 16 h 684"/>
                  <a:gd name="T8" fmla="*/ 119 w 573"/>
                  <a:gd name="T9" fmla="*/ 27 h 684"/>
                  <a:gd name="T10" fmla="*/ 122 w 573"/>
                  <a:gd name="T11" fmla="*/ 41 h 684"/>
                  <a:gd name="T12" fmla="*/ 126 w 573"/>
                  <a:gd name="T13" fmla="*/ 59 h 684"/>
                  <a:gd name="T14" fmla="*/ 134 w 573"/>
                  <a:gd name="T15" fmla="*/ 78 h 684"/>
                  <a:gd name="T16" fmla="*/ 145 w 573"/>
                  <a:gd name="T17" fmla="*/ 101 h 684"/>
                  <a:gd name="T18" fmla="*/ 157 w 573"/>
                  <a:gd name="T19" fmla="*/ 124 h 684"/>
                  <a:gd name="T20" fmla="*/ 174 w 573"/>
                  <a:gd name="T21" fmla="*/ 150 h 684"/>
                  <a:gd name="T22" fmla="*/ 197 w 573"/>
                  <a:gd name="T23" fmla="*/ 176 h 684"/>
                  <a:gd name="T24" fmla="*/ 222 w 573"/>
                  <a:gd name="T25" fmla="*/ 203 h 684"/>
                  <a:gd name="T26" fmla="*/ 253 w 573"/>
                  <a:gd name="T27" fmla="*/ 231 h 684"/>
                  <a:gd name="T28" fmla="*/ 290 w 573"/>
                  <a:gd name="T29" fmla="*/ 261 h 684"/>
                  <a:gd name="T30" fmla="*/ 333 w 573"/>
                  <a:gd name="T31" fmla="*/ 290 h 684"/>
                  <a:gd name="T32" fmla="*/ 383 w 573"/>
                  <a:gd name="T33" fmla="*/ 320 h 684"/>
                  <a:gd name="T34" fmla="*/ 439 w 573"/>
                  <a:gd name="T35" fmla="*/ 348 h 684"/>
                  <a:gd name="T36" fmla="*/ 503 w 573"/>
                  <a:gd name="T37" fmla="*/ 378 h 684"/>
                  <a:gd name="T38" fmla="*/ 573 w 573"/>
                  <a:gd name="T39" fmla="*/ 406 h 684"/>
                  <a:gd name="T40" fmla="*/ 571 w 573"/>
                  <a:gd name="T41" fmla="*/ 406 h 684"/>
                  <a:gd name="T42" fmla="*/ 562 w 573"/>
                  <a:gd name="T43" fmla="*/ 407 h 684"/>
                  <a:gd name="T44" fmla="*/ 546 w 573"/>
                  <a:gd name="T45" fmla="*/ 408 h 684"/>
                  <a:gd name="T46" fmla="*/ 527 w 573"/>
                  <a:gd name="T47" fmla="*/ 411 h 684"/>
                  <a:gd name="T48" fmla="*/ 502 w 573"/>
                  <a:gd name="T49" fmla="*/ 416 h 684"/>
                  <a:gd name="T50" fmla="*/ 474 w 573"/>
                  <a:gd name="T51" fmla="*/ 421 h 684"/>
                  <a:gd name="T52" fmla="*/ 443 w 573"/>
                  <a:gd name="T53" fmla="*/ 428 h 684"/>
                  <a:gd name="T54" fmla="*/ 410 w 573"/>
                  <a:gd name="T55" fmla="*/ 438 h 684"/>
                  <a:gd name="T56" fmla="*/ 375 w 573"/>
                  <a:gd name="T57" fmla="*/ 449 h 684"/>
                  <a:gd name="T58" fmla="*/ 339 w 573"/>
                  <a:gd name="T59" fmla="*/ 463 h 684"/>
                  <a:gd name="T60" fmla="*/ 303 w 573"/>
                  <a:gd name="T61" fmla="*/ 479 h 684"/>
                  <a:gd name="T62" fmla="*/ 267 w 573"/>
                  <a:gd name="T63" fmla="*/ 498 h 684"/>
                  <a:gd name="T64" fmla="*/ 231 w 573"/>
                  <a:gd name="T65" fmla="*/ 520 h 684"/>
                  <a:gd name="T66" fmla="*/ 198 w 573"/>
                  <a:gd name="T67" fmla="*/ 545 h 684"/>
                  <a:gd name="T68" fmla="*/ 166 w 573"/>
                  <a:gd name="T69" fmla="*/ 575 h 684"/>
                  <a:gd name="T70" fmla="*/ 138 w 573"/>
                  <a:gd name="T71" fmla="*/ 607 h 684"/>
                  <a:gd name="T72" fmla="*/ 113 w 573"/>
                  <a:gd name="T73" fmla="*/ 644 h 684"/>
                  <a:gd name="T74" fmla="*/ 92 w 573"/>
                  <a:gd name="T75" fmla="*/ 684 h 684"/>
                  <a:gd name="T76" fmla="*/ 89 w 573"/>
                  <a:gd name="T77" fmla="*/ 682 h 684"/>
                  <a:gd name="T78" fmla="*/ 86 w 573"/>
                  <a:gd name="T79" fmla="*/ 676 h 684"/>
                  <a:gd name="T80" fmla="*/ 81 w 573"/>
                  <a:gd name="T81" fmla="*/ 663 h 684"/>
                  <a:gd name="T82" fmla="*/ 73 w 573"/>
                  <a:gd name="T83" fmla="*/ 646 h 684"/>
                  <a:gd name="T84" fmla="*/ 66 w 573"/>
                  <a:gd name="T85" fmla="*/ 625 h 684"/>
                  <a:gd name="T86" fmla="*/ 59 w 573"/>
                  <a:gd name="T87" fmla="*/ 600 h 684"/>
                  <a:gd name="T88" fmla="*/ 49 w 573"/>
                  <a:gd name="T89" fmla="*/ 572 h 684"/>
                  <a:gd name="T90" fmla="*/ 40 w 573"/>
                  <a:gd name="T91" fmla="*/ 541 h 684"/>
                  <a:gd name="T92" fmla="*/ 32 w 573"/>
                  <a:gd name="T93" fmla="*/ 508 h 684"/>
                  <a:gd name="T94" fmla="*/ 23 w 573"/>
                  <a:gd name="T95" fmla="*/ 472 h 684"/>
                  <a:gd name="T96" fmla="*/ 16 w 573"/>
                  <a:gd name="T97" fmla="*/ 435 h 684"/>
                  <a:gd name="T98" fmla="*/ 9 w 573"/>
                  <a:gd name="T99" fmla="*/ 397 h 684"/>
                  <a:gd name="T100" fmla="*/ 5 w 573"/>
                  <a:gd name="T101" fmla="*/ 358 h 684"/>
                  <a:gd name="T102" fmla="*/ 1 w 573"/>
                  <a:gd name="T103" fmla="*/ 318 h 684"/>
                  <a:gd name="T104" fmla="*/ 0 w 573"/>
                  <a:gd name="T105" fmla="*/ 279 h 684"/>
                  <a:gd name="T106" fmla="*/ 0 w 573"/>
                  <a:gd name="T107" fmla="*/ 240 h 684"/>
                  <a:gd name="T108" fmla="*/ 2 w 573"/>
                  <a:gd name="T109" fmla="*/ 203 h 684"/>
                  <a:gd name="T110" fmla="*/ 8 w 573"/>
                  <a:gd name="T111" fmla="*/ 166 h 684"/>
                  <a:gd name="T112" fmla="*/ 17 w 573"/>
                  <a:gd name="T113" fmla="*/ 131 h 684"/>
                  <a:gd name="T114" fmla="*/ 29 w 573"/>
                  <a:gd name="T115" fmla="*/ 98 h 684"/>
                  <a:gd name="T116" fmla="*/ 45 w 573"/>
                  <a:gd name="T117" fmla="*/ 69 h 684"/>
                  <a:gd name="T118" fmla="*/ 65 w 573"/>
                  <a:gd name="T119" fmla="*/ 41 h 684"/>
                  <a:gd name="T120" fmla="*/ 88 w 573"/>
                  <a:gd name="T121" fmla="*/ 18 h 684"/>
                  <a:gd name="T122" fmla="*/ 117 w 573"/>
                  <a:gd name="T123" fmla="*/ 0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3" h="684">
                    <a:moveTo>
                      <a:pt x="117" y="0"/>
                    </a:moveTo>
                    <a:lnTo>
                      <a:pt x="117" y="1"/>
                    </a:lnTo>
                    <a:lnTo>
                      <a:pt x="117" y="7"/>
                    </a:lnTo>
                    <a:lnTo>
                      <a:pt x="118" y="16"/>
                    </a:lnTo>
                    <a:lnTo>
                      <a:pt x="119" y="27"/>
                    </a:lnTo>
                    <a:lnTo>
                      <a:pt x="122" y="41"/>
                    </a:lnTo>
                    <a:lnTo>
                      <a:pt x="126" y="59"/>
                    </a:lnTo>
                    <a:lnTo>
                      <a:pt x="134" y="78"/>
                    </a:lnTo>
                    <a:lnTo>
                      <a:pt x="145" y="101"/>
                    </a:lnTo>
                    <a:lnTo>
                      <a:pt x="157" y="124"/>
                    </a:lnTo>
                    <a:lnTo>
                      <a:pt x="174" y="150"/>
                    </a:lnTo>
                    <a:lnTo>
                      <a:pt x="197" y="176"/>
                    </a:lnTo>
                    <a:lnTo>
                      <a:pt x="222" y="203"/>
                    </a:lnTo>
                    <a:lnTo>
                      <a:pt x="253" y="231"/>
                    </a:lnTo>
                    <a:lnTo>
                      <a:pt x="290" y="261"/>
                    </a:lnTo>
                    <a:lnTo>
                      <a:pt x="333" y="290"/>
                    </a:lnTo>
                    <a:lnTo>
                      <a:pt x="383" y="320"/>
                    </a:lnTo>
                    <a:lnTo>
                      <a:pt x="439" y="348"/>
                    </a:lnTo>
                    <a:lnTo>
                      <a:pt x="503" y="378"/>
                    </a:lnTo>
                    <a:lnTo>
                      <a:pt x="573" y="406"/>
                    </a:lnTo>
                    <a:lnTo>
                      <a:pt x="571" y="406"/>
                    </a:lnTo>
                    <a:lnTo>
                      <a:pt x="562" y="407"/>
                    </a:lnTo>
                    <a:lnTo>
                      <a:pt x="546" y="408"/>
                    </a:lnTo>
                    <a:lnTo>
                      <a:pt x="527" y="411"/>
                    </a:lnTo>
                    <a:lnTo>
                      <a:pt x="502" y="416"/>
                    </a:lnTo>
                    <a:lnTo>
                      <a:pt x="474" y="421"/>
                    </a:lnTo>
                    <a:lnTo>
                      <a:pt x="443" y="428"/>
                    </a:lnTo>
                    <a:lnTo>
                      <a:pt x="410" y="438"/>
                    </a:lnTo>
                    <a:lnTo>
                      <a:pt x="375" y="449"/>
                    </a:lnTo>
                    <a:lnTo>
                      <a:pt x="339" y="463"/>
                    </a:lnTo>
                    <a:lnTo>
                      <a:pt x="303" y="479"/>
                    </a:lnTo>
                    <a:lnTo>
                      <a:pt x="267" y="498"/>
                    </a:lnTo>
                    <a:lnTo>
                      <a:pt x="231" y="520"/>
                    </a:lnTo>
                    <a:lnTo>
                      <a:pt x="198" y="545"/>
                    </a:lnTo>
                    <a:lnTo>
                      <a:pt x="166" y="575"/>
                    </a:lnTo>
                    <a:lnTo>
                      <a:pt x="138" y="607"/>
                    </a:lnTo>
                    <a:lnTo>
                      <a:pt x="113" y="644"/>
                    </a:lnTo>
                    <a:lnTo>
                      <a:pt x="92" y="684"/>
                    </a:lnTo>
                    <a:lnTo>
                      <a:pt x="89" y="682"/>
                    </a:lnTo>
                    <a:lnTo>
                      <a:pt x="86" y="676"/>
                    </a:lnTo>
                    <a:lnTo>
                      <a:pt x="81" y="663"/>
                    </a:lnTo>
                    <a:lnTo>
                      <a:pt x="73" y="646"/>
                    </a:lnTo>
                    <a:lnTo>
                      <a:pt x="66" y="625"/>
                    </a:lnTo>
                    <a:lnTo>
                      <a:pt x="59" y="600"/>
                    </a:lnTo>
                    <a:lnTo>
                      <a:pt x="49" y="572"/>
                    </a:lnTo>
                    <a:lnTo>
                      <a:pt x="40" y="541"/>
                    </a:lnTo>
                    <a:lnTo>
                      <a:pt x="32" y="508"/>
                    </a:lnTo>
                    <a:lnTo>
                      <a:pt x="23" y="472"/>
                    </a:lnTo>
                    <a:lnTo>
                      <a:pt x="16" y="435"/>
                    </a:lnTo>
                    <a:lnTo>
                      <a:pt x="9" y="397"/>
                    </a:lnTo>
                    <a:lnTo>
                      <a:pt x="5" y="358"/>
                    </a:lnTo>
                    <a:lnTo>
                      <a:pt x="1" y="318"/>
                    </a:lnTo>
                    <a:lnTo>
                      <a:pt x="0" y="279"/>
                    </a:lnTo>
                    <a:lnTo>
                      <a:pt x="0" y="240"/>
                    </a:lnTo>
                    <a:lnTo>
                      <a:pt x="2" y="203"/>
                    </a:lnTo>
                    <a:lnTo>
                      <a:pt x="8" y="166"/>
                    </a:lnTo>
                    <a:lnTo>
                      <a:pt x="17" y="131"/>
                    </a:lnTo>
                    <a:lnTo>
                      <a:pt x="29" y="98"/>
                    </a:lnTo>
                    <a:lnTo>
                      <a:pt x="45" y="69"/>
                    </a:lnTo>
                    <a:lnTo>
                      <a:pt x="65" y="41"/>
                    </a:lnTo>
                    <a:lnTo>
                      <a:pt x="88" y="18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4" name="Freeform 44"/>
              <p:cNvSpPr>
                <a:spLocks/>
              </p:cNvSpPr>
              <p:nvPr/>
            </p:nvSpPr>
            <p:spPr bwMode="auto">
              <a:xfrm>
                <a:off x="236538" y="-4418013"/>
                <a:ext cx="2135188" cy="2254250"/>
              </a:xfrm>
              <a:custGeom>
                <a:avLst/>
                <a:gdLst>
                  <a:gd name="T0" fmla="*/ 648 w 1345"/>
                  <a:gd name="T1" fmla="*/ 1 h 1420"/>
                  <a:gd name="T2" fmla="*/ 697 w 1345"/>
                  <a:gd name="T3" fmla="*/ 5 h 1420"/>
                  <a:gd name="T4" fmla="*/ 738 w 1345"/>
                  <a:gd name="T5" fmla="*/ 10 h 1420"/>
                  <a:gd name="T6" fmla="*/ 770 w 1345"/>
                  <a:gd name="T7" fmla="*/ 16 h 1420"/>
                  <a:gd name="T8" fmla="*/ 789 w 1345"/>
                  <a:gd name="T9" fmla="*/ 20 h 1420"/>
                  <a:gd name="T10" fmla="*/ 797 w 1345"/>
                  <a:gd name="T11" fmla="*/ 22 h 1420"/>
                  <a:gd name="T12" fmla="*/ 919 w 1345"/>
                  <a:gd name="T13" fmla="*/ 22 h 1420"/>
                  <a:gd name="T14" fmla="*/ 1021 w 1345"/>
                  <a:gd name="T15" fmla="*/ 38 h 1420"/>
                  <a:gd name="T16" fmla="*/ 1107 w 1345"/>
                  <a:gd name="T17" fmla="*/ 69 h 1420"/>
                  <a:gd name="T18" fmla="*/ 1177 w 1345"/>
                  <a:gd name="T19" fmla="*/ 113 h 1420"/>
                  <a:gd name="T20" fmla="*/ 1233 w 1345"/>
                  <a:gd name="T21" fmla="*/ 169 h 1420"/>
                  <a:gd name="T22" fmla="*/ 1276 w 1345"/>
                  <a:gd name="T23" fmla="*/ 233 h 1420"/>
                  <a:gd name="T24" fmla="*/ 1306 w 1345"/>
                  <a:gd name="T25" fmla="*/ 305 h 1420"/>
                  <a:gd name="T26" fmla="*/ 1327 w 1345"/>
                  <a:gd name="T27" fmla="*/ 382 h 1420"/>
                  <a:gd name="T28" fmla="*/ 1340 w 1345"/>
                  <a:gd name="T29" fmla="*/ 463 h 1420"/>
                  <a:gd name="T30" fmla="*/ 1343 w 1345"/>
                  <a:gd name="T31" fmla="*/ 546 h 1420"/>
                  <a:gd name="T32" fmla="*/ 1343 w 1345"/>
                  <a:gd name="T33" fmla="*/ 628 h 1420"/>
                  <a:gd name="T34" fmla="*/ 1337 w 1345"/>
                  <a:gd name="T35" fmla="*/ 709 h 1420"/>
                  <a:gd name="T36" fmla="*/ 1330 w 1345"/>
                  <a:gd name="T37" fmla="*/ 786 h 1420"/>
                  <a:gd name="T38" fmla="*/ 1311 w 1345"/>
                  <a:gd name="T39" fmla="*/ 895 h 1420"/>
                  <a:gd name="T40" fmla="*/ 1268 w 1345"/>
                  <a:gd name="T41" fmla="*/ 1038 h 1420"/>
                  <a:gd name="T42" fmla="*/ 1203 w 1345"/>
                  <a:gd name="T43" fmla="*/ 1171 h 1420"/>
                  <a:gd name="T44" fmla="*/ 1117 w 1345"/>
                  <a:gd name="T45" fmla="*/ 1292 h 1420"/>
                  <a:gd name="T46" fmla="*/ 1037 w 1345"/>
                  <a:gd name="T47" fmla="*/ 1373 h 1420"/>
                  <a:gd name="T48" fmla="*/ 979 w 1345"/>
                  <a:gd name="T49" fmla="*/ 1420 h 1420"/>
                  <a:gd name="T50" fmla="*/ 378 w 1345"/>
                  <a:gd name="T51" fmla="*/ 1257 h 1420"/>
                  <a:gd name="T52" fmla="*/ 300 w 1345"/>
                  <a:gd name="T53" fmla="*/ 1400 h 1420"/>
                  <a:gd name="T54" fmla="*/ 241 w 1345"/>
                  <a:gd name="T55" fmla="*/ 1347 h 1420"/>
                  <a:gd name="T56" fmla="*/ 177 w 1345"/>
                  <a:gd name="T57" fmla="*/ 1279 h 1420"/>
                  <a:gd name="T58" fmla="*/ 115 w 1345"/>
                  <a:gd name="T59" fmla="*/ 1199 h 1420"/>
                  <a:gd name="T60" fmla="*/ 60 w 1345"/>
                  <a:gd name="T61" fmla="*/ 1113 h 1420"/>
                  <a:gd name="T62" fmla="*/ 22 w 1345"/>
                  <a:gd name="T63" fmla="*/ 1021 h 1420"/>
                  <a:gd name="T64" fmla="*/ 6 w 1345"/>
                  <a:gd name="T65" fmla="*/ 927 h 1420"/>
                  <a:gd name="T66" fmla="*/ 0 w 1345"/>
                  <a:gd name="T67" fmla="*/ 757 h 1420"/>
                  <a:gd name="T68" fmla="*/ 9 w 1345"/>
                  <a:gd name="T69" fmla="*/ 610 h 1420"/>
                  <a:gd name="T70" fmla="*/ 30 w 1345"/>
                  <a:gd name="T71" fmla="*/ 482 h 1420"/>
                  <a:gd name="T72" fmla="*/ 62 w 1345"/>
                  <a:gd name="T73" fmla="*/ 372 h 1420"/>
                  <a:gd name="T74" fmla="*/ 103 w 1345"/>
                  <a:gd name="T75" fmla="*/ 280 h 1420"/>
                  <a:gd name="T76" fmla="*/ 153 w 1345"/>
                  <a:gd name="T77" fmla="*/ 205 h 1420"/>
                  <a:gd name="T78" fmla="*/ 209 w 1345"/>
                  <a:gd name="T79" fmla="*/ 143 h 1420"/>
                  <a:gd name="T80" fmla="*/ 271 w 1345"/>
                  <a:gd name="T81" fmla="*/ 95 h 1420"/>
                  <a:gd name="T82" fmla="*/ 335 w 1345"/>
                  <a:gd name="T83" fmla="*/ 58 h 1420"/>
                  <a:gd name="T84" fmla="*/ 401 w 1345"/>
                  <a:gd name="T85" fmla="*/ 32 h 1420"/>
                  <a:gd name="T86" fmla="*/ 467 w 1345"/>
                  <a:gd name="T87" fmla="*/ 15 h 1420"/>
                  <a:gd name="T88" fmla="*/ 531 w 1345"/>
                  <a:gd name="T89" fmla="*/ 5 h 1420"/>
                  <a:gd name="T90" fmla="*/ 591 w 1345"/>
                  <a:gd name="T91" fmla="*/ 0 h 1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45" h="1420">
                    <a:moveTo>
                      <a:pt x="621" y="0"/>
                    </a:moveTo>
                    <a:lnTo>
                      <a:pt x="648" y="1"/>
                    </a:lnTo>
                    <a:lnTo>
                      <a:pt x="674" y="3"/>
                    </a:lnTo>
                    <a:lnTo>
                      <a:pt x="697" y="5"/>
                    </a:lnTo>
                    <a:lnTo>
                      <a:pt x="719" y="8"/>
                    </a:lnTo>
                    <a:lnTo>
                      <a:pt x="738" y="10"/>
                    </a:lnTo>
                    <a:lnTo>
                      <a:pt x="755" y="14"/>
                    </a:lnTo>
                    <a:lnTo>
                      <a:pt x="770" y="16"/>
                    </a:lnTo>
                    <a:lnTo>
                      <a:pt x="781" y="19"/>
                    </a:lnTo>
                    <a:lnTo>
                      <a:pt x="789" y="20"/>
                    </a:lnTo>
                    <a:lnTo>
                      <a:pt x="794" y="21"/>
                    </a:lnTo>
                    <a:lnTo>
                      <a:pt x="797" y="22"/>
                    </a:lnTo>
                    <a:lnTo>
                      <a:pt x="859" y="20"/>
                    </a:lnTo>
                    <a:lnTo>
                      <a:pt x="919" y="22"/>
                    </a:lnTo>
                    <a:lnTo>
                      <a:pt x="972" y="28"/>
                    </a:lnTo>
                    <a:lnTo>
                      <a:pt x="1021" y="38"/>
                    </a:lnTo>
                    <a:lnTo>
                      <a:pt x="1066" y="52"/>
                    </a:lnTo>
                    <a:lnTo>
                      <a:pt x="1107" y="69"/>
                    </a:lnTo>
                    <a:lnTo>
                      <a:pt x="1144" y="90"/>
                    </a:lnTo>
                    <a:lnTo>
                      <a:pt x="1177" y="113"/>
                    </a:lnTo>
                    <a:lnTo>
                      <a:pt x="1207" y="139"/>
                    </a:lnTo>
                    <a:lnTo>
                      <a:pt x="1233" y="169"/>
                    </a:lnTo>
                    <a:lnTo>
                      <a:pt x="1255" y="200"/>
                    </a:lnTo>
                    <a:lnTo>
                      <a:pt x="1276" y="233"/>
                    </a:lnTo>
                    <a:lnTo>
                      <a:pt x="1292" y="269"/>
                    </a:lnTo>
                    <a:lnTo>
                      <a:pt x="1306" y="305"/>
                    </a:lnTo>
                    <a:lnTo>
                      <a:pt x="1318" y="342"/>
                    </a:lnTo>
                    <a:lnTo>
                      <a:pt x="1327" y="382"/>
                    </a:lnTo>
                    <a:lnTo>
                      <a:pt x="1334" y="422"/>
                    </a:lnTo>
                    <a:lnTo>
                      <a:pt x="1340" y="463"/>
                    </a:lnTo>
                    <a:lnTo>
                      <a:pt x="1342" y="504"/>
                    </a:lnTo>
                    <a:lnTo>
                      <a:pt x="1343" y="546"/>
                    </a:lnTo>
                    <a:lnTo>
                      <a:pt x="1345" y="587"/>
                    </a:lnTo>
                    <a:lnTo>
                      <a:pt x="1343" y="628"/>
                    </a:lnTo>
                    <a:lnTo>
                      <a:pt x="1341" y="669"/>
                    </a:lnTo>
                    <a:lnTo>
                      <a:pt x="1337" y="709"/>
                    </a:lnTo>
                    <a:lnTo>
                      <a:pt x="1334" y="748"/>
                    </a:lnTo>
                    <a:lnTo>
                      <a:pt x="1330" y="786"/>
                    </a:lnTo>
                    <a:lnTo>
                      <a:pt x="1325" y="821"/>
                    </a:lnTo>
                    <a:lnTo>
                      <a:pt x="1311" y="895"/>
                    </a:lnTo>
                    <a:lnTo>
                      <a:pt x="1292" y="968"/>
                    </a:lnTo>
                    <a:lnTo>
                      <a:pt x="1268" y="1038"/>
                    </a:lnTo>
                    <a:lnTo>
                      <a:pt x="1239" y="1106"/>
                    </a:lnTo>
                    <a:lnTo>
                      <a:pt x="1203" y="1171"/>
                    </a:lnTo>
                    <a:lnTo>
                      <a:pt x="1162" y="1233"/>
                    </a:lnTo>
                    <a:lnTo>
                      <a:pt x="1117" y="1292"/>
                    </a:lnTo>
                    <a:lnTo>
                      <a:pt x="1065" y="1347"/>
                    </a:lnTo>
                    <a:lnTo>
                      <a:pt x="1037" y="1373"/>
                    </a:lnTo>
                    <a:lnTo>
                      <a:pt x="1010" y="1398"/>
                    </a:lnTo>
                    <a:lnTo>
                      <a:pt x="979" y="1420"/>
                    </a:lnTo>
                    <a:lnTo>
                      <a:pt x="927" y="1257"/>
                    </a:lnTo>
                    <a:lnTo>
                      <a:pt x="378" y="1257"/>
                    </a:lnTo>
                    <a:lnTo>
                      <a:pt x="326" y="1420"/>
                    </a:lnTo>
                    <a:lnTo>
                      <a:pt x="300" y="1400"/>
                    </a:lnTo>
                    <a:lnTo>
                      <a:pt x="272" y="1375"/>
                    </a:lnTo>
                    <a:lnTo>
                      <a:pt x="241" y="1347"/>
                    </a:lnTo>
                    <a:lnTo>
                      <a:pt x="209" y="1315"/>
                    </a:lnTo>
                    <a:lnTo>
                      <a:pt x="177" y="1279"/>
                    </a:lnTo>
                    <a:lnTo>
                      <a:pt x="145" y="1241"/>
                    </a:lnTo>
                    <a:lnTo>
                      <a:pt x="115" y="1199"/>
                    </a:lnTo>
                    <a:lnTo>
                      <a:pt x="85" y="1158"/>
                    </a:lnTo>
                    <a:lnTo>
                      <a:pt x="60" y="1113"/>
                    </a:lnTo>
                    <a:lnTo>
                      <a:pt x="38" y="1068"/>
                    </a:lnTo>
                    <a:lnTo>
                      <a:pt x="22" y="1021"/>
                    </a:lnTo>
                    <a:lnTo>
                      <a:pt x="11" y="974"/>
                    </a:lnTo>
                    <a:lnTo>
                      <a:pt x="6" y="927"/>
                    </a:lnTo>
                    <a:lnTo>
                      <a:pt x="1" y="840"/>
                    </a:lnTo>
                    <a:lnTo>
                      <a:pt x="0" y="757"/>
                    </a:lnTo>
                    <a:lnTo>
                      <a:pt x="2" y="681"/>
                    </a:lnTo>
                    <a:lnTo>
                      <a:pt x="9" y="610"/>
                    </a:lnTo>
                    <a:lnTo>
                      <a:pt x="17" y="543"/>
                    </a:lnTo>
                    <a:lnTo>
                      <a:pt x="30" y="482"/>
                    </a:lnTo>
                    <a:lnTo>
                      <a:pt x="44" y="424"/>
                    </a:lnTo>
                    <a:lnTo>
                      <a:pt x="62" y="372"/>
                    </a:lnTo>
                    <a:lnTo>
                      <a:pt x="81" y="324"/>
                    </a:lnTo>
                    <a:lnTo>
                      <a:pt x="103" y="280"/>
                    </a:lnTo>
                    <a:lnTo>
                      <a:pt x="127" y="240"/>
                    </a:lnTo>
                    <a:lnTo>
                      <a:pt x="153" y="205"/>
                    </a:lnTo>
                    <a:lnTo>
                      <a:pt x="181" y="171"/>
                    </a:lnTo>
                    <a:lnTo>
                      <a:pt x="209" y="143"/>
                    </a:lnTo>
                    <a:lnTo>
                      <a:pt x="240" y="117"/>
                    </a:lnTo>
                    <a:lnTo>
                      <a:pt x="271" y="95"/>
                    </a:lnTo>
                    <a:lnTo>
                      <a:pt x="303" y="75"/>
                    </a:lnTo>
                    <a:lnTo>
                      <a:pt x="335" y="58"/>
                    </a:lnTo>
                    <a:lnTo>
                      <a:pt x="368" y="44"/>
                    </a:lnTo>
                    <a:lnTo>
                      <a:pt x="401" y="32"/>
                    </a:lnTo>
                    <a:lnTo>
                      <a:pt x="433" y="22"/>
                    </a:lnTo>
                    <a:lnTo>
                      <a:pt x="467" y="15"/>
                    </a:lnTo>
                    <a:lnTo>
                      <a:pt x="499" y="9"/>
                    </a:lnTo>
                    <a:lnTo>
                      <a:pt x="531" y="5"/>
                    </a:lnTo>
                    <a:lnTo>
                      <a:pt x="562" y="3"/>
                    </a:lnTo>
                    <a:lnTo>
                      <a:pt x="59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5" name="Freeform 45"/>
              <p:cNvSpPr>
                <a:spLocks/>
              </p:cNvSpPr>
              <p:nvPr/>
            </p:nvSpPr>
            <p:spPr bwMode="auto">
              <a:xfrm>
                <a:off x="2266950" y="-3270250"/>
                <a:ext cx="346075" cy="715963"/>
              </a:xfrm>
              <a:custGeom>
                <a:avLst/>
                <a:gdLst>
                  <a:gd name="T0" fmla="*/ 128 w 218"/>
                  <a:gd name="T1" fmla="*/ 0 h 451"/>
                  <a:gd name="T2" fmla="*/ 148 w 218"/>
                  <a:gd name="T3" fmla="*/ 4 h 451"/>
                  <a:gd name="T4" fmla="*/ 167 w 218"/>
                  <a:gd name="T5" fmla="*/ 12 h 451"/>
                  <a:gd name="T6" fmla="*/ 186 w 218"/>
                  <a:gd name="T7" fmla="*/ 28 h 451"/>
                  <a:gd name="T8" fmla="*/ 201 w 218"/>
                  <a:gd name="T9" fmla="*/ 49 h 451"/>
                  <a:gd name="T10" fmla="*/ 211 w 218"/>
                  <a:gd name="T11" fmla="*/ 74 h 451"/>
                  <a:gd name="T12" fmla="*/ 217 w 218"/>
                  <a:gd name="T13" fmla="*/ 101 h 451"/>
                  <a:gd name="T14" fmla="*/ 218 w 218"/>
                  <a:gd name="T15" fmla="*/ 132 h 451"/>
                  <a:gd name="T16" fmla="*/ 216 w 218"/>
                  <a:gd name="T17" fmla="*/ 165 h 451"/>
                  <a:gd name="T18" fmla="*/ 208 w 218"/>
                  <a:gd name="T19" fmla="*/ 199 h 451"/>
                  <a:gd name="T20" fmla="*/ 199 w 218"/>
                  <a:gd name="T21" fmla="*/ 235 h 451"/>
                  <a:gd name="T22" fmla="*/ 183 w 218"/>
                  <a:gd name="T23" fmla="*/ 271 h 451"/>
                  <a:gd name="T24" fmla="*/ 164 w 218"/>
                  <a:gd name="T25" fmla="*/ 306 h 451"/>
                  <a:gd name="T26" fmla="*/ 136 w 218"/>
                  <a:gd name="T27" fmla="*/ 348 h 451"/>
                  <a:gd name="T28" fmla="*/ 104 w 218"/>
                  <a:gd name="T29" fmla="*/ 384 h 451"/>
                  <a:gd name="T30" fmla="*/ 71 w 218"/>
                  <a:gd name="T31" fmla="*/ 414 h 451"/>
                  <a:gd name="T32" fmla="*/ 36 w 218"/>
                  <a:gd name="T33" fmla="*/ 436 h 451"/>
                  <a:gd name="T34" fmla="*/ 0 w 218"/>
                  <a:gd name="T35" fmla="*/ 451 h 451"/>
                  <a:gd name="T36" fmla="*/ 32 w 218"/>
                  <a:gd name="T37" fmla="*/ 372 h 451"/>
                  <a:gd name="T38" fmla="*/ 58 w 218"/>
                  <a:gd name="T39" fmla="*/ 290 h 451"/>
                  <a:gd name="T40" fmla="*/ 58 w 218"/>
                  <a:gd name="T41" fmla="*/ 288 h 451"/>
                  <a:gd name="T42" fmla="*/ 96 w 218"/>
                  <a:gd name="T43" fmla="*/ 144 h 451"/>
                  <a:gd name="T44" fmla="*/ 94 w 218"/>
                  <a:gd name="T45" fmla="*/ 144 h 451"/>
                  <a:gd name="T46" fmla="*/ 112 w 218"/>
                  <a:gd name="T47" fmla="*/ 71 h 451"/>
                  <a:gd name="T48" fmla="*/ 128 w 218"/>
                  <a:gd name="T49" fmla="*/ 0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8" h="451">
                    <a:moveTo>
                      <a:pt x="128" y="0"/>
                    </a:moveTo>
                    <a:lnTo>
                      <a:pt x="148" y="4"/>
                    </a:lnTo>
                    <a:lnTo>
                      <a:pt x="167" y="12"/>
                    </a:lnTo>
                    <a:lnTo>
                      <a:pt x="186" y="28"/>
                    </a:lnTo>
                    <a:lnTo>
                      <a:pt x="201" y="49"/>
                    </a:lnTo>
                    <a:lnTo>
                      <a:pt x="211" y="74"/>
                    </a:lnTo>
                    <a:lnTo>
                      <a:pt x="217" y="101"/>
                    </a:lnTo>
                    <a:lnTo>
                      <a:pt x="218" y="132"/>
                    </a:lnTo>
                    <a:lnTo>
                      <a:pt x="216" y="165"/>
                    </a:lnTo>
                    <a:lnTo>
                      <a:pt x="208" y="199"/>
                    </a:lnTo>
                    <a:lnTo>
                      <a:pt x="199" y="235"/>
                    </a:lnTo>
                    <a:lnTo>
                      <a:pt x="183" y="271"/>
                    </a:lnTo>
                    <a:lnTo>
                      <a:pt x="164" y="306"/>
                    </a:lnTo>
                    <a:lnTo>
                      <a:pt x="136" y="348"/>
                    </a:lnTo>
                    <a:lnTo>
                      <a:pt x="104" y="384"/>
                    </a:lnTo>
                    <a:lnTo>
                      <a:pt x="71" y="414"/>
                    </a:lnTo>
                    <a:lnTo>
                      <a:pt x="36" y="436"/>
                    </a:lnTo>
                    <a:lnTo>
                      <a:pt x="0" y="451"/>
                    </a:lnTo>
                    <a:lnTo>
                      <a:pt x="32" y="372"/>
                    </a:lnTo>
                    <a:lnTo>
                      <a:pt x="58" y="290"/>
                    </a:lnTo>
                    <a:lnTo>
                      <a:pt x="58" y="288"/>
                    </a:lnTo>
                    <a:lnTo>
                      <a:pt x="96" y="144"/>
                    </a:lnTo>
                    <a:lnTo>
                      <a:pt x="94" y="144"/>
                    </a:lnTo>
                    <a:lnTo>
                      <a:pt x="112" y="71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Freeform 46"/>
              <p:cNvSpPr>
                <a:spLocks/>
              </p:cNvSpPr>
              <p:nvPr/>
            </p:nvSpPr>
            <p:spPr bwMode="auto">
              <a:xfrm>
                <a:off x="-69850" y="-3254375"/>
                <a:ext cx="347663" cy="700088"/>
              </a:xfrm>
              <a:custGeom>
                <a:avLst/>
                <a:gdLst>
                  <a:gd name="T0" fmla="*/ 69 w 219"/>
                  <a:gd name="T1" fmla="*/ 0 h 441"/>
                  <a:gd name="T2" fmla="*/ 81 w 219"/>
                  <a:gd name="T3" fmla="*/ 48 h 441"/>
                  <a:gd name="T4" fmla="*/ 95 w 219"/>
                  <a:gd name="T5" fmla="*/ 93 h 441"/>
                  <a:gd name="T6" fmla="*/ 107 w 219"/>
                  <a:gd name="T7" fmla="*/ 135 h 441"/>
                  <a:gd name="T8" fmla="*/ 119 w 219"/>
                  <a:gd name="T9" fmla="*/ 172 h 441"/>
                  <a:gd name="T10" fmla="*/ 131 w 219"/>
                  <a:gd name="T11" fmla="*/ 205 h 441"/>
                  <a:gd name="T12" fmla="*/ 141 w 219"/>
                  <a:gd name="T13" fmla="*/ 234 h 441"/>
                  <a:gd name="T14" fmla="*/ 150 w 219"/>
                  <a:gd name="T15" fmla="*/ 256 h 441"/>
                  <a:gd name="T16" fmla="*/ 156 w 219"/>
                  <a:gd name="T17" fmla="*/ 273 h 441"/>
                  <a:gd name="T18" fmla="*/ 161 w 219"/>
                  <a:gd name="T19" fmla="*/ 284 h 441"/>
                  <a:gd name="T20" fmla="*/ 187 w 219"/>
                  <a:gd name="T21" fmla="*/ 363 h 441"/>
                  <a:gd name="T22" fmla="*/ 219 w 219"/>
                  <a:gd name="T23" fmla="*/ 441 h 441"/>
                  <a:gd name="T24" fmla="*/ 183 w 219"/>
                  <a:gd name="T25" fmla="*/ 426 h 441"/>
                  <a:gd name="T26" fmla="*/ 149 w 219"/>
                  <a:gd name="T27" fmla="*/ 404 h 441"/>
                  <a:gd name="T28" fmla="*/ 115 w 219"/>
                  <a:gd name="T29" fmla="*/ 374 h 441"/>
                  <a:gd name="T30" fmla="*/ 83 w 219"/>
                  <a:gd name="T31" fmla="*/ 338 h 441"/>
                  <a:gd name="T32" fmla="*/ 55 w 219"/>
                  <a:gd name="T33" fmla="*/ 296 h 441"/>
                  <a:gd name="T34" fmla="*/ 35 w 219"/>
                  <a:gd name="T35" fmla="*/ 261 h 441"/>
                  <a:gd name="T36" fmla="*/ 19 w 219"/>
                  <a:gd name="T37" fmla="*/ 225 h 441"/>
                  <a:gd name="T38" fmla="*/ 8 w 219"/>
                  <a:gd name="T39" fmla="*/ 189 h 441"/>
                  <a:gd name="T40" fmla="*/ 2 w 219"/>
                  <a:gd name="T41" fmla="*/ 155 h 441"/>
                  <a:gd name="T42" fmla="*/ 0 w 219"/>
                  <a:gd name="T43" fmla="*/ 123 h 441"/>
                  <a:gd name="T44" fmla="*/ 2 w 219"/>
                  <a:gd name="T45" fmla="*/ 92 h 441"/>
                  <a:gd name="T46" fmla="*/ 8 w 219"/>
                  <a:gd name="T47" fmla="*/ 65 h 441"/>
                  <a:gd name="T48" fmla="*/ 18 w 219"/>
                  <a:gd name="T49" fmla="*/ 40 h 441"/>
                  <a:gd name="T50" fmla="*/ 33 w 219"/>
                  <a:gd name="T51" fmla="*/ 21 h 441"/>
                  <a:gd name="T52" fmla="*/ 53 w 219"/>
                  <a:gd name="T53" fmla="*/ 6 h 441"/>
                  <a:gd name="T54" fmla="*/ 56 w 219"/>
                  <a:gd name="T55" fmla="*/ 3 h 441"/>
                  <a:gd name="T56" fmla="*/ 60 w 219"/>
                  <a:gd name="T57" fmla="*/ 1 h 441"/>
                  <a:gd name="T58" fmla="*/ 64 w 219"/>
                  <a:gd name="T59" fmla="*/ 0 h 441"/>
                  <a:gd name="T60" fmla="*/ 69 w 219"/>
                  <a:gd name="T61" fmla="*/ 0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9" h="441">
                    <a:moveTo>
                      <a:pt x="69" y="0"/>
                    </a:moveTo>
                    <a:lnTo>
                      <a:pt x="81" y="48"/>
                    </a:lnTo>
                    <a:lnTo>
                      <a:pt x="95" y="93"/>
                    </a:lnTo>
                    <a:lnTo>
                      <a:pt x="107" y="135"/>
                    </a:lnTo>
                    <a:lnTo>
                      <a:pt x="119" y="172"/>
                    </a:lnTo>
                    <a:lnTo>
                      <a:pt x="131" y="205"/>
                    </a:lnTo>
                    <a:lnTo>
                      <a:pt x="141" y="234"/>
                    </a:lnTo>
                    <a:lnTo>
                      <a:pt x="150" y="256"/>
                    </a:lnTo>
                    <a:lnTo>
                      <a:pt x="156" y="273"/>
                    </a:lnTo>
                    <a:lnTo>
                      <a:pt x="161" y="284"/>
                    </a:lnTo>
                    <a:lnTo>
                      <a:pt x="187" y="363"/>
                    </a:lnTo>
                    <a:lnTo>
                      <a:pt x="219" y="441"/>
                    </a:lnTo>
                    <a:lnTo>
                      <a:pt x="183" y="426"/>
                    </a:lnTo>
                    <a:lnTo>
                      <a:pt x="149" y="404"/>
                    </a:lnTo>
                    <a:lnTo>
                      <a:pt x="115" y="374"/>
                    </a:lnTo>
                    <a:lnTo>
                      <a:pt x="83" y="338"/>
                    </a:lnTo>
                    <a:lnTo>
                      <a:pt x="55" y="296"/>
                    </a:lnTo>
                    <a:lnTo>
                      <a:pt x="35" y="261"/>
                    </a:lnTo>
                    <a:lnTo>
                      <a:pt x="19" y="225"/>
                    </a:lnTo>
                    <a:lnTo>
                      <a:pt x="8" y="189"/>
                    </a:lnTo>
                    <a:lnTo>
                      <a:pt x="2" y="155"/>
                    </a:lnTo>
                    <a:lnTo>
                      <a:pt x="0" y="123"/>
                    </a:lnTo>
                    <a:lnTo>
                      <a:pt x="2" y="92"/>
                    </a:lnTo>
                    <a:lnTo>
                      <a:pt x="8" y="65"/>
                    </a:lnTo>
                    <a:lnTo>
                      <a:pt x="18" y="40"/>
                    </a:lnTo>
                    <a:lnTo>
                      <a:pt x="33" y="21"/>
                    </a:lnTo>
                    <a:lnTo>
                      <a:pt x="53" y="6"/>
                    </a:lnTo>
                    <a:lnTo>
                      <a:pt x="56" y="3"/>
                    </a:lnTo>
                    <a:lnTo>
                      <a:pt x="60" y="1"/>
                    </a:lnTo>
                    <a:lnTo>
                      <a:pt x="64" y="0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Freeform 47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91 w 1758"/>
                  <a:gd name="T15" fmla="*/ 1693 h 2343"/>
                  <a:gd name="T16" fmla="*/ 453 w 1758"/>
                  <a:gd name="T17" fmla="*/ 1911 h 2343"/>
                  <a:gd name="T18" fmla="*/ 1151 w 1758"/>
                  <a:gd name="T19" fmla="*/ 1834 h 2343"/>
                  <a:gd name="T20" fmla="*/ 1341 w 1758"/>
                  <a:gd name="T21" fmla="*/ 1866 h 2343"/>
                  <a:gd name="T22" fmla="*/ 1492 w 1758"/>
                  <a:gd name="T23" fmla="*/ 1612 h 2343"/>
                  <a:gd name="T24" fmla="*/ 1554 w 1758"/>
                  <a:gd name="T25" fmla="*/ 1360 h 2343"/>
                  <a:gd name="T26" fmla="*/ 1567 w 1758"/>
                  <a:gd name="T27" fmla="*/ 1202 h 2343"/>
                  <a:gd name="T28" fmla="*/ 1564 w 1758"/>
                  <a:gd name="T29" fmla="*/ 1037 h 2343"/>
                  <a:gd name="T30" fmla="*/ 1530 w 1758"/>
                  <a:gd name="T31" fmla="*/ 879 h 2343"/>
                  <a:gd name="T32" fmla="*/ 1457 w 1758"/>
                  <a:gd name="T33" fmla="*/ 744 h 2343"/>
                  <a:gd name="T34" fmla="*/ 1331 w 1758"/>
                  <a:gd name="T35" fmla="*/ 644 h 2343"/>
                  <a:gd name="T36" fmla="*/ 1143 w 1758"/>
                  <a:gd name="T37" fmla="*/ 599 h 2343"/>
                  <a:gd name="T38" fmla="*/ 1013 w 1758"/>
                  <a:gd name="T39" fmla="*/ 598 h 2343"/>
                  <a:gd name="T40" fmla="*/ 962 w 1758"/>
                  <a:gd name="T41" fmla="*/ 588 h 2343"/>
                  <a:gd name="T42" fmla="*/ 872 w 1758"/>
                  <a:gd name="T43" fmla="*/ 579 h 2343"/>
                  <a:gd name="T44" fmla="*/ 840 w 1758"/>
                  <a:gd name="T45" fmla="*/ 2 h 2343"/>
                  <a:gd name="T46" fmla="*/ 941 w 1758"/>
                  <a:gd name="T47" fmla="*/ 11 h 2343"/>
                  <a:gd name="T48" fmla="*/ 1058 w 1758"/>
                  <a:gd name="T49" fmla="*/ 42 h 2343"/>
                  <a:gd name="T50" fmla="*/ 1162 w 1758"/>
                  <a:gd name="T51" fmla="*/ 104 h 2343"/>
                  <a:gd name="T52" fmla="*/ 1221 w 1758"/>
                  <a:gd name="T53" fmla="*/ 206 h 2343"/>
                  <a:gd name="T54" fmla="*/ 1231 w 1758"/>
                  <a:gd name="T55" fmla="*/ 274 h 2343"/>
                  <a:gd name="T56" fmla="*/ 1276 w 1758"/>
                  <a:gd name="T57" fmla="*/ 260 h 2343"/>
                  <a:gd name="T58" fmla="*/ 1351 w 1758"/>
                  <a:gd name="T59" fmla="*/ 245 h 2343"/>
                  <a:gd name="T60" fmla="*/ 1444 w 1758"/>
                  <a:gd name="T61" fmla="*/ 239 h 2343"/>
                  <a:gd name="T62" fmla="*/ 1545 w 1758"/>
                  <a:gd name="T63" fmla="*/ 256 h 2343"/>
                  <a:gd name="T64" fmla="*/ 1639 w 1758"/>
                  <a:gd name="T65" fmla="*/ 307 h 2343"/>
                  <a:gd name="T66" fmla="*/ 1713 w 1758"/>
                  <a:gd name="T67" fmla="*/ 404 h 2343"/>
                  <a:gd name="T68" fmla="*/ 1753 w 1758"/>
                  <a:gd name="T69" fmla="*/ 558 h 2343"/>
                  <a:gd name="T70" fmla="*/ 1751 w 1758"/>
                  <a:gd name="T71" fmla="*/ 783 h 2343"/>
                  <a:gd name="T72" fmla="*/ 1724 w 1758"/>
                  <a:gd name="T73" fmla="*/ 939 h 2343"/>
                  <a:gd name="T74" fmla="*/ 1699 w 1758"/>
                  <a:gd name="T75" fmla="*/ 1033 h 2343"/>
                  <a:gd name="T76" fmla="*/ 1656 w 1758"/>
                  <a:gd name="T77" fmla="*/ 1193 h 2343"/>
                  <a:gd name="T78" fmla="*/ 1606 w 1758"/>
                  <a:gd name="T79" fmla="*/ 1389 h 2343"/>
                  <a:gd name="T80" fmla="*/ 1561 w 1758"/>
                  <a:gd name="T81" fmla="*/ 1585 h 2343"/>
                  <a:gd name="T82" fmla="*/ 1480 w 1758"/>
                  <a:gd name="T83" fmla="*/ 1804 h 2343"/>
                  <a:gd name="T84" fmla="*/ 1332 w 1758"/>
                  <a:gd name="T85" fmla="*/ 2058 h 2343"/>
                  <a:gd name="T86" fmla="*/ 1146 w 1758"/>
                  <a:gd name="T87" fmla="*/ 2247 h 2343"/>
                  <a:gd name="T88" fmla="*/ 933 w 1758"/>
                  <a:gd name="T89" fmla="*/ 2339 h 2343"/>
                  <a:gd name="T90" fmla="*/ 710 w 1758"/>
                  <a:gd name="T91" fmla="*/ 2307 h 2343"/>
                  <a:gd name="T92" fmla="*/ 510 w 1758"/>
                  <a:gd name="T93" fmla="*/ 2162 h 2343"/>
                  <a:gd name="T94" fmla="*/ 342 w 1758"/>
                  <a:gd name="T95" fmla="*/ 1937 h 2343"/>
                  <a:gd name="T96" fmla="*/ 215 w 1758"/>
                  <a:gd name="T97" fmla="*/ 1661 h 2343"/>
                  <a:gd name="T98" fmla="*/ 174 w 1758"/>
                  <a:gd name="T99" fmla="*/ 1542 h 2343"/>
                  <a:gd name="T100" fmla="*/ 129 w 1758"/>
                  <a:gd name="T101" fmla="*/ 1411 h 2343"/>
                  <a:gd name="T102" fmla="*/ 80 w 1758"/>
                  <a:gd name="T103" fmla="*/ 1224 h 2343"/>
                  <a:gd name="T104" fmla="*/ 48 w 1758"/>
                  <a:gd name="T105" fmla="*/ 1009 h 2343"/>
                  <a:gd name="T106" fmla="*/ 54 w 1758"/>
                  <a:gd name="T107" fmla="*/ 793 h 2343"/>
                  <a:gd name="T108" fmla="*/ 0 w 1758"/>
                  <a:gd name="T109" fmla="*/ 763 h 2343"/>
                  <a:gd name="T110" fmla="*/ 7 w 1758"/>
                  <a:gd name="T111" fmla="*/ 723 h 2343"/>
                  <a:gd name="T112" fmla="*/ 34 w 1758"/>
                  <a:gd name="T113" fmla="*/ 621 h 2343"/>
                  <a:gd name="T114" fmla="*/ 94 w 1758"/>
                  <a:gd name="T115" fmla="*/ 478 h 2343"/>
                  <a:gd name="T116" fmla="*/ 196 w 1758"/>
                  <a:gd name="T117" fmla="*/ 320 h 2343"/>
                  <a:gd name="T118" fmla="*/ 351 w 1758"/>
                  <a:gd name="T119" fmla="*/ 171 h 2343"/>
                  <a:gd name="T120" fmla="*/ 571 w 1758"/>
                  <a:gd name="T121" fmla="*/ 55 h 2343"/>
                  <a:gd name="T122" fmla="*/ 787 w 1758"/>
                  <a:gd name="T123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9" y="1549"/>
                    </a:lnTo>
                    <a:lnTo>
                      <a:pt x="252" y="1596"/>
                    </a:lnTo>
                    <a:lnTo>
                      <a:pt x="270" y="1645"/>
                    </a:lnTo>
                    <a:lnTo>
                      <a:pt x="291" y="1693"/>
                    </a:lnTo>
                    <a:lnTo>
                      <a:pt x="327" y="1752"/>
                    </a:lnTo>
                    <a:lnTo>
                      <a:pt x="367" y="1809"/>
                    </a:lnTo>
                    <a:lnTo>
                      <a:pt x="409" y="1862"/>
                    </a:lnTo>
                    <a:lnTo>
                      <a:pt x="453" y="1911"/>
                    </a:lnTo>
                    <a:lnTo>
                      <a:pt x="500" y="1957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rgbClr val="000F4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8" name="Freeform 48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91 w 1758"/>
                  <a:gd name="T15" fmla="*/ 1693 h 2343"/>
                  <a:gd name="T16" fmla="*/ 453 w 1758"/>
                  <a:gd name="T17" fmla="*/ 1911 h 2343"/>
                  <a:gd name="T18" fmla="*/ 1151 w 1758"/>
                  <a:gd name="T19" fmla="*/ 1834 h 2343"/>
                  <a:gd name="T20" fmla="*/ 1341 w 1758"/>
                  <a:gd name="T21" fmla="*/ 1866 h 2343"/>
                  <a:gd name="T22" fmla="*/ 1492 w 1758"/>
                  <a:gd name="T23" fmla="*/ 1612 h 2343"/>
                  <a:gd name="T24" fmla="*/ 1554 w 1758"/>
                  <a:gd name="T25" fmla="*/ 1360 h 2343"/>
                  <a:gd name="T26" fmla="*/ 1567 w 1758"/>
                  <a:gd name="T27" fmla="*/ 1202 h 2343"/>
                  <a:gd name="T28" fmla="*/ 1564 w 1758"/>
                  <a:gd name="T29" fmla="*/ 1037 h 2343"/>
                  <a:gd name="T30" fmla="*/ 1530 w 1758"/>
                  <a:gd name="T31" fmla="*/ 879 h 2343"/>
                  <a:gd name="T32" fmla="*/ 1457 w 1758"/>
                  <a:gd name="T33" fmla="*/ 744 h 2343"/>
                  <a:gd name="T34" fmla="*/ 1331 w 1758"/>
                  <a:gd name="T35" fmla="*/ 644 h 2343"/>
                  <a:gd name="T36" fmla="*/ 1143 w 1758"/>
                  <a:gd name="T37" fmla="*/ 599 h 2343"/>
                  <a:gd name="T38" fmla="*/ 1013 w 1758"/>
                  <a:gd name="T39" fmla="*/ 598 h 2343"/>
                  <a:gd name="T40" fmla="*/ 962 w 1758"/>
                  <a:gd name="T41" fmla="*/ 588 h 2343"/>
                  <a:gd name="T42" fmla="*/ 872 w 1758"/>
                  <a:gd name="T43" fmla="*/ 579 h 2343"/>
                  <a:gd name="T44" fmla="*/ 840 w 1758"/>
                  <a:gd name="T45" fmla="*/ 2 h 2343"/>
                  <a:gd name="T46" fmla="*/ 941 w 1758"/>
                  <a:gd name="T47" fmla="*/ 11 h 2343"/>
                  <a:gd name="T48" fmla="*/ 1058 w 1758"/>
                  <a:gd name="T49" fmla="*/ 42 h 2343"/>
                  <a:gd name="T50" fmla="*/ 1162 w 1758"/>
                  <a:gd name="T51" fmla="*/ 104 h 2343"/>
                  <a:gd name="T52" fmla="*/ 1221 w 1758"/>
                  <a:gd name="T53" fmla="*/ 206 h 2343"/>
                  <a:gd name="T54" fmla="*/ 1231 w 1758"/>
                  <a:gd name="T55" fmla="*/ 274 h 2343"/>
                  <a:gd name="T56" fmla="*/ 1276 w 1758"/>
                  <a:gd name="T57" fmla="*/ 260 h 2343"/>
                  <a:gd name="T58" fmla="*/ 1351 w 1758"/>
                  <a:gd name="T59" fmla="*/ 245 h 2343"/>
                  <a:gd name="T60" fmla="*/ 1444 w 1758"/>
                  <a:gd name="T61" fmla="*/ 239 h 2343"/>
                  <a:gd name="T62" fmla="*/ 1545 w 1758"/>
                  <a:gd name="T63" fmla="*/ 256 h 2343"/>
                  <a:gd name="T64" fmla="*/ 1639 w 1758"/>
                  <a:gd name="T65" fmla="*/ 307 h 2343"/>
                  <a:gd name="T66" fmla="*/ 1713 w 1758"/>
                  <a:gd name="T67" fmla="*/ 404 h 2343"/>
                  <a:gd name="T68" fmla="*/ 1753 w 1758"/>
                  <a:gd name="T69" fmla="*/ 558 h 2343"/>
                  <a:gd name="T70" fmla="*/ 1751 w 1758"/>
                  <a:gd name="T71" fmla="*/ 783 h 2343"/>
                  <a:gd name="T72" fmla="*/ 1724 w 1758"/>
                  <a:gd name="T73" fmla="*/ 939 h 2343"/>
                  <a:gd name="T74" fmla="*/ 1699 w 1758"/>
                  <a:gd name="T75" fmla="*/ 1033 h 2343"/>
                  <a:gd name="T76" fmla="*/ 1656 w 1758"/>
                  <a:gd name="T77" fmla="*/ 1193 h 2343"/>
                  <a:gd name="T78" fmla="*/ 1606 w 1758"/>
                  <a:gd name="T79" fmla="*/ 1389 h 2343"/>
                  <a:gd name="T80" fmla="*/ 1561 w 1758"/>
                  <a:gd name="T81" fmla="*/ 1585 h 2343"/>
                  <a:gd name="T82" fmla="*/ 1480 w 1758"/>
                  <a:gd name="T83" fmla="*/ 1804 h 2343"/>
                  <a:gd name="T84" fmla="*/ 1332 w 1758"/>
                  <a:gd name="T85" fmla="*/ 2058 h 2343"/>
                  <a:gd name="T86" fmla="*/ 1146 w 1758"/>
                  <a:gd name="T87" fmla="*/ 2247 h 2343"/>
                  <a:gd name="T88" fmla="*/ 933 w 1758"/>
                  <a:gd name="T89" fmla="*/ 2339 h 2343"/>
                  <a:gd name="T90" fmla="*/ 710 w 1758"/>
                  <a:gd name="T91" fmla="*/ 2307 h 2343"/>
                  <a:gd name="T92" fmla="*/ 510 w 1758"/>
                  <a:gd name="T93" fmla="*/ 2162 h 2343"/>
                  <a:gd name="T94" fmla="*/ 342 w 1758"/>
                  <a:gd name="T95" fmla="*/ 1937 h 2343"/>
                  <a:gd name="T96" fmla="*/ 215 w 1758"/>
                  <a:gd name="T97" fmla="*/ 1661 h 2343"/>
                  <a:gd name="T98" fmla="*/ 174 w 1758"/>
                  <a:gd name="T99" fmla="*/ 1542 h 2343"/>
                  <a:gd name="T100" fmla="*/ 129 w 1758"/>
                  <a:gd name="T101" fmla="*/ 1411 h 2343"/>
                  <a:gd name="T102" fmla="*/ 80 w 1758"/>
                  <a:gd name="T103" fmla="*/ 1224 h 2343"/>
                  <a:gd name="T104" fmla="*/ 48 w 1758"/>
                  <a:gd name="T105" fmla="*/ 1009 h 2343"/>
                  <a:gd name="T106" fmla="*/ 54 w 1758"/>
                  <a:gd name="T107" fmla="*/ 793 h 2343"/>
                  <a:gd name="T108" fmla="*/ 0 w 1758"/>
                  <a:gd name="T109" fmla="*/ 763 h 2343"/>
                  <a:gd name="T110" fmla="*/ 7 w 1758"/>
                  <a:gd name="T111" fmla="*/ 723 h 2343"/>
                  <a:gd name="T112" fmla="*/ 34 w 1758"/>
                  <a:gd name="T113" fmla="*/ 621 h 2343"/>
                  <a:gd name="T114" fmla="*/ 94 w 1758"/>
                  <a:gd name="T115" fmla="*/ 478 h 2343"/>
                  <a:gd name="T116" fmla="*/ 196 w 1758"/>
                  <a:gd name="T117" fmla="*/ 320 h 2343"/>
                  <a:gd name="T118" fmla="*/ 351 w 1758"/>
                  <a:gd name="T119" fmla="*/ 171 h 2343"/>
                  <a:gd name="T120" fmla="*/ 571 w 1758"/>
                  <a:gd name="T121" fmla="*/ 55 h 2343"/>
                  <a:gd name="T122" fmla="*/ 787 w 1758"/>
                  <a:gd name="T123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9" y="1549"/>
                    </a:lnTo>
                    <a:lnTo>
                      <a:pt x="252" y="1596"/>
                    </a:lnTo>
                    <a:lnTo>
                      <a:pt x="270" y="1645"/>
                    </a:lnTo>
                    <a:lnTo>
                      <a:pt x="291" y="1693"/>
                    </a:lnTo>
                    <a:lnTo>
                      <a:pt x="327" y="1752"/>
                    </a:lnTo>
                    <a:lnTo>
                      <a:pt x="367" y="1809"/>
                    </a:lnTo>
                    <a:lnTo>
                      <a:pt x="409" y="1862"/>
                    </a:lnTo>
                    <a:lnTo>
                      <a:pt x="453" y="1911"/>
                    </a:lnTo>
                    <a:lnTo>
                      <a:pt x="500" y="1957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rgbClr val="000F4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9" name="Freeform 49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84 w 1758"/>
                  <a:gd name="T15" fmla="*/ 1690 h 2343"/>
                  <a:gd name="T16" fmla="*/ 401 w 1758"/>
                  <a:gd name="T17" fmla="*/ 1856 h 2343"/>
                  <a:gd name="T18" fmla="*/ 524 w 1758"/>
                  <a:gd name="T19" fmla="*/ 1978 h 2343"/>
                  <a:gd name="T20" fmla="*/ 1203 w 1758"/>
                  <a:gd name="T21" fmla="*/ 1994 h 2343"/>
                  <a:gd name="T22" fmla="*/ 1386 w 1758"/>
                  <a:gd name="T23" fmla="*/ 1807 h 2343"/>
                  <a:gd name="T24" fmla="*/ 1516 w 1758"/>
                  <a:gd name="T25" fmla="*/ 1542 h 2343"/>
                  <a:gd name="T26" fmla="*/ 1558 w 1758"/>
                  <a:gd name="T27" fmla="*/ 1322 h 2343"/>
                  <a:gd name="T28" fmla="*/ 1569 w 1758"/>
                  <a:gd name="T29" fmla="*/ 1161 h 2343"/>
                  <a:gd name="T30" fmla="*/ 1558 w 1758"/>
                  <a:gd name="T31" fmla="*/ 996 h 2343"/>
                  <a:gd name="T32" fmla="*/ 1516 w 1758"/>
                  <a:gd name="T33" fmla="*/ 843 h 2343"/>
                  <a:gd name="T34" fmla="*/ 1431 w 1758"/>
                  <a:gd name="T35" fmla="*/ 714 h 2343"/>
                  <a:gd name="T36" fmla="*/ 1290 w 1758"/>
                  <a:gd name="T37" fmla="*/ 628 h 2343"/>
                  <a:gd name="T38" fmla="*/ 1083 w 1758"/>
                  <a:gd name="T39" fmla="*/ 596 h 2343"/>
                  <a:gd name="T40" fmla="*/ 1005 w 1758"/>
                  <a:gd name="T41" fmla="*/ 595 h 2343"/>
                  <a:gd name="T42" fmla="*/ 943 w 1758"/>
                  <a:gd name="T43" fmla="*/ 585 h 2343"/>
                  <a:gd name="T44" fmla="*/ 845 w 1758"/>
                  <a:gd name="T45" fmla="*/ 578 h 2343"/>
                  <a:gd name="T46" fmla="*/ 862 w 1758"/>
                  <a:gd name="T47" fmla="*/ 3 h 2343"/>
                  <a:gd name="T48" fmla="*/ 970 w 1758"/>
                  <a:gd name="T49" fmla="*/ 18 h 2343"/>
                  <a:gd name="T50" fmla="*/ 1087 w 1758"/>
                  <a:gd name="T51" fmla="*/ 55 h 2343"/>
                  <a:gd name="T52" fmla="*/ 1182 w 1758"/>
                  <a:gd name="T53" fmla="*/ 125 h 2343"/>
                  <a:gd name="T54" fmla="*/ 1226 w 1758"/>
                  <a:gd name="T55" fmla="*/ 239 h 2343"/>
                  <a:gd name="T56" fmla="*/ 1239 w 1758"/>
                  <a:gd name="T57" fmla="*/ 271 h 2343"/>
                  <a:gd name="T58" fmla="*/ 1292 w 1758"/>
                  <a:gd name="T59" fmla="*/ 256 h 2343"/>
                  <a:gd name="T60" fmla="*/ 1373 w 1758"/>
                  <a:gd name="T61" fmla="*/ 243 h 2343"/>
                  <a:gd name="T62" fmla="*/ 1470 w 1758"/>
                  <a:gd name="T63" fmla="*/ 242 h 2343"/>
                  <a:gd name="T64" fmla="*/ 1570 w 1758"/>
                  <a:gd name="T65" fmla="*/ 265 h 2343"/>
                  <a:gd name="T66" fmla="*/ 1660 w 1758"/>
                  <a:gd name="T67" fmla="*/ 327 h 2343"/>
                  <a:gd name="T68" fmla="*/ 1726 w 1758"/>
                  <a:gd name="T69" fmla="*/ 436 h 2343"/>
                  <a:gd name="T70" fmla="*/ 1758 w 1758"/>
                  <a:gd name="T71" fmla="*/ 607 h 2343"/>
                  <a:gd name="T72" fmla="*/ 1741 w 1758"/>
                  <a:gd name="T73" fmla="*/ 851 h 2343"/>
                  <a:gd name="T74" fmla="*/ 1720 w 1758"/>
                  <a:gd name="T75" fmla="*/ 955 h 2343"/>
                  <a:gd name="T76" fmla="*/ 1689 w 1758"/>
                  <a:gd name="T77" fmla="*/ 1068 h 2343"/>
                  <a:gd name="T78" fmla="*/ 1645 w 1758"/>
                  <a:gd name="T79" fmla="*/ 1240 h 2343"/>
                  <a:gd name="T80" fmla="*/ 1593 w 1758"/>
                  <a:gd name="T81" fmla="*/ 1441 h 2343"/>
                  <a:gd name="T82" fmla="*/ 1561 w 1758"/>
                  <a:gd name="T83" fmla="*/ 1587 h 2343"/>
                  <a:gd name="T84" fmla="*/ 1447 w 1758"/>
                  <a:gd name="T85" fmla="*/ 1872 h 2343"/>
                  <a:gd name="T86" fmla="*/ 1289 w 1758"/>
                  <a:gd name="T87" fmla="*/ 2113 h 2343"/>
                  <a:gd name="T88" fmla="*/ 1096 w 1758"/>
                  <a:gd name="T89" fmla="*/ 2281 h 2343"/>
                  <a:gd name="T90" fmla="*/ 875 w 1758"/>
                  <a:gd name="T91" fmla="*/ 2343 h 2343"/>
                  <a:gd name="T92" fmla="*/ 657 w 1758"/>
                  <a:gd name="T93" fmla="*/ 2281 h 2343"/>
                  <a:gd name="T94" fmla="*/ 464 w 1758"/>
                  <a:gd name="T95" fmla="*/ 2113 h 2343"/>
                  <a:gd name="T96" fmla="*/ 307 w 1758"/>
                  <a:gd name="T97" fmla="*/ 1872 h 2343"/>
                  <a:gd name="T98" fmla="*/ 192 w 1758"/>
                  <a:gd name="T99" fmla="*/ 1587 h 2343"/>
                  <a:gd name="T100" fmla="*/ 165 w 1758"/>
                  <a:gd name="T101" fmla="*/ 1516 h 2343"/>
                  <a:gd name="T102" fmla="*/ 117 w 1758"/>
                  <a:gd name="T103" fmla="*/ 1368 h 2343"/>
                  <a:gd name="T104" fmla="*/ 70 w 1758"/>
                  <a:gd name="T105" fmla="*/ 1173 h 2343"/>
                  <a:gd name="T106" fmla="*/ 46 w 1758"/>
                  <a:gd name="T107" fmla="*/ 955 h 2343"/>
                  <a:gd name="T108" fmla="*/ 64 w 1758"/>
                  <a:gd name="T109" fmla="*/ 743 h 2343"/>
                  <a:gd name="T110" fmla="*/ 0 w 1758"/>
                  <a:gd name="T111" fmla="*/ 760 h 2343"/>
                  <a:gd name="T112" fmla="*/ 11 w 1758"/>
                  <a:gd name="T113" fmla="*/ 702 h 2343"/>
                  <a:gd name="T114" fmla="*/ 46 w 1758"/>
                  <a:gd name="T115" fmla="*/ 588 h 2343"/>
                  <a:gd name="T116" fmla="*/ 116 w 1758"/>
                  <a:gd name="T117" fmla="*/ 440 h 2343"/>
                  <a:gd name="T118" fmla="*/ 229 w 1758"/>
                  <a:gd name="T119" fmla="*/ 282 h 2343"/>
                  <a:gd name="T120" fmla="*/ 400 w 1758"/>
                  <a:gd name="T121" fmla="*/ 138 h 2343"/>
                  <a:gd name="T122" fmla="*/ 637 w 1758"/>
                  <a:gd name="T123" fmla="*/ 32 h 2343"/>
                  <a:gd name="T124" fmla="*/ 794 w 1758"/>
                  <a:gd name="T125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5" y="1552"/>
                    </a:lnTo>
                    <a:lnTo>
                      <a:pt x="246" y="1599"/>
                    </a:lnTo>
                    <a:lnTo>
                      <a:pt x="262" y="1644"/>
                    </a:lnTo>
                    <a:lnTo>
                      <a:pt x="284" y="1690"/>
                    </a:lnTo>
                    <a:lnTo>
                      <a:pt x="309" y="1734"/>
                    </a:lnTo>
                    <a:lnTo>
                      <a:pt x="339" y="1777"/>
                    </a:lnTo>
                    <a:lnTo>
                      <a:pt x="369" y="1818"/>
                    </a:lnTo>
                    <a:lnTo>
                      <a:pt x="401" y="1856"/>
                    </a:lnTo>
                    <a:lnTo>
                      <a:pt x="433" y="1892"/>
                    </a:lnTo>
                    <a:lnTo>
                      <a:pt x="465" y="1924"/>
                    </a:lnTo>
                    <a:lnTo>
                      <a:pt x="496" y="1953"/>
                    </a:lnTo>
                    <a:lnTo>
                      <a:pt x="524" y="1978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0" name="Freeform 50"/>
              <p:cNvSpPr>
                <a:spLocks/>
              </p:cNvSpPr>
              <p:nvPr/>
            </p:nvSpPr>
            <p:spPr bwMode="auto">
              <a:xfrm>
                <a:off x="917575" y="-2244725"/>
                <a:ext cx="711200" cy="163513"/>
              </a:xfrm>
              <a:custGeom>
                <a:avLst/>
                <a:gdLst>
                  <a:gd name="T0" fmla="*/ 0 w 448"/>
                  <a:gd name="T1" fmla="*/ 0 h 103"/>
                  <a:gd name="T2" fmla="*/ 448 w 448"/>
                  <a:gd name="T3" fmla="*/ 0 h 103"/>
                  <a:gd name="T4" fmla="*/ 418 w 448"/>
                  <a:gd name="T5" fmla="*/ 30 h 103"/>
                  <a:gd name="T6" fmla="*/ 385 w 448"/>
                  <a:gd name="T7" fmla="*/ 54 h 103"/>
                  <a:gd name="T8" fmla="*/ 349 w 448"/>
                  <a:gd name="T9" fmla="*/ 75 h 103"/>
                  <a:gd name="T10" fmla="*/ 310 w 448"/>
                  <a:gd name="T11" fmla="*/ 90 h 103"/>
                  <a:gd name="T12" fmla="*/ 268 w 448"/>
                  <a:gd name="T13" fmla="*/ 99 h 103"/>
                  <a:gd name="T14" fmla="*/ 222 w 448"/>
                  <a:gd name="T15" fmla="*/ 103 h 103"/>
                  <a:gd name="T16" fmla="*/ 179 w 448"/>
                  <a:gd name="T17" fmla="*/ 99 h 103"/>
                  <a:gd name="T18" fmla="*/ 137 w 448"/>
                  <a:gd name="T19" fmla="*/ 89 h 103"/>
                  <a:gd name="T20" fmla="*/ 98 w 448"/>
                  <a:gd name="T21" fmla="*/ 74 h 103"/>
                  <a:gd name="T22" fmla="*/ 62 w 448"/>
                  <a:gd name="T23" fmla="*/ 53 h 103"/>
                  <a:gd name="T24" fmla="*/ 29 w 448"/>
                  <a:gd name="T25" fmla="*/ 29 h 103"/>
                  <a:gd name="T26" fmla="*/ 0 w 448"/>
                  <a:gd name="T27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8" h="103">
                    <a:moveTo>
                      <a:pt x="0" y="0"/>
                    </a:moveTo>
                    <a:lnTo>
                      <a:pt x="448" y="0"/>
                    </a:lnTo>
                    <a:lnTo>
                      <a:pt x="418" y="30"/>
                    </a:lnTo>
                    <a:lnTo>
                      <a:pt x="385" y="54"/>
                    </a:lnTo>
                    <a:lnTo>
                      <a:pt x="349" y="75"/>
                    </a:lnTo>
                    <a:lnTo>
                      <a:pt x="310" y="90"/>
                    </a:lnTo>
                    <a:lnTo>
                      <a:pt x="268" y="99"/>
                    </a:lnTo>
                    <a:lnTo>
                      <a:pt x="222" y="103"/>
                    </a:lnTo>
                    <a:lnTo>
                      <a:pt x="179" y="99"/>
                    </a:lnTo>
                    <a:lnTo>
                      <a:pt x="137" y="89"/>
                    </a:lnTo>
                    <a:lnTo>
                      <a:pt x="98" y="74"/>
                    </a:lnTo>
                    <a:lnTo>
                      <a:pt x="62" y="53"/>
                    </a:lnTo>
                    <a:lnTo>
                      <a:pt x="29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98BDC51A-ABDC-4071-BE37-601AA2C2A834}"/>
              </a:ext>
            </a:extLst>
          </p:cNvPr>
          <p:cNvGrpSpPr/>
          <p:nvPr userDrawn="1"/>
        </p:nvGrpSpPr>
        <p:grpSpPr>
          <a:xfrm>
            <a:off x="9791255" y="1756149"/>
            <a:ext cx="1305752" cy="1160263"/>
            <a:chOff x="9463025" y="1772816"/>
            <a:chExt cx="1177418" cy="1177418"/>
          </a:xfrm>
        </p:grpSpPr>
        <p:sp>
          <p:nvSpPr>
            <p:cNvPr id="82" name="Oval 81"/>
            <p:cNvSpPr/>
            <p:nvPr/>
          </p:nvSpPr>
          <p:spPr>
            <a:xfrm>
              <a:off x="9463025" y="177281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21"/>
            <p:cNvSpPr>
              <a:spLocks/>
            </p:cNvSpPr>
            <p:nvPr/>
          </p:nvSpPr>
          <p:spPr bwMode="auto">
            <a:xfrm>
              <a:off x="9550949" y="1860740"/>
              <a:ext cx="1001570" cy="1001570"/>
            </a:xfrm>
            <a:custGeom>
              <a:avLst/>
              <a:gdLst>
                <a:gd name="T0" fmla="*/ 2140 w 4033"/>
                <a:gd name="T1" fmla="*/ 3 h 4033"/>
                <a:gd name="T2" fmla="*/ 2380 w 4033"/>
                <a:gd name="T3" fmla="*/ 33 h 4033"/>
                <a:gd name="T4" fmla="*/ 2609 w 4033"/>
                <a:gd name="T5" fmla="*/ 88 h 4033"/>
                <a:gd name="T6" fmla="*/ 2828 w 4033"/>
                <a:gd name="T7" fmla="*/ 170 h 4033"/>
                <a:gd name="T8" fmla="*/ 3035 w 4033"/>
                <a:gd name="T9" fmla="*/ 275 h 4033"/>
                <a:gd name="T10" fmla="*/ 3227 w 4033"/>
                <a:gd name="T11" fmla="*/ 403 h 4033"/>
                <a:gd name="T12" fmla="*/ 3401 w 4033"/>
                <a:gd name="T13" fmla="*/ 551 h 4033"/>
                <a:gd name="T14" fmla="*/ 3559 w 4033"/>
                <a:gd name="T15" fmla="*/ 717 h 4033"/>
                <a:gd name="T16" fmla="*/ 3697 w 4033"/>
                <a:gd name="T17" fmla="*/ 901 h 4033"/>
                <a:gd name="T18" fmla="*/ 3813 w 4033"/>
                <a:gd name="T19" fmla="*/ 1100 h 4033"/>
                <a:gd name="T20" fmla="*/ 3907 w 4033"/>
                <a:gd name="T21" fmla="*/ 1312 h 4033"/>
                <a:gd name="T22" fmla="*/ 3976 w 4033"/>
                <a:gd name="T23" fmla="*/ 1537 h 4033"/>
                <a:gd name="T24" fmla="*/ 4019 w 4033"/>
                <a:gd name="T25" fmla="*/ 1773 h 4033"/>
                <a:gd name="T26" fmla="*/ 4033 w 4033"/>
                <a:gd name="T27" fmla="*/ 2016 h 4033"/>
                <a:gd name="T28" fmla="*/ 4019 w 4033"/>
                <a:gd name="T29" fmla="*/ 2260 h 4033"/>
                <a:gd name="T30" fmla="*/ 3976 w 4033"/>
                <a:gd name="T31" fmla="*/ 2495 h 4033"/>
                <a:gd name="T32" fmla="*/ 3907 w 4033"/>
                <a:gd name="T33" fmla="*/ 2720 h 4033"/>
                <a:gd name="T34" fmla="*/ 3813 w 4033"/>
                <a:gd name="T35" fmla="*/ 2933 h 4033"/>
                <a:gd name="T36" fmla="*/ 3697 w 4033"/>
                <a:gd name="T37" fmla="*/ 3132 h 4033"/>
                <a:gd name="T38" fmla="*/ 3559 w 4033"/>
                <a:gd name="T39" fmla="*/ 3316 h 4033"/>
                <a:gd name="T40" fmla="*/ 3401 w 4033"/>
                <a:gd name="T41" fmla="*/ 3482 h 4033"/>
                <a:gd name="T42" fmla="*/ 3227 w 4033"/>
                <a:gd name="T43" fmla="*/ 3630 h 4033"/>
                <a:gd name="T44" fmla="*/ 3035 w 4033"/>
                <a:gd name="T45" fmla="*/ 3758 h 4033"/>
                <a:gd name="T46" fmla="*/ 2828 w 4033"/>
                <a:gd name="T47" fmla="*/ 3863 h 4033"/>
                <a:gd name="T48" fmla="*/ 2609 w 4033"/>
                <a:gd name="T49" fmla="*/ 3945 h 4033"/>
                <a:gd name="T50" fmla="*/ 2380 w 4033"/>
                <a:gd name="T51" fmla="*/ 4000 h 4033"/>
                <a:gd name="T52" fmla="*/ 2140 w 4033"/>
                <a:gd name="T53" fmla="*/ 4029 h 4033"/>
                <a:gd name="T54" fmla="*/ 1893 w 4033"/>
                <a:gd name="T55" fmla="*/ 4029 h 4033"/>
                <a:gd name="T56" fmla="*/ 1654 w 4033"/>
                <a:gd name="T57" fmla="*/ 4000 h 4033"/>
                <a:gd name="T58" fmla="*/ 1424 w 4033"/>
                <a:gd name="T59" fmla="*/ 3945 h 4033"/>
                <a:gd name="T60" fmla="*/ 1205 w 4033"/>
                <a:gd name="T61" fmla="*/ 3863 h 4033"/>
                <a:gd name="T62" fmla="*/ 999 w 4033"/>
                <a:gd name="T63" fmla="*/ 3758 h 4033"/>
                <a:gd name="T64" fmla="*/ 807 w 4033"/>
                <a:gd name="T65" fmla="*/ 3630 h 4033"/>
                <a:gd name="T66" fmla="*/ 632 w 4033"/>
                <a:gd name="T67" fmla="*/ 3482 h 4033"/>
                <a:gd name="T68" fmla="*/ 474 w 4033"/>
                <a:gd name="T69" fmla="*/ 3316 h 4033"/>
                <a:gd name="T70" fmla="*/ 336 w 4033"/>
                <a:gd name="T71" fmla="*/ 3132 h 4033"/>
                <a:gd name="T72" fmla="*/ 220 w 4033"/>
                <a:gd name="T73" fmla="*/ 2933 h 4033"/>
                <a:gd name="T74" fmla="*/ 126 w 4033"/>
                <a:gd name="T75" fmla="*/ 2720 h 4033"/>
                <a:gd name="T76" fmla="*/ 57 w 4033"/>
                <a:gd name="T77" fmla="*/ 2495 h 4033"/>
                <a:gd name="T78" fmla="*/ 15 w 4033"/>
                <a:gd name="T79" fmla="*/ 2260 h 4033"/>
                <a:gd name="T80" fmla="*/ 0 w 4033"/>
                <a:gd name="T81" fmla="*/ 2016 h 4033"/>
                <a:gd name="T82" fmla="*/ 15 w 4033"/>
                <a:gd name="T83" fmla="*/ 1773 h 4033"/>
                <a:gd name="T84" fmla="*/ 57 w 4033"/>
                <a:gd name="T85" fmla="*/ 1537 h 4033"/>
                <a:gd name="T86" fmla="*/ 126 w 4033"/>
                <a:gd name="T87" fmla="*/ 1312 h 4033"/>
                <a:gd name="T88" fmla="*/ 220 w 4033"/>
                <a:gd name="T89" fmla="*/ 1100 h 4033"/>
                <a:gd name="T90" fmla="*/ 336 w 4033"/>
                <a:gd name="T91" fmla="*/ 901 h 4033"/>
                <a:gd name="T92" fmla="*/ 474 w 4033"/>
                <a:gd name="T93" fmla="*/ 717 h 4033"/>
                <a:gd name="T94" fmla="*/ 632 w 4033"/>
                <a:gd name="T95" fmla="*/ 551 h 4033"/>
                <a:gd name="T96" fmla="*/ 807 w 4033"/>
                <a:gd name="T97" fmla="*/ 403 h 4033"/>
                <a:gd name="T98" fmla="*/ 999 w 4033"/>
                <a:gd name="T99" fmla="*/ 275 h 4033"/>
                <a:gd name="T100" fmla="*/ 1205 w 4033"/>
                <a:gd name="T101" fmla="*/ 170 h 4033"/>
                <a:gd name="T102" fmla="*/ 1424 w 4033"/>
                <a:gd name="T103" fmla="*/ 88 h 4033"/>
                <a:gd name="T104" fmla="*/ 1654 w 4033"/>
                <a:gd name="T105" fmla="*/ 33 h 4033"/>
                <a:gd name="T106" fmla="*/ 1893 w 4033"/>
                <a:gd name="T107" fmla="*/ 3 h 4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33" h="4033">
                  <a:moveTo>
                    <a:pt x="2015" y="0"/>
                  </a:moveTo>
                  <a:lnTo>
                    <a:pt x="2140" y="3"/>
                  </a:lnTo>
                  <a:lnTo>
                    <a:pt x="2260" y="14"/>
                  </a:lnTo>
                  <a:lnTo>
                    <a:pt x="2380" y="33"/>
                  </a:lnTo>
                  <a:lnTo>
                    <a:pt x="2496" y="57"/>
                  </a:lnTo>
                  <a:lnTo>
                    <a:pt x="2609" y="88"/>
                  </a:lnTo>
                  <a:lnTo>
                    <a:pt x="2721" y="126"/>
                  </a:lnTo>
                  <a:lnTo>
                    <a:pt x="2828" y="170"/>
                  </a:lnTo>
                  <a:lnTo>
                    <a:pt x="2933" y="220"/>
                  </a:lnTo>
                  <a:lnTo>
                    <a:pt x="3035" y="275"/>
                  </a:lnTo>
                  <a:lnTo>
                    <a:pt x="3132" y="336"/>
                  </a:lnTo>
                  <a:lnTo>
                    <a:pt x="3227" y="403"/>
                  </a:lnTo>
                  <a:lnTo>
                    <a:pt x="3316" y="474"/>
                  </a:lnTo>
                  <a:lnTo>
                    <a:pt x="3401" y="551"/>
                  </a:lnTo>
                  <a:lnTo>
                    <a:pt x="3482" y="632"/>
                  </a:lnTo>
                  <a:lnTo>
                    <a:pt x="3559" y="717"/>
                  </a:lnTo>
                  <a:lnTo>
                    <a:pt x="3630" y="806"/>
                  </a:lnTo>
                  <a:lnTo>
                    <a:pt x="3697" y="901"/>
                  </a:lnTo>
                  <a:lnTo>
                    <a:pt x="3758" y="998"/>
                  </a:lnTo>
                  <a:lnTo>
                    <a:pt x="3813" y="1100"/>
                  </a:lnTo>
                  <a:lnTo>
                    <a:pt x="3863" y="1205"/>
                  </a:lnTo>
                  <a:lnTo>
                    <a:pt x="3907" y="1312"/>
                  </a:lnTo>
                  <a:lnTo>
                    <a:pt x="3945" y="1424"/>
                  </a:lnTo>
                  <a:lnTo>
                    <a:pt x="3976" y="1537"/>
                  </a:lnTo>
                  <a:lnTo>
                    <a:pt x="4000" y="1653"/>
                  </a:lnTo>
                  <a:lnTo>
                    <a:pt x="4019" y="1773"/>
                  </a:lnTo>
                  <a:lnTo>
                    <a:pt x="4030" y="1893"/>
                  </a:lnTo>
                  <a:lnTo>
                    <a:pt x="4033" y="2016"/>
                  </a:lnTo>
                  <a:lnTo>
                    <a:pt x="4030" y="2140"/>
                  </a:lnTo>
                  <a:lnTo>
                    <a:pt x="4019" y="2260"/>
                  </a:lnTo>
                  <a:lnTo>
                    <a:pt x="4000" y="2379"/>
                  </a:lnTo>
                  <a:lnTo>
                    <a:pt x="3976" y="2495"/>
                  </a:lnTo>
                  <a:lnTo>
                    <a:pt x="3945" y="2609"/>
                  </a:lnTo>
                  <a:lnTo>
                    <a:pt x="3907" y="2720"/>
                  </a:lnTo>
                  <a:lnTo>
                    <a:pt x="3863" y="2828"/>
                  </a:lnTo>
                  <a:lnTo>
                    <a:pt x="3813" y="2933"/>
                  </a:lnTo>
                  <a:lnTo>
                    <a:pt x="3758" y="3034"/>
                  </a:lnTo>
                  <a:lnTo>
                    <a:pt x="3697" y="3132"/>
                  </a:lnTo>
                  <a:lnTo>
                    <a:pt x="3630" y="3226"/>
                  </a:lnTo>
                  <a:lnTo>
                    <a:pt x="3559" y="3316"/>
                  </a:lnTo>
                  <a:lnTo>
                    <a:pt x="3482" y="3401"/>
                  </a:lnTo>
                  <a:lnTo>
                    <a:pt x="3401" y="3482"/>
                  </a:lnTo>
                  <a:lnTo>
                    <a:pt x="3316" y="3559"/>
                  </a:lnTo>
                  <a:lnTo>
                    <a:pt x="3227" y="3630"/>
                  </a:lnTo>
                  <a:lnTo>
                    <a:pt x="3132" y="3697"/>
                  </a:lnTo>
                  <a:lnTo>
                    <a:pt x="3035" y="3758"/>
                  </a:lnTo>
                  <a:lnTo>
                    <a:pt x="2933" y="3813"/>
                  </a:lnTo>
                  <a:lnTo>
                    <a:pt x="2828" y="3863"/>
                  </a:lnTo>
                  <a:lnTo>
                    <a:pt x="2721" y="3907"/>
                  </a:lnTo>
                  <a:lnTo>
                    <a:pt x="2609" y="3945"/>
                  </a:lnTo>
                  <a:lnTo>
                    <a:pt x="2496" y="3976"/>
                  </a:lnTo>
                  <a:lnTo>
                    <a:pt x="2380" y="4000"/>
                  </a:lnTo>
                  <a:lnTo>
                    <a:pt x="2260" y="4018"/>
                  </a:lnTo>
                  <a:lnTo>
                    <a:pt x="2140" y="4029"/>
                  </a:lnTo>
                  <a:lnTo>
                    <a:pt x="2015" y="4033"/>
                  </a:lnTo>
                  <a:lnTo>
                    <a:pt x="1893" y="4029"/>
                  </a:lnTo>
                  <a:lnTo>
                    <a:pt x="1773" y="4018"/>
                  </a:lnTo>
                  <a:lnTo>
                    <a:pt x="1654" y="4000"/>
                  </a:lnTo>
                  <a:lnTo>
                    <a:pt x="1538" y="3976"/>
                  </a:lnTo>
                  <a:lnTo>
                    <a:pt x="1424" y="3945"/>
                  </a:lnTo>
                  <a:lnTo>
                    <a:pt x="1313" y="3907"/>
                  </a:lnTo>
                  <a:lnTo>
                    <a:pt x="1205" y="3863"/>
                  </a:lnTo>
                  <a:lnTo>
                    <a:pt x="1100" y="3813"/>
                  </a:lnTo>
                  <a:lnTo>
                    <a:pt x="999" y="3758"/>
                  </a:lnTo>
                  <a:lnTo>
                    <a:pt x="901" y="3697"/>
                  </a:lnTo>
                  <a:lnTo>
                    <a:pt x="807" y="3630"/>
                  </a:lnTo>
                  <a:lnTo>
                    <a:pt x="717" y="3559"/>
                  </a:lnTo>
                  <a:lnTo>
                    <a:pt x="632" y="3482"/>
                  </a:lnTo>
                  <a:lnTo>
                    <a:pt x="551" y="3401"/>
                  </a:lnTo>
                  <a:lnTo>
                    <a:pt x="474" y="3316"/>
                  </a:lnTo>
                  <a:lnTo>
                    <a:pt x="403" y="3226"/>
                  </a:lnTo>
                  <a:lnTo>
                    <a:pt x="336" y="3132"/>
                  </a:lnTo>
                  <a:lnTo>
                    <a:pt x="275" y="3034"/>
                  </a:lnTo>
                  <a:lnTo>
                    <a:pt x="220" y="2933"/>
                  </a:lnTo>
                  <a:lnTo>
                    <a:pt x="170" y="2828"/>
                  </a:lnTo>
                  <a:lnTo>
                    <a:pt x="126" y="2720"/>
                  </a:lnTo>
                  <a:lnTo>
                    <a:pt x="88" y="2609"/>
                  </a:lnTo>
                  <a:lnTo>
                    <a:pt x="57" y="2495"/>
                  </a:lnTo>
                  <a:lnTo>
                    <a:pt x="33" y="2379"/>
                  </a:lnTo>
                  <a:lnTo>
                    <a:pt x="15" y="2260"/>
                  </a:lnTo>
                  <a:lnTo>
                    <a:pt x="4" y="2140"/>
                  </a:lnTo>
                  <a:lnTo>
                    <a:pt x="0" y="2016"/>
                  </a:lnTo>
                  <a:lnTo>
                    <a:pt x="4" y="1893"/>
                  </a:lnTo>
                  <a:lnTo>
                    <a:pt x="15" y="1773"/>
                  </a:lnTo>
                  <a:lnTo>
                    <a:pt x="33" y="1653"/>
                  </a:lnTo>
                  <a:lnTo>
                    <a:pt x="57" y="1537"/>
                  </a:lnTo>
                  <a:lnTo>
                    <a:pt x="88" y="1424"/>
                  </a:lnTo>
                  <a:lnTo>
                    <a:pt x="126" y="1312"/>
                  </a:lnTo>
                  <a:lnTo>
                    <a:pt x="170" y="1205"/>
                  </a:lnTo>
                  <a:lnTo>
                    <a:pt x="220" y="1100"/>
                  </a:lnTo>
                  <a:lnTo>
                    <a:pt x="275" y="998"/>
                  </a:lnTo>
                  <a:lnTo>
                    <a:pt x="336" y="901"/>
                  </a:lnTo>
                  <a:lnTo>
                    <a:pt x="403" y="806"/>
                  </a:lnTo>
                  <a:lnTo>
                    <a:pt x="474" y="717"/>
                  </a:lnTo>
                  <a:lnTo>
                    <a:pt x="551" y="632"/>
                  </a:lnTo>
                  <a:lnTo>
                    <a:pt x="632" y="551"/>
                  </a:lnTo>
                  <a:lnTo>
                    <a:pt x="717" y="474"/>
                  </a:lnTo>
                  <a:lnTo>
                    <a:pt x="807" y="403"/>
                  </a:lnTo>
                  <a:lnTo>
                    <a:pt x="901" y="336"/>
                  </a:lnTo>
                  <a:lnTo>
                    <a:pt x="999" y="275"/>
                  </a:lnTo>
                  <a:lnTo>
                    <a:pt x="1100" y="220"/>
                  </a:lnTo>
                  <a:lnTo>
                    <a:pt x="1205" y="170"/>
                  </a:lnTo>
                  <a:lnTo>
                    <a:pt x="1313" y="126"/>
                  </a:lnTo>
                  <a:lnTo>
                    <a:pt x="1424" y="88"/>
                  </a:lnTo>
                  <a:lnTo>
                    <a:pt x="1538" y="57"/>
                  </a:lnTo>
                  <a:lnTo>
                    <a:pt x="1654" y="33"/>
                  </a:lnTo>
                  <a:lnTo>
                    <a:pt x="1773" y="14"/>
                  </a:lnTo>
                  <a:lnTo>
                    <a:pt x="1893" y="3"/>
                  </a:lnTo>
                  <a:lnTo>
                    <a:pt x="201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9716346" y="1973985"/>
              <a:ext cx="670776" cy="888325"/>
              <a:chOff x="-9182100" y="-4170363"/>
              <a:chExt cx="4287837" cy="5678488"/>
            </a:xfrm>
          </p:grpSpPr>
          <p:sp>
            <p:nvSpPr>
              <p:cNvPr id="85" name="Freeform 22"/>
              <p:cNvSpPr>
                <a:spLocks/>
              </p:cNvSpPr>
              <p:nvPr/>
            </p:nvSpPr>
            <p:spPr bwMode="auto">
              <a:xfrm>
                <a:off x="-7165975" y="-2735263"/>
                <a:ext cx="1501775" cy="2128838"/>
              </a:xfrm>
              <a:custGeom>
                <a:avLst/>
                <a:gdLst>
                  <a:gd name="T0" fmla="*/ 0 w 946"/>
                  <a:gd name="T1" fmla="*/ 0 h 1341"/>
                  <a:gd name="T2" fmla="*/ 836 w 946"/>
                  <a:gd name="T3" fmla="*/ 0 h 1341"/>
                  <a:gd name="T4" fmla="*/ 836 w 946"/>
                  <a:gd name="T5" fmla="*/ 4 h 1341"/>
                  <a:gd name="T6" fmla="*/ 835 w 946"/>
                  <a:gd name="T7" fmla="*/ 16 h 1341"/>
                  <a:gd name="T8" fmla="*/ 833 w 946"/>
                  <a:gd name="T9" fmla="*/ 36 h 1341"/>
                  <a:gd name="T10" fmla="*/ 831 w 946"/>
                  <a:gd name="T11" fmla="*/ 62 h 1341"/>
                  <a:gd name="T12" fmla="*/ 829 w 946"/>
                  <a:gd name="T13" fmla="*/ 95 h 1341"/>
                  <a:gd name="T14" fmla="*/ 826 w 946"/>
                  <a:gd name="T15" fmla="*/ 133 h 1341"/>
                  <a:gd name="T16" fmla="*/ 824 w 946"/>
                  <a:gd name="T17" fmla="*/ 179 h 1341"/>
                  <a:gd name="T18" fmla="*/ 821 w 946"/>
                  <a:gd name="T19" fmla="*/ 227 h 1341"/>
                  <a:gd name="T20" fmla="*/ 820 w 946"/>
                  <a:gd name="T21" fmla="*/ 282 h 1341"/>
                  <a:gd name="T22" fmla="*/ 819 w 946"/>
                  <a:gd name="T23" fmla="*/ 340 h 1341"/>
                  <a:gd name="T24" fmla="*/ 819 w 946"/>
                  <a:gd name="T25" fmla="*/ 402 h 1341"/>
                  <a:gd name="T26" fmla="*/ 819 w 946"/>
                  <a:gd name="T27" fmla="*/ 468 h 1341"/>
                  <a:gd name="T28" fmla="*/ 820 w 946"/>
                  <a:gd name="T29" fmla="*/ 537 h 1341"/>
                  <a:gd name="T30" fmla="*/ 822 w 946"/>
                  <a:gd name="T31" fmla="*/ 606 h 1341"/>
                  <a:gd name="T32" fmla="*/ 826 w 946"/>
                  <a:gd name="T33" fmla="*/ 680 h 1341"/>
                  <a:gd name="T34" fmla="*/ 832 w 946"/>
                  <a:gd name="T35" fmla="*/ 753 h 1341"/>
                  <a:gd name="T36" fmla="*/ 838 w 946"/>
                  <a:gd name="T37" fmla="*/ 829 h 1341"/>
                  <a:gd name="T38" fmla="*/ 847 w 946"/>
                  <a:gd name="T39" fmla="*/ 903 h 1341"/>
                  <a:gd name="T40" fmla="*/ 858 w 946"/>
                  <a:gd name="T41" fmla="*/ 979 h 1341"/>
                  <a:gd name="T42" fmla="*/ 871 w 946"/>
                  <a:gd name="T43" fmla="*/ 1055 h 1341"/>
                  <a:gd name="T44" fmla="*/ 886 w 946"/>
                  <a:gd name="T45" fmla="*/ 1128 h 1341"/>
                  <a:gd name="T46" fmla="*/ 903 w 946"/>
                  <a:gd name="T47" fmla="*/ 1201 h 1341"/>
                  <a:gd name="T48" fmla="*/ 923 w 946"/>
                  <a:gd name="T49" fmla="*/ 1272 h 1341"/>
                  <a:gd name="T50" fmla="*/ 946 w 946"/>
                  <a:gd name="T51" fmla="*/ 1341 h 1341"/>
                  <a:gd name="T52" fmla="*/ 0 w 946"/>
                  <a:gd name="T53" fmla="*/ 1341 h 1341"/>
                  <a:gd name="T54" fmla="*/ 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0" y="0"/>
                    </a:moveTo>
                    <a:lnTo>
                      <a:pt x="836" y="0"/>
                    </a:lnTo>
                    <a:lnTo>
                      <a:pt x="836" y="4"/>
                    </a:lnTo>
                    <a:lnTo>
                      <a:pt x="835" y="16"/>
                    </a:lnTo>
                    <a:lnTo>
                      <a:pt x="833" y="36"/>
                    </a:lnTo>
                    <a:lnTo>
                      <a:pt x="831" y="62"/>
                    </a:lnTo>
                    <a:lnTo>
                      <a:pt x="829" y="95"/>
                    </a:lnTo>
                    <a:lnTo>
                      <a:pt x="826" y="133"/>
                    </a:lnTo>
                    <a:lnTo>
                      <a:pt x="824" y="179"/>
                    </a:lnTo>
                    <a:lnTo>
                      <a:pt x="821" y="227"/>
                    </a:lnTo>
                    <a:lnTo>
                      <a:pt x="820" y="282"/>
                    </a:lnTo>
                    <a:lnTo>
                      <a:pt x="819" y="340"/>
                    </a:lnTo>
                    <a:lnTo>
                      <a:pt x="819" y="402"/>
                    </a:lnTo>
                    <a:lnTo>
                      <a:pt x="819" y="468"/>
                    </a:lnTo>
                    <a:lnTo>
                      <a:pt x="820" y="537"/>
                    </a:lnTo>
                    <a:lnTo>
                      <a:pt x="822" y="606"/>
                    </a:lnTo>
                    <a:lnTo>
                      <a:pt x="826" y="680"/>
                    </a:lnTo>
                    <a:lnTo>
                      <a:pt x="832" y="753"/>
                    </a:lnTo>
                    <a:lnTo>
                      <a:pt x="838" y="829"/>
                    </a:lnTo>
                    <a:lnTo>
                      <a:pt x="847" y="903"/>
                    </a:lnTo>
                    <a:lnTo>
                      <a:pt x="858" y="979"/>
                    </a:lnTo>
                    <a:lnTo>
                      <a:pt x="871" y="1055"/>
                    </a:lnTo>
                    <a:lnTo>
                      <a:pt x="886" y="1128"/>
                    </a:lnTo>
                    <a:lnTo>
                      <a:pt x="903" y="1201"/>
                    </a:lnTo>
                    <a:lnTo>
                      <a:pt x="923" y="1272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6" name="Freeform 23"/>
              <p:cNvSpPr>
                <a:spLocks/>
              </p:cNvSpPr>
              <p:nvPr/>
            </p:nvSpPr>
            <p:spPr bwMode="auto">
              <a:xfrm>
                <a:off x="-8412163" y="-2735263"/>
                <a:ext cx="1501775" cy="2128838"/>
              </a:xfrm>
              <a:custGeom>
                <a:avLst/>
                <a:gdLst>
                  <a:gd name="T0" fmla="*/ 110 w 946"/>
                  <a:gd name="T1" fmla="*/ 0 h 1341"/>
                  <a:gd name="T2" fmla="*/ 946 w 946"/>
                  <a:gd name="T3" fmla="*/ 0 h 1341"/>
                  <a:gd name="T4" fmla="*/ 946 w 946"/>
                  <a:gd name="T5" fmla="*/ 1341 h 1341"/>
                  <a:gd name="T6" fmla="*/ 0 w 946"/>
                  <a:gd name="T7" fmla="*/ 1341 h 1341"/>
                  <a:gd name="T8" fmla="*/ 24 w 946"/>
                  <a:gd name="T9" fmla="*/ 1272 h 1341"/>
                  <a:gd name="T10" fmla="*/ 43 w 946"/>
                  <a:gd name="T11" fmla="*/ 1201 h 1341"/>
                  <a:gd name="T12" fmla="*/ 60 w 946"/>
                  <a:gd name="T13" fmla="*/ 1128 h 1341"/>
                  <a:gd name="T14" fmla="*/ 75 w 946"/>
                  <a:gd name="T15" fmla="*/ 1055 h 1341"/>
                  <a:gd name="T16" fmla="*/ 88 w 946"/>
                  <a:gd name="T17" fmla="*/ 979 h 1341"/>
                  <a:gd name="T18" fmla="*/ 99 w 946"/>
                  <a:gd name="T19" fmla="*/ 903 h 1341"/>
                  <a:gd name="T20" fmla="*/ 108 w 946"/>
                  <a:gd name="T21" fmla="*/ 829 h 1341"/>
                  <a:gd name="T22" fmla="*/ 114 w 946"/>
                  <a:gd name="T23" fmla="*/ 753 h 1341"/>
                  <a:gd name="T24" fmla="*/ 120 w 946"/>
                  <a:gd name="T25" fmla="*/ 680 h 1341"/>
                  <a:gd name="T26" fmla="*/ 124 w 946"/>
                  <a:gd name="T27" fmla="*/ 606 h 1341"/>
                  <a:gd name="T28" fmla="*/ 126 w 946"/>
                  <a:gd name="T29" fmla="*/ 537 h 1341"/>
                  <a:gd name="T30" fmla="*/ 127 w 946"/>
                  <a:gd name="T31" fmla="*/ 468 h 1341"/>
                  <a:gd name="T32" fmla="*/ 127 w 946"/>
                  <a:gd name="T33" fmla="*/ 402 h 1341"/>
                  <a:gd name="T34" fmla="*/ 127 w 946"/>
                  <a:gd name="T35" fmla="*/ 340 h 1341"/>
                  <a:gd name="T36" fmla="*/ 126 w 946"/>
                  <a:gd name="T37" fmla="*/ 282 h 1341"/>
                  <a:gd name="T38" fmla="*/ 125 w 946"/>
                  <a:gd name="T39" fmla="*/ 227 h 1341"/>
                  <a:gd name="T40" fmla="*/ 123 w 946"/>
                  <a:gd name="T41" fmla="*/ 179 h 1341"/>
                  <a:gd name="T42" fmla="*/ 120 w 946"/>
                  <a:gd name="T43" fmla="*/ 133 h 1341"/>
                  <a:gd name="T44" fmla="*/ 118 w 946"/>
                  <a:gd name="T45" fmla="*/ 95 h 1341"/>
                  <a:gd name="T46" fmla="*/ 115 w 946"/>
                  <a:gd name="T47" fmla="*/ 62 h 1341"/>
                  <a:gd name="T48" fmla="*/ 113 w 946"/>
                  <a:gd name="T49" fmla="*/ 36 h 1341"/>
                  <a:gd name="T50" fmla="*/ 112 w 946"/>
                  <a:gd name="T51" fmla="*/ 16 h 1341"/>
                  <a:gd name="T52" fmla="*/ 110 w 946"/>
                  <a:gd name="T53" fmla="*/ 4 h 1341"/>
                  <a:gd name="T54" fmla="*/ 11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110" y="0"/>
                    </a:moveTo>
                    <a:lnTo>
                      <a:pt x="946" y="0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24" y="1272"/>
                    </a:lnTo>
                    <a:lnTo>
                      <a:pt x="43" y="1201"/>
                    </a:lnTo>
                    <a:lnTo>
                      <a:pt x="60" y="1128"/>
                    </a:lnTo>
                    <a:lnTo>
                      <a:pt x="75" y="1055"/>
                    </a:lnTo>
                    <a:lnTo>
                      <a:pt x="88" y="979"/>
                    </a:lnTo>
                    <a:lnTo>
                      <a:pt x="99" y="903"/>
                    </a:lnTo>
                    <a:lnTo>
                      <a:pt x="108" y="829"/>
                    </a:lnTo>
                    <a:lnTo>
                      <a:pt x="114" y="753"/>
                    </a:lnTo>
                    <a:lnTo>
                      <a:pt x="120" y="680"/>
                    </a:lnTo>
                    <a:lnTo>
                      <a:pt x="124" y="606"/>
                    </a:lnTo>
                    <a:lnTo>
                      <a:pt x="126" y="537"/>
                    </a:lnTo>
                    <a:lnTo>
                      <a:pt x="127" y="468"/>
                    </a:lnTo>
                    <a:lnTo>
                      <a:pt x="127" y="402"/>
                    </a:lnTo>
                    <a:lnTo>
                      <a:pt x="127" y="340"/>
                    </a:lnTo>
                    <a:lnTo>
                      <a:pt x="126" y="282"/>
                    </a:lnTo>
                    <a:lnTo>
                      <a:pt x="125" y="227"/>
                    </a:lnTo>
                    <a:lnTo>
                      <a:pt x="123" y="179"/>
                    </a:lnTo>
                    <a:lnTo>
                      <a:pt x="120" y="133"/>
                    </a:lnTo>
                    <a:lnTo>
                      <a:pt x="118" y="95"/>
                    </a:lnTo>
                    <a:lnTo>
                      <a:pt x="115" y="62"/>
                    </a:lnTo>
                    <a:lnTo>
                      <a:pt x="113" y="36"/>
                    </a:lnTo>
                    <a:lnTo>
                      <a:pt x="112" y="16"/>
                    </a:lnTo>
                    <a:lnTo>
                      <a:pt x="110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7" name="Freeform 24"/>
              <p:cNvSpPr>
                <a:spLocks/>
              </p:cNvSpPr>
              <p:nvPr/>
            </p:nvSpPr>
            <p:spPr bwMode="auto">
              <a:xfrm>
                <a:off x="-7713663" y="-2262188"/>
                <a:ext cx="1346200" cy="2082800"/>
              </a:xfrm>
              <a:custGeom>
                <a:avLst/>
                <a:gdLst>
                  <a:gd name="T0" fmla="*/ 463 w 848"/>
                  <a:gd name="T1" fmla="*/ 5 h 1312"/>
                  <a:gd name="T2" fmla="*/ 538 w 848"/>
                  <a:gd name="T3" fmla="*/ 37 h 1312"/>
                  <a:gd name="T4" fmla="*/ 606 w 848"/>
                  <a:gd name="T5" fmla="*/ 96 h 1312"/>
                  <a:gd name="T6" fmla="*/ 670 w 848"/>
                  <a:gd name="T7" fmla="*/ 178 h 1312"/>
                  <a:gd name="T8" fmla="*/ 725 w 848"/>
                  <a:gd name="T9" fmla="*/ 277 h 1312"/>
                  <a:gd name="T10" fmla="*/ 771 w 848"/>
                  <a:gd name="T11" fmla="*/ 390 h 1312"/>
                  <a:gd name="T12" fmla="*/ 808 w 848"/>
                  <a:gd name="T13" fmla="*/ 511 h 1312"/>
                  <a:gd name="T14" fmla="*/ 834 w 848"/>
                  <a:gd name="T15" fmla="*/ 637 h 1312"/>
                  <a:gd name="T16" fmla="*/ 847 w 848"/>
                  <a:gd name="T17" fmla="*/ 763 h 1312"/>
                  <a:gd name="T18" fmla="*/ 847 w 848"/>
                  <a:gd name="T19" fmla="*/ 885 h 1312"/>
                  <a:gd name="T20" fmla="*/ 833 w 848"/>
                  <a:gd name="T21" fmla="*/ 994 h 1312"/>
                  <a:gd name="T22" fmla="*/ 803 w 848"/>
                  <a:gd name="T23" fmla="*/ 1084 h 1312"/>
                  <a:gd name="T24" fmla="*/ 763 w 848"/>
                  <a:gd name="T25" fmla="*/ 1159 h 1312"/>
                  <a:gd name="T26" fmla="*/ 710 w 848"/>
                  <a:gd name="T27" fmla="*/ 1216 h 1312"/>
                  <a:gd name="T28" fmla="*/ 650 w 848"/>
                  <a:gd name="T29" fmla="*/ 1259 h 1312"/>
                  <a:gd name="T30" fmla="*/ 581 w 848"/>
                  <a:gd name="T31" fmla="*/ 1290 h 1312"/>
                  <a:gd name="T32" fmla="*/ 505 w 848"/>
                  <a:gd name="T33" fmla="*/ 1306 h 1312"/>
                  <a:gd name="T34" fmla="*/ 424 w 848"/>
                  <a:gd name="T35" fmla="*/ 1312 h 1312"/>
                  <a:gd name="T36" fmla="*/ 345 w 848"/>
                  <a:gd name="T37" fmla="*/ 1306 h 1312"/>
                  <a:gd name="T38" fmla="*/ 269 w 848"/>
                  <a:gd name="T39" fmla="*/ 1290 h 1312"/>
                  <a:gd name="T40" fmla="*/ 200 w 848"/>
                  <a:gd name="T41" fmla="*/ 1259 h 1312"/>
                  <a:gd name="T42" fmla="*/ 138 w 848"/>
                  <a:gd name="T43" fmla="*/ 1216 h 1312"/>
                  <a:gd name="T44" fmla="*/ 87 w 848"/>
                  <a:gd name="T45" fmla="*/ 1159 h 1312"/>
                  <a:gd name="T46" fmla="*/ 47 w 848"/>
                  <a:gd name="T47" fmla="*/ 1084 h 1312"/>
                  <a:gd name="T48" fmla="*/ 17 w 848"/>
                  <a:gd name="T49" fmla="*/ 994 h 1312"/>
                  <a:gd name="T50" fmla="*/ 3 w 848"/>
                  <a:gd name="T51" fmla="*/ 885 h 1312"/>
                  <a:gd name="T52" fmla="*/ 3 w 848"/>
                  <a:gd name="T53" fmla="*/ 763 h 1312"/>
                  <a:gd name="T54" fmla="*/ 16 w 848"/>
                  <a:gd name="T55" fmla="*/ 637 h 1312"/>
                  <a:gd name="T56" fmla="*/ 42 w 848"/>
                  <a:gd name="T57" fmla="*/ 511 h 1312"/>
                  <a:gd name="T58" fmla="*/ 79 w 848"/>
                  <a:gd name="T59" fmla="*/ 390 h 1312"/>
                  <a:gd name="T60" fmla="*/ 125 w 848"/>
                  <a:gd name="T61" fmla="*/ 277 h 1312"/>
                  <a:gd name="T62" fmla="*/ 180 w 848"/>
                  <a:gd name="T63" fmla="*/ 178 h 1312"/>
                  <a:gd name="T64" fmla="*/ 244 w 848"/>
                  <a:gd name="T65" fmla="*/ 96 h 1312"/>
                  <a:gd name="T66" fmla="*/ 312 w 848"/>
                  <a:gd name="T67" fmla="*/ 37 h 1312"/>
                  <a:gd name="T68" fmla="*/ 387 w 848"/>
                  <a:gd name="T69" fmla="*/ 5 h 1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48" h="1312">
                    <a:moveTo>
                      <a:pt x="424" y="0"/>
                    </a:moveTo>
                    <a:lnTo>
                      <a:pt x="463" y="5"/>
                    </a:lnTo>
                    <a:lnTo>
                      <a:pt x="501" y="17"/>
                    </a:lnTo>
                    <a:lnTo>
                      <a:pt x="538" y="37"/>
                    </a:lnTo>
                    <a:lnTo>
                      <a:pt x="573" y="63"/>
                    </a:lnTo>
                    <a:lnTo>
                      <a:pt x="606" y="96"/>
                    </a:lnTo>
                    <a:lnTo>
                      <a:pt x="639" y="134"/>
                    </a:lnTo>
                    <a:lnTo>
                      <a:pt x="670" y="178"/>
                    </a:lnTo>
                    <a:lnTo>
                      <a:pt x="698" y="225"/>
                    </a:lnTo>
                    <a:lnTo>
                      <a:pt x="725" y="277"/>
                    </a:lnTo>
                    <a:lnTo>
                      <a:pt x="749" y="332"/>
                    </a:lnTo>
                    <a:lnTo>
                      <a:pt x="771" y="390"/>
                    </a:lnTo>
                    <a:lnTo>
                      <a:pt x="791" y="450"/>
                    </a:lnTo>
                    <a:lnTo>
                      <a:pt x="808" y="511"/>
                    </a:lnTo>
                    <a:lnTo>
                      <a:pt x="823" y="575"/>
                    </a:lnTo>
                    <a:lnTo>
                      <a:pt x="834" y="637"/>
                    </a:lnTo>
                    <a:lnTo>
                      <a:pt x="842" y="701"/>
                    </a:lnTo>
                    <a:lnTo>
                      <a:pt x="847" y="763"/>
                    </a:lnTo>
                    <a:lnTo>
                      <a:pt x="848" y="824"/>
                    </a:lnTo>
                    <a:lnTo>
                      <a:pt x="847" y="885"/>
                    </a:lnTo>
                    <a:lnTo>
                      <a:pt x="841" y="943"/>
                    </a:lnTo>
                    <a:lnTo>
                      <a:pt x="833" y="994"/>
                    </a:lnTo>
                    <a:lnTo>
                      <a:pt x="819" y="1042"/>
                    </a:lnTo>
                    <a:lnTo>
                      <a:pt x="803" y="1084"/>
                    </a:lnTo>
                    <a:lnTo>
                      <a:pt x="785" y="1123"/>
                    </a:lnTo>
                    <a:lnTo>
                      <a:pt x="763" y="1159"/>
                    </a:lnTo>
                    <a:lnTo>
                      <a:pt x="738" y="1189"/>
                    </a:lnTo>
                    <a:lnTo>
                      <a:pt x="710" y="1216"/>
                    </a:lnTo>
                    <a:lnTo>
                      <a:pt x="681" y="1240"/>
                    </a:lnTo>
                    <a:lnTo>
                      <a:pt x="650" y="1259"/>
                    </a:lnTo>
                    <a:lnTo>
                      <a:pt x="616" y="1276"/>
                    </a:lnTo>
                    <a:lnTo>
                      <a:pt x="581" y="1290"/>
                    </a:lnTo>
                    <a:lnTo>
                      <a:pt x="544" y="1299"/>
                    </a:lnTo>
                    <a:lnTo>
                      <a:pt x="505" y="1306"/>
                    </a:lnTo>
                    <a:lnTo>
                      <a:pt x="466" y="1310"/>
                    </a:lnTo>
                    <a:lnTo>
                      <a:pt x="424" y="1312"/>
                    </a:lnTo>
                    <a:lnTo>
                      <a:pt x="384" y="1310"/>
                    </a:lnTo>
                    <a:lnTo>
                      <a:pt x="345" y="1306"/>
                    </a:lnTo>
                    <a:lnTo>
                      <a:pt x="306" y="1299"/>
                    </a:lnTo>
                    <a:lnTo>
                      <a:pt x="269" y="1290"/>
                    </a:lnTo>
                    <a:lnTo>
                      <a:pt x="234" y="1276"/>
                    </a:lnTo>
                    <a:lnTo>
                      <a:pt x="200" y="1259"/>
                    </a:lnTo>
                    <a:lnTo>
                      <a:pt x="169" y="1240"/>
                    </a:lnTo>
                    <a:lnTo>
                      <a:pt x="138" y="1216"/>
                    </a:lnTo>
                    <a:lnTo>
                      <a:pt x="112" y="1189"/>
                    </a:lnTo>
                    <a:lnTo>
                      <a:pt x="87" y="1159"/>
                    </a:lnTo>
                    <a:lnTo>
                      <a:pt x="65" y="1123"/>
                    </a:lnTo>
                    <a:lnTo>
                      <a:pt x="47" y="1084"/>
                    </a:lnTo>
                    <a:lnTo>
                      <a:pt x="31" y="1042"/>
                    </a:lnTo>
                    <a:lnTo>
                      <a:pt x="17" y="994"/>
                    </a:lnTo>
                    <a:lnTo>
                      <a:pt x="9" y="943"/>
                    </a:lnTo>
                    <a:lnTo>
                      <a:pt x="3" y="885"/>
                    </a:lnTo>
                    <a:lnTo>
                      <a:pt x="0" y="824"/>
                    </a:lnTo>
                    <a:lnTo>
                      <a:pt x="3" y="763"/>
                    </a:lnTo>
                    <a:lnTo>
                      <a:pt x="8" y="701"/>
                    </a:lnTo>
                    <a:lnTo>
                      <a:pt x="16" y="637"/>
                    </a:lnTo>
                    <a:lnTo>
                      <a:pt x="27" y="575"/>
                    </a:lnTo>
                    <a:lnTo>
                      <a:pt x="42" y="511"/>
                    </a:lnTo>
                    <a:lnTo>
                      <a:pt x="59" y="450"/>
                    </a:lnTo>
                    <a:lnTo>
                      <a:pt x="79" y="390"/>
                    </a:lnTo>
                    <a:lnTo>
                      <a:pt x="101" y="332"/>
                    </a:lnTo>
                    <a:lnTo>
                      <a:pt x="125" y="277"/>
                    </a:lnTo>
                    <a:lnTo>
                      <a:pt x="152" y="225"/>
                    </a:lnTo>
                    <a:lnTo>
                      <a:pt x="180" y="178"/>
                    </a:lnTo>
                    <a:lnTo>
                      <a:pt x="211" y="134"/>
                    </a:lnTo>
                    <a:lnTo>
                      <a:pt x="244" y="96"/>
                    </a:lnTo>
                    <a:lnTo>
                      <a:pt x="277" y="63"/>
                    </a:lnTo>
                    <a:lnTo>
                      <a:pt x="312" y="37"/>
                    </a:lnTo>
                    <a:lnTo>
                      <a:pt x="349" y="17"/>
                    </a:lnTo>
                    <a:lnTo>
                      <a:pt x="387" y="5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E6D1A8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8" name="Freeform 25"/>
              <p:cNvSpPr>
                <a:spLocks/>
              </p:cNvSpPr>
              <p:nvPr/>
            </p:nvSpPr>
            <p:spPr bwMode="auto">
              <a:xfrm>
                <a:off x="-8275638" y="-4170363"/>
                <a:ext cx="2474913" cy="2760663"/>
              </a:xfrm>
              <a:custGeom>
                <a:avLst/>
                <a:gdLst>
                  <a:gd name="T0" fmla="*/ 833 w 1559"/>
                  <a:gd name="T1" fmla="*/ 1 h 1739"/>
                  <a:gd name="T2" fmla="*/ 945 w 1559"/>
                  <a:gd name="T3" fmla="*/ 19 h 1739"/>
                  <a:gd name="T4" fmla="*/ 1056 w 1559"/>
                  <a:gd name="T5" fmla="*/ 56 h 1739"/>
                  <a:gd name="T6" fmla="*/ 1160 w 1559"/>
                  <a:gd name="T7" fmla="*/ 110 h 1739"/>
                  <a:gd name="T8" fmla="*/ 1272 w 1559"/>
                  <a:gd name="T9" fmla="*/ 195 h 1739"/>
                  <a:gd name="T10" fmla="*/ 1369 w 1559"/>
                  <a:gd name="T11" fmla="*/ 300 h 1739"/>
                  <a:gd name="T12" fmla="*/ 1449 w 1559"/>
                  <a:gd name="T13" fmla="*/ 423 h 1739"/>
                  <a:gd name="T14" fmla="*/ 1508 w 1559"/>
                  <a:gd name="T15" fmla="*/ 561 h 1739"/>
                  <a:gd name="T16" fmla="*/ 1546 w 1559"/>
                  <a:gd name="T17" fmla="*/ 710 h 1739"/>
                  <a:gd name="T18" fmla="*/ 1559 w 1559"/>
                  <a:gd name="T19" fmla="*/ 869 h 1739"/>
                  <a:gd name="T20" fmla="*/ 1552 w 1559"/>
                  <a:gd name="T21" fmla="*/ 985 h 1739"/>
                  <a:gd name="T22" fmla="*/ 1520 w 1559"/>
                  <a:gd name="T23" fmla="*/ 1140 h 1739"/>
                  <a:gd name="T24" fmla="*/ 1465 w 1559"/>
                  <a:gd name="T25" fmla="*/ 1283 h 1739"/>
                  <a:gd name="T26" fmla="*/ 1389 w 1559"/>
                  <a:gd name="T27" fmla="*/ 1410 h 1739"/>
                  <a:gd name="T28" fmla="*/ 1295 w 1559"/>
                  <a:gd name="T29" fmla="*/ 1521 h 1739"/>
                  <a:gd name="T30" fmla="*/ 1184 w 1559"/>
                  <a:gd name="T31" fmla="*/ 1613 h 1739"/>
                  <a:gd name="T32" fmla="*/ 1059 w 1559"/>
                  <a:gd name="T33" fmla="*/ 1681 h 1739"/>
                  <a:gd name="T34" fmla="*/ 924 w 1559"/>
                  <a:gd name="T35" fmla="*/ 1724 h 1739"/>
                  <a:gd name="T36" fmla="*/ 778 w 1559"/>
                  <a:gd name="T37" fmla="*/ 1739 h 1739"/>
                  <a:gd name="T38" fmla="*/ 640 w 1559"/>
                  <a:gd name="T39" fmla="*/ 1725 h 1739"/>
                  <a:gd name="T40" fmla="*/ 508 w 1559"/>
                  <a:gd name="T41" fmla="*/ 1685 h 1739"/>
                  <a:gd name="T42" fmla="*/ 387 w 1559"/>
                  <a:gd name="T43" fmla="*/ 1621 h 1739"/>
                  <a:gd name="T44" fmla="*/ 279 w 1559"/>
                  <a:gd name="T45" fmla="*/ 1536 h 1739"/>
                  <a:gd name="T46" fmla="*/ 186 w 1559"/>
                  <a:gd name="T47" fmla="*/ 1432 h 1739"/>
                  <a:gd name="T48" fmla="*/ 109 w 1559"/>
                  <a:gd name="T49" fmla="*/ 1311 h 1739"/>
                  <a:gd name="T50" fmla="*/ 50 w 1559"/>
                  <a:gd name="T51" fmla="*/ 1177 h 1739"/>
                  <a:gd name="T52" fmla="*/ 13 w 1559"/>
                  <a:gd name="T53" fmla="*/ 1029 h 1739"/>
                  <a:gd name="T54" fmla="*/ 0 w 1559"/>
                  <a:gd name="T55" fmla="*/ 869 h 1739"/>
                  <a:gd name="T56" fmla="*/ 13 w 1559"/>
                  <a:gd name="T57" fmla="*/ 712 h 1739"/>
                  <a:gd name="T58" fmla="*/ 49 w 1559"/>
                  <a:gd name="T59" fmla="*/ 566 h 1739"/>
                  <a:gd name="T60" fmla="*/ 106 w 1559"/>
                  <a:gd name="T61" fmla="*/ 430 h 1739"/>
                  <a:gd name="T62" fmla="*/ 183 w 1559"/>
                  <a:gd name="T63" fmla="*/ 309 h 1739"/>
                  <a:gd name="T64" fmla="*/ 277 w 1559"/>
                  <a:gd name="T65" fmla="*/ 204 h 1739"/>
                  <a:gd name="T66" fmla="*/ 386 w 1559"/>
                  <a:gd name="T67" fmla="*/ 118 h 1739"/>
                  <a:gd name="T68" fmla="*/ 507 w 1559"/>
                  <a:gd name="T69" fmla="*/ 53 h 1739"/>
                  <a:gd name="T70" fmla="*/ 639 w 1559"/>
                  <a:gd name="T71" fmla="*/ 13 h 1739"/>
                  <a:gd name="T72" fmla="*/ 778 w 1559"/>
                  <a:gd name="T73" fmla="*/ 0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59" h="1739">
                    <a:moveTo>
                      <a:pt x="778" y="0"/>
                    </a:moveTo>
                    <a:lnTo>
                      <a:pt x="833" y="1"/>
                    </a:lnTo>
                    <a:lnTo>
                      <a:pt x="887" y="7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0"/>
                    </a:lnTo>
                    <a:lnTo>
                      <a:pt x="1160" y="110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9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8"/>
                    </a:lnTo>
                    <a:lnTo>
                      <a:pt x="1559" y="869"/>
                    </a:lnTo>
                    <a:lnTo>
                      <a:pt x="1558" y="904"/>
                    </a:lnTo>
                    <a:lnTo>
                      <a:pt x="1552" y="985"/>
                    </a:lnTo>
                    <a:lnTo>
                      <a:pt x="1540" y="1064"/>
                    </a:lnTo>
                    <a:lnTo>
                      <a:pt x="1520" y="1140"/>
                    </a:lnTo>
                    <a:lnTo>
                      <a:pt x="1496" y="1212"/>
                    </a:lnTo>
                    <a:lnTo>
                      <a:pt x="1465" y="1283"/>
                    </a:lnTo>
                    <a:lnTo>
                      <a:pt x="1430" y="1349"/>
                    </a:lnTo>
                    <a:lnTo>
                      <a:pt x="1389" y="1410"/>
                    </a:lnTo>
                    <a:lnTo>
                      <a:pt x="1344" y="1469"/>
                    </a:lnTo>
                    <a:lnTo>
                      <a:pt x="1295" y="1521"/>
                    </a:lnTo>
                    <a:lnTo>
                      <a:pt x="1242" y="1570"/>
                    </a:lnTo>
                    <a:lnTo>
                      <a:pt x="1184" y="1613"/>
                    </a:lnTo>
                    <a:lnTo>
                      <a:pt x="1124" y="1650"/>
                    </a:lnTo>
                    <a:lnTo>
                      <a:pt x="1059" y="1681"/>
                    </a:lnTo>
                    <a:lnTo>
                      <a:pt x="993" y="1706"/>
                    </a:lnTo>
                    <a:lnTo>
                      <a:pt x="924" y="1724"/>
                    </a:lnTo>
                    <a:lnTo>
                      <a:pt x="853" y="1735"/>
                    </a:lnTo>
                    <a:lnTo>
                      <a:pt x="778" y="1739"/>
                    </a:lnTo>
                    <a:lnTo>
                      <a:pt x="709" y="1735"/>
                    </a:lnTo>
                    <a:lnTo>
                      <a:pt x="640" y="1725"/>
                    </a:lnTo>
                    <a:lnTo>
                      <a:pt x="573" y="1708"/>
                    </a:lnTo>
                    <a:lnTo>
                      <a:pt x="508" y="1685"/>
                    </a:lnTo>
                    <a:lnTo>
                      <a:pt x="447" y="1656"/>
                    </a:lnTo>
                    <a:lnTo>
                      <a:pt x="387" y="1621"/>
                    </a:lnTo>
                    <a:lnTo>
                      <a:pt x="332" y="1581"/>
                    </a:lnTo>
                    <a:lnTo>
                      <a:pt x="279" y="1536"/>
                    </a:lnTo>
                    <a:lnTo>
                      <a:pt x="230" y="1486"/>
                    </a:lnTo>
                    <a:lnTo>
                      <a:pt x="186" y="1432"/>
                    </a:lnTo>
                    <a:lnTo>
                      <a:pt x="144" y="1373"/>
                    </a:lnTo>
                    <a:lnTo>
                      <a:pt x="109" y="1311"/>
                    </a:lnTo>
                    <a:lnTo>
                      <a:pt x="77" y="1246"/>
                    </a:lnTo>
                    <a:lnTo>
                      <a:pt x="50" y="1177"/>
                    </a:lnTo>
                    <a:lnTo>
                      <a:pt x="29" y="1105"/>
                    </a:lnTo>
                    <a:lnTo>
                      <a:pt x="13" y="1029"/>
                    </a:lnTo>
                    <a:lnTo>
                      <a:pt x="4" y="949"/>
                    </a:lnTo>
                    <a:lnTo>
                      <a:pt x="0" y="869"/>
                    </a:lnTo>
                    <a:lnTo>
                      <a:pt x="4" y="790"/>
                    </a:lnTo>
                    <a:lnTo>
                      <a:pt x="13" y="712"/>
                    </a:lnTo>
                    <a:lnTo>
                      <a:pt x="28" y="638"/>
                    </a:lnTo>
                    <a:lnTo>
                      <a:pt x="49" y="566"/>
                    </a:lnTo>
                    <a:lnTo>
                      <a:pt x="76" y="496"/>
                    </a:lnTo>
                    <a:lnTo>
                      <a:pt x="106" y="430"/>
                    </a:lnTo>
                    <a:lnTo>
                      <a:pt x="143" y="368"/>
                    </a:lnTo>
                    <a:lnTo>
                      <a:pt x="183" y="309"/>
                    </a:lnTo>
                    <a:lnTo>
                      <a:pt x="228" y="254"/>
                    </a:lnTo>
                    <a:lnTo>
                      <a:pt x="277" y="204"/>
                    </a:lnTo>
                    <a:lnTo>
                      <a:pt x="330" y="159"/>
                    </a:lnTo>
                    <a:lnTo>
                      <a:pt x="386" y="118"/>
                    </a:lnTo>
                    <a:lnTo>
                      <a:pt x="446" y="83"/>
                    </a:lnTo>
                    <a:lnTo>
                      <a:pt x="507" y="53"/>
                    </a:lnTo>
                    <a:lnTo>
                      <a:pt x="572" y="30"/>
                    </a:lnTo>
                    <a:lnTo>
                      <a:pt x="639" y="13"/>
                    </a:lnTo>
                    <a:lnTo>
                      <a:pt x="709" y="2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89" name="Freeform 26"/>
              <p:cNvSpPr>
                <a:spLocks/>
              </p:cNvSpPr>
              <p:nvPr/>
            </p:nvSpPr>
            <p:spPr bwMode="auto">
              <a:xfrm>
                <a:off x="-8275638" y="-4170363"/>
                <a:ext cx="2473325" cy="1755775"/>
              </a:xfrm>
              <a:custGeom>
                <a:avLst/>
                <a:gdLst>
                  <a:gd name="T0" fmla="*/ 833 w 1558"/>
                  <a:gd name="T1" fmla="*/ 2 h 1106"/>
                  <a:gd name="T2" fmla="*/ 945 w 1558"/>
                  <a:gd name="T3" fmla="*/ 19 h 1106"/>
                  <a:gd name="T4" fmla="*/ 1056 w 1558"/>
                  <a:gd name="T5" fmla="*/ 56 h 1106"/>
                  <a:gd name="T6" fmla="*/ 1160 w 1558"/>
                  <a:gd name="T7" fmla="*/ 111 h 1106"/>
                  <a:gd name="T8" fmla="*/ 1272 w 1558"/>
                  <a:gd name="T9" fmla="*/ 195 h 1106"/>
                  <a:gd name="T10" fmla="*/ 1369 w 1558"/>
                  <a:gd name="T11" fmla="*/ 300 h 1106"/>
                  <a:gd name="T12" fmla="*/ 1448 w 1558"/>
                  <a:gd name="T13" fmla="*/ 423 h 1106"/>
                  <a:gd name="T14" fmla="*/ 1508 w 1558"/>
                  <a:gd name="T15" fmla="*/ 561 h 1106"/>
                  <a:gd name="T16" fmla="*/ 1546 w 1558"/>
                  <a:gd name="T17" fmla="*/ 710 h 1106"/>
                  <a:gd name="T18" fmla="*/ 1558 w 1558"/>
                  <a:gd name="T19" fmla="*/ 870 h 1106"/>
                  <a:gd name="T20" fmla="*/ 1491 w 1558"/>
                  <a:gd name="T21" fmla="*/ 892 h 1106"/>
                  <a:gd name="T22" fmla="*/ 1365 w 1558"/>
                  <a:gd name="T23" fmla="*/ 847 h 1106"/>
                  <a:gd name="T24" fmla="*/ 1249 w 1558"/>
                  <a:gd name="T25" fmla="*/ 779 h 1106"/>
                  <a:gd name="T26" fmla="*/ 1146 w 1558"/>
                  <a:gd name="T27" fmla="*/ 693 h 1106"/>
                  <a:gd name="T28" fmla="*/ 1057 w 1558"/>
                  <a:gd name="T29" fmla="*/ 588 h 1106"/>
                  <a:gd name="T30" fmla="*/ 985 w 1558"/>
                  <a:gd name="T31" fmla="*/ 468 h 1106"/>
                  <a:gd name="T32" fmla="*/ 916 w 1558"/>
                  <a:gd name="T33" fmla="*/ 561 h 1106"/>
                  <a:gd name="T34" fmla="*/ 837 w 1558"/>
                  <a:gd name="T35" fmla="*/ 656 h 1106"/>
                  <a:gd name="T36" fmla="*/ 743 w 1558"/>
                  <a:gd name="T37" fmla="*/ 750 h 1106"/>
                  <a:gd name="T38" fmla="*/ 633 w 1558"/>
                  <a:gd name="T39" fmla="*/ 839 h 1106"/>
                  <a:gd name="T40" fmla="*/ 508 w 1558"/>
                  <a:gd name="T41" fmla="*/ 922 h 1106"/>
                  <a:gd name="T42" fmla="*/ 367 w 1558"/>
                  <a:gd name="T43" fmla="*/ 997 h 1106"/>
                  <a:gd name="T44" fmla="*/ 208 w 1558"/>
                  <a:gd name="T45" fmla="*/ 1058 h 1106"/>
                  <a:gd name="T46" fmla="*/ 29 w 1558"/>
                  <a:gd name="T47" fmla="*/ 1106 h 1106"/>
                  <a:gd name="T48" fmla="*/ 4 w 1558"/>
                  <a:gd name="T49" fmla="*/ 951 h 1106"/>
                  <a:gd name="T50" fmla="*/ 4 w 1558"/>
                  <a:gd name="T51" fmla="*/ 786 h 1106"/>
                  <a:gd name="T52" fmla="*/ 32 w 1558"/>
                  <a:gd name="T53" fmla="*/ 625 h 1106"/>
                  <a:gd name="T54" fmla="*/ 84 w 1558"/>
                  <a:gd name="T55" fmla="*/ 476 h 1106"/>
                  <a:gd name="T56" fmla="*/ 159 w 1558"/>
                  <a:gd name="T57" fmla="*/ 343 h 1106"/>
                  <a:gd name="T58" fmla="*/ 254 w 1558"/>
                  <a:gd name="T59" fmla="*/ 227 h 1106"/>
                  <a:gd name="T60" fmla="*/ 367 w 1558"/>
                  <a:gd name="T61" fmla="*/ 132 h 1106"/>
                  <a:gd name="T62" fmla="*/ 492 w 1558"/>
                  <a:gd name="T63" fmla="*/ 61 h 1106"/>
                  <a:gd name="T64" fmla="*/ 632 w 1558"/>
                  <a:gd name="T65" fmla="*/ 16 h 1106"/>
                  <a:gd name="T66" fmla="*/ 778 w 1558"/>
                  <a:gd name="T67" fmla="*/ 0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58" h="1106">
                    <a:moveTo>
                      <a:pt x="778" y="0"/>
                    </a:moveTo>
                    <a:lnTo>
                      <a:pt x="833" y="2"/>
                    </a:lnTo>
                    <a:lnTo>
                      <a:pt x="887" y="8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2"/>
                    </a:lnTo>
                    <a:lnTo>
                      <a:pt x="1160" y="111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8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9"/>
                    </a:lnTo>
                    <a:lnTo>
                      <a:pt x="1558" y="870"/>
                    </a:lnTo>
                    <a:lnTo>
                      <a:pt x="1557" y="905"/>
                    </a:lnTo>
                    <a:lnTo>
                      <a:pt x="1491" y="892"/>
                    </a:lnTo>
                    <a:lnTo>
                      <a:pt x="1427" y="872"/>
                    </a:lnTo>
                    <a:lnTo>
                      <a:pt x="1365" y="847"/>
                    </a:lnTo>
                    <a:lnTo>
                      <a:pt x="1305" y="816"/>
                    </a:lnTo>
                    <a:lnTo>
                      <a:pt x="1249" y="779"/>
                    </a:lnTo>
                    <a:lnTo>
                      <a:pt x="1195" y="738"/>
                    </a:lnTo>
                    <a:lnTo>
                      <a:pt x="1146" y="693"/>
                    </a:lnTo>
                    <a:lnTo>
                      <a:pt x="1100" y="641"/>
                    </a:lnTo>
                    <a:lnTo>
                      <a:pt x="1057" y="588"/>
                    </a:lnTo>
                    <a:lnTo>
                      <a:pt x="1018" y="529"/>
                    </a:lnTo>
                    <a:lnTo>
                      <a:pt x="985" y="468"/>
                    </a:lnTo>
                    <a:lnTo>
                      <a:pt x="952" y="514"/>
                    </a:lnTo>
                    <a:lnTo>
                      <a:pt x="916" y="561"/>
                    </a:lnTo>
                    <a:lnTo>
                      <a:pt x="879" y="608"/>
                    </a:lnTo>
                    <a:lnTo>
                      <a:pt x="837" y="656"/>
                    </a:lnTo>
                    <a:lnTo>
                      <a:pt x="792" y="704"/>
                    </a:lnTo>
                    <a:lnTo>
                      <a:pt x="743" y="750"/>
                    </a:lnTo>
                    <a:lnTo>
                      <a:pt x="690" y="795"/>
                    </a:lnTo>
                    <a:lnTo>
                      <a:pt x="633" y="839"/>
                    </a:lnTo>
                    <a:lnTo>
                      <a:pt x="573" y="882"/>
                    </a:lnTo>
                    <a:lnTo>
                      <a:pt x="508" y="922"/>
                    </a:lnTo>
                    <a:lnTo>
                      <a:pt x="440" y="960"/>
                    </a:lnTo>
                    <a:lnTo>
                      <a:pt x="367" y="997"/>
                    </a:lnTo>
                    <a:lnTo>
                      <a:pt x="290" y="1029"/>
                    </a:lnTo>
                    <a:lnTo>
                      <a:pt x="208" y="1058"/>
                    </a:lnTo>
                    <a:lnTo>
                      <a:pt x="121" y="1084"/>
                    </a:lnTo>
                    <a:lnTo>
                      <a:pt x="29" y="1106"/>
                    </a:lnTo>
                    <a:lnTo>
                      <a:pt x="13" y="1030"/>
                    </a:lnTo>
                    <a:lnTo>
                      <a:pt x="4" y="951"/>
                    </a:lnTo>
                    <a:lnTo>
                      <a:pt x="0" y="870"/>
                    </a:lnTo>
                    <a:lnTo>
                      <a:pt x="4" y="786"/>
                    </a:lnTo>
                    <a:lnTo>
                      <a:pt x="15" y="705"/>
                    </a:lnTo>
                    <a:lnTo>
                      <a:pt x="32" y="625"/>
                    </a:lnTo>
                    <a:lnTo>
                      <a:pt x="55" y="550"/>
                    </a:lnTo>
                    <a:lnTo>
                      <a:pt x="84" y="476"/>
                    </a:lnTo>
                    <a:lnTo>
                      <a:pt x="118" y="408"/>
                    </a:lnTo>
                    <a:lnTo>
                      <a:pt x="159" y="343"/>
                    </a:lnTo>
                    <a:lnTo>
                      <a:pt x="204" y="283"/>
                    </a:lnTo>
                    <a:lnTo>
                      <a:pt x="254" y="227"/>
                    </a:lnTo>
                    <a:lnTo>
                      <a:pt x="308" y="177"/>
                    </a:lnTo>
                    <a:lnTo>
                      <a:pt x="367" y="132"/>
                    </a:lnTo>
                    <a:lnTo>
                      <a:pt x="428" y="94"/>
                    </a:lnTo>
                    <a:lnTo>
                      <a:pt x="492" y="61"/>
                    </a:lnTo>
                    <a:lnTo>
                      <a:pt x="561" y="35"/>
                    </a:lnTo>
                    <a:lnTo>
                      <a:pt x="632" y="16"/>
                    </a:lnTo>
                    <a:lnTo>
                      <a:pt x="705" y="3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0" name="Freeform 27"/>
              <p:cNvSpPr>
                <a:spLocks/>
              </p:cNvSpPr>
              <p:nvPr/>
            </p:nvSpPr>
            <p:spPr bwMode="auto">
              <a:xfrm>
                <a:off x="-8415338" y="-715963"/>
                <a:ext cx="2570163" cy="1474788"/>
              </a:xfrm>
              <a:custGeom>
                <a:avLst/>
                <a:gdLst>
                  <a:gd name="T0" fmla="*/ 379 w 1619"/>
                  <a:gd name="T1" fmla="*/ 44 h 929"/>
                  <a:gd name="T2" fmla="*/ 507 w 1619"/>
                  <a:gd name="T3" fmla="*/ 116 h 929"/>
                  <a:gd name="T4" fmla="*/ 645 w 1619"/>
                  <a:gd name="T5" fmla="*/ 165 h 929"/>
                  <a:gd name="T6" fmla="*/ 792 w 1619"/>
                  <a:gd name="T7" fmla="*/ 192 h 929"/>
                  <a:gd name="T8" fmla="*/ 941 w 1619"/>
                  <a:gd name="T9" fmla="*/ 192 h 929"/>
                  <a:gd name="T10" fmla="*/ 1084 w 1619"/>
                  <a:gd name="T11" fmla="*/ 168 h 929"/>
                  <a:gd name="T12" fmla="*/ 1218 w 1619"/>
                  <a:gd name="T13" fmla="*/ 120 h 929"/>
                  <a:gd name="T14" fmla="*/ 1344 w 1619"/>
                  <a:gd name="T15" fmla="*/ 52 h 929"/>
                  <a:gd name="T16" fmla="*/ 1398 w 1619"/>
                  <a:gd name="T17" fmla="*/ 58 h 929"/>
                  <a:gd name="T18" fmla="*/ 1398 w 1619"/>
                  <a:gd name="T19" fmla="*/ 151 h 929"/>
                  <a:gd name="T20" fmla="*/ 1413 w 1619"/>
                  <a:gd name="T21" fmla="*/ 242 h 929"/>
                  <a:gd name="T22" fmla="*/ 1442 w 1619"/>
                  <a:gd name="T23" fmla="*/ 328 h 929"/>
                  <a:gd name="T24" fmla="*/ 1486 w 1619"/>
                  <a:gd name="T25" fmla="*/ 405 h 929"/>
                  <a:gd name="T26" fmla="*/ 1546 w 1619"/>
                  <a:gd name="T27" fmla="*/ 470 h 929"/>
                  <a:gd name="T28" fmla="*/ 1619 w 1619"/>
                  <a:gd name="T29" fmla="*/ 519 h 929"/>
                  <a:gd name="T30" fmla="*/ 1514 w 1619"/>
                  <a:gd name="T31" fmla="*/ 646 h 929"/>
                  <a:gd name="T32" fmla="*/ 1393 w 1619"/>
                  <a:gd name="T33" fmla="*/ 753 h 929"/>
                  <a:gd name="T34" fmla="*/ 1256 w 1619"/>
                  <a:gd name="T35" fmla="*/ 836 h 929"/>
                  <a:gd name="T36" fmla="*/ 1108 w 1619"/>
                  <a:gd name="T37" fmla="*/ 895 h 929"/>
                  <a:gd name="T38" fmla="*/ 949 w 1619"/>
                  <a:gd name="T39" fmla="*/ 926 h 929"/>
                  <a:gd name="T40" fmla="*/ 786 w 1619"/>
                  <a:gd name="T41" fmla="*/ 926 h 929"/>
                  <a:gd name="T42" fmla="*/ 628 w 1619"/>
                  <a:gd name="T43" fmla="*/ 896 h 929"/>
                  <a:gd name="T44" fmla="*/ 481 w 1619"/>
                  <a:gd name="T45" fmla="*/ 839 h 929"/>
                  <a:gd name="T46" fmla="*/ 346 w 1619"/>
                  <a:gd name="T47" fmla="*/ 756 h 929"/>
                  <a:gd name="T48" fmla="*/ 225 w 1619"/>
                  <a:gd name="T49" fmla="*/ 652 h 929"/>
                  <a:gd name="T50" fmla="*/ 121 w 1619"/>
                  <a:gd name="T51" fmla="*/ 527 h 929"/>
                  <a:gd name="T52" fmla="*/ 35 w 1619"/>
                  <a:gd name="T53" fmla="*/ 384 h 929"/>
                  <a:gd name="T54" fmla="*/ 45 w 1619"/>
                  <a:gd name="T55" fmla="*/ 299 h 929"/>
                  <a:gd name="T56" fmla="*/ 127 w 1619"/>
                  <a:gd name="T57" fmla="*/ 267 h 929"/>
                  <a:gd name="T58" fmla="*/ 194 w 1619"/>
                  <a:gd name="T59" fmla="*/ 218 h 929"/>
                  <a:gd name="T60" fmla="*/ 249 w 1619"/>
                  <a:gd name="T61" fmla="*/ 156 h 929"/>
                  <a:gd name="T62" fmla="*/ 291 w 1619"/>
                  <a:gd name="T63" fmla="*/ 82 h 929"/>
                  <a:gd name="T64" fmla="*/ 319 w 1619"/>
                  <a:gd name="T65" fmla="*/ 0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9" h="929">
                    <a:moveTo>
                      <a:pt x="319" y="0"/>
                    </a:moveTo>
                    <a:lnTo>
                      <a:pt x="379" y="44"/>
                    </a:lnTo>
                    <a:lnTo>
                      <a:pt x="441" y="82"/>
                    </a:lnTo>
                    <a:lnTo>
                      <a:pt x="507" y="116"/>
                    </a:lnTo>
                    <a:lnTo>
                      <a:pt x="574" y="143"/>
                    </a:lnTo>
                    <a:lnTo>
                      <a:pt x="645" y="165"/>
                    </a:lnTo>
                    <a:lnTo>
                      <a:pt x="717" y="182"/>
                    </a:lnTo>
                    <a:lnTo>
                      <a:pt x="792" y="192"/>
                    </a:lnTo>
                    <a:lnTo>
                      <a:pt x="866" y="195"/>
                    </a:lnTo>
                    <a:lnTo>
                      <a:pt x="941" y="192"/>
                    </a:lnTo>
                    <a:lnTo>
                      <a:pt x="1013" y="182"/>
                    </a:lnTo>
                    <a:lnTo>
                      <a:pt x="1084" y="168"/>
                    </a:lnTo>
                    <a:lnTo>
                      <a:pt x="1152" y="147"/>
                    </a:lnTo>
                    <a:lnTo>
                      <a:pt x="1218" y="120"/>
                    </a:lnTo>
                    <a:lnTo>
                      <a:pt x="1283" y="88"/>
                    </a:lnTo>
                    <a:lnTo>
                      <a:pt x="1344" y="52"/>
                    </a:lnTo>
                    <a:lnTo>
                      <a:pt x="1403" y="11"/>
                    </a:lnTo>
                    <a:lnTo>
                      <a:pt x="1398" y="58"/>
                    </a:lnTo>
                    <a:lnTo>
                      <a:pt x="1396" y="104"/>
                    </a:lnTo>
                    <a:lnTo>
                      <a:pt x="1398" y="151"/>
                    </a:lnTo>
                    <a:lnTo>
                      <a:pt x="1403" y="197"/>
                    </a:lnTo>
                    <a:lnTo>
                      <a:pt x="1413" y="242"/>
                    </a:lnTo>
                    <a:lnTo>
                      <a:pt x="1426" y="286"/>
                    </a:lnTo>
                    <a:lnTo>
                      <a:pt x="1442" y="328"/>
                    </a:lnTo>
                    <a:lnTo>
                      <a:pt x="1463" y="368"/>
                    </a:lnTo>
                    <a:lnTo>
                      <a:pt x="1486" y="405"/>
                    </a:lnTo>
                    <a:lnTo>
                      <a:pt x="1514" y="439"/>
                    </a:lnTo>
                    <a:lnTo>
                      <a:pt x="1546" y="470"/>
                    </a:lnTo>
                    <a:lnTo>
                      <a:pt x="1580" y="497"/>
                    </a:lnTo>
                    <a:lnTo>
                      <a:pt x="1619" y="519"/>
                    </a:lnTo>
                    <a:lnTo>
                      <a:pt x="1569" y="585"/>
                    </a:lnTo>
                    <a:lnTo>
                      <a:pt x="1514" y="646"/>
                    </a:lnTo>
                    <a:lnTo>
                      <a:pt x="1455" y="702"/>
                    </a:lnTo>
                    <a:lnTo>
                      <a:pt x="1393" y="753"/>
                    </a:lnTo>
                    <a:lnTo>
                      <a:pt x="1326" y="797"/>
                    </a:lnTo>
                    <a:lnTo>
                      <a:pt x="1256" y="836"/>
                    </a:lnTo>
                    <a:lnTo>
                      <a:pt x="1184" y="869"/>
                    </a:lnTo>
                    <a:lnTo>
                      <a:pt x="1108" y="895"/>
                    </a:lnTo>
                    <a:lnTo>
                      <a:pt x="1030" y="915"/>
                    </a:lnTo>
                    <a:lnTo>
                      <a:pt x="949" y="926"/>
                    </a:lnTo>
                    <a:lnTo>
                      <a:pt x="866" y="929"/>
                    </a:lnTo>
                    <a:lnTo>
                      <a:pt x="786" y="926"/>
                    </a:lnTo>
                    <a:lnTo>
                      <a:pt x="705" y="915"/>
                    </a:lnTo>
                    <a:lnTo>
                      <a:pt x="628" y="896"/>
                    </a:lnTo>
                    <a:lnTo>
                      <a:pt x="554" y="871"/>
                    </a:lnTo>
                    <a:lnTo>
                      <a:pt x="481" y="839"/>
                    </a:lnTo>
                    <a:lnTo>
                      <a:pt x="412" y="801"/>
                    </a:lnTo>
                    <a:lnTo>
                      <a:pt x="346" y="756"/>
                    </a:lnTo>
                    <a:lnTo>
                      <a:pt x="283" y="707"/>
                    </a:lnTo>
                    <a:lnTo>
                      <a:pt x="225" y="652"/>
                    </a:lnTo>
                    <a:lnTo>
                      <a:pt x="171" y="592"/>
                    </a:lnTo>
                    <a:lnTo>
                      <a:pt x="121" y="527"/>
                    </a:lnTo>
                    <a:lnTo>
                      <a:pt x="76" y="457"/>
                    </a:lnTo>
                    <a:lnTo>
                      <a:pt x="35" y="384"/>
                    </a:lnTo>
                    <a:lnTo>
                      <a:pt x="0" y="308"/>
                    </a:lnTo>
                    <a:lnTo>
                      <a:pt x="45" y="299"/>
                    </a:lnTo>
                    <a:lnTo>
                      <a:pt x="88" y="285"/>
                    </a:lnTo>
                    <a:lnTo>
                      <a:pt x="127" y="267"/>
                    </a:lnTo>
                    <a:lnTo>
                      <a:pt x="162" y="244"/>
                    </a:lnTo>
                    <a:lnTo>
                      <a:pt x="194" y="218"/>
                    </a:lnTo>
                    <a:lnTo>
                      <a:pt x="224" y="187"/>
                    </a:lnTo>
                    <a:lnTo>
                      <a:pt x="249" y="156"/>
                    </a:lnTo>
                    <a:lnTo>
                      <a:pt x="271" y="120"/>
                    </a:lnTo>
                    <a:lnTo>
                      <a:pt x="291" y="82"/>
                    </a:lnTo>
                    <a:lnTo>
                      <a:pt x="307" y="42"/>
                    </a:lnTo>
                    <a:lnTo>
                      <a:pt x="31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1" name="Freeform 28"/>
              <p:cNvSpPr>
                <a:spLocks/>
              </p:cNvSpPr>
              <p:nvPr/>
            </p:nvSpPr>
            <p:spPr bwMode="auto">
              <a:xfrm>
                <a:off x="-5367338" y="-457200"/>
                <a:ext cx="473075" cy="1495425"/>
              </a:xfrm>
              <a:custGeom>
                <a:avLst/>
                <a:gdLst>
                  <a:gd name="T0" fmla="*/ 217 w 298"/>
                  <a:gd name="T1" fmla="*/ 0 h 942"/>
                  <a:gd name="T2" fmla="*/ 219 w 298"/>
                  <a:gd name="T3" fmla="*/ 4 h 942"/>
                  <a:gd name="T4" fmla="*/ 220 w 298"/>
                  <a:gd name="T5" fmla="*/ 16 h 942"/>
                  <a:gd name="T6" fmla="*/ 222 w 298"/>
                  <a:gd name="T7" fmla="*/ 35 h 942"/>
                  <a:gd name="T8" fmla="*/ 225 w 298"/>
                  <a:gd name="T9" fmla="*/ 62 h 942"/>
                  <a:gd name="T10" fmla="*/ 228 w 298"/>
                  <a:gd name="T11" fmla="*/ 95 h 942"/>
                  <a:gd name="T12" fmla="*/ 233 w 298"/>
                  <a:gd name="T13" fmla="*/ 134 h 942"/>
                  <a:gd name="T14" fmla="*/ 238 w 298"/>
                  <a:gd name="T15" fmla="*/ 177 h 942"/>
                  <a:gd name="T16" fmla="*/ 244 w 298"/>
                  <a:gd name="T17" fmla="*/ 226 h 942"/>
                  <a:gd name="T18" fmla="*/ 250 w 298"/>
                  <a:gd name="T19" fmla="*/ 279 h 942"/>
                  <a:gd name="T20" fmla="*/ 257 w 298"/>
                  <a:gd name="T21" fmla="*/ 335 h 942"/>
                  <a:gd name="T22" fmla="*/ 264 w 298"/>
                  <a:gd name="T23" fmla="*/ 395 h 942"/>
                  <a:gd name="T24" fmla="*/ 270 w 298"/>
                  <a:gd name="T25" fmla="*/ 457 h 942"/>
                  <a:gd name="T26" fmla="*/ 277 w 298"/>
                  <a:gd name="T27" fmla="*/ 521 h 942"/>
                  <a:gd name="T28" fmla="*/ 285 w 298"/>
                  <a:gd name="T29" fmla="*/ 587 h 942"/>
                  <a:gd name="T30" fmla="*/ 292 w 298"/>
                  <a:gd name="T31" fmla="*/ 653 h 942"/>
                  <a:gd name="T32" fmla="*/ 298 w 298"/>
                  <a:gd name="T33" fmla="*/ 720 h 942"/>
                  <a:gd name="T34" fmla="*/ 228 w 298"/>
                  <a:gd name="T35" fmla="*/ 780 h 942"/>
                  <a:gd name="T36" fmla="*/ 155 w 298"/>
                  <a:gd name="T37" fmla="*/ 837 h 942"/>
                  <a:gd name="T38" fmla="*/ 78 w 298"/>
                  <a:gd name="T39" fmla="*/ 891 h 942"/>
                  <a:gd name="T40" fmla="*/ 0 w 298"/>
                  <a:gd name="T41" fmla="*/ 942 h 942"/>
                  <a:gd name="T42" fmla="*/ 12 w 298"/>
                  <a:gd name="T43" fmla="*/ 871 h 942"/>
                  <a:gd name="T44" fmla="*/ 26 w 298"/>
                  <a:gd name="T45" fmla="*/ 802 h 942"/>
                  <a:gd name="T46" fmla="*/ 39 w 298"/>
                  <a:gd name="T47" fmla="*/ 732 h 942"/>
                  <a:gd name="T48" fmla="*/ 54 w 298"/>
                  <a:gd name="T49" fmla="*/ 664 h 942"/>
                  <a:gd name="T50" fmla="*/ 67 w 298"/>
                  <a:gd name="T51" fmla="*/ 596 h 942"/>
                  <a:gd name="T52" fmla="*/ 82 w 298"/>
                  <a:gd name="T53" fmla="*/ 532 h 942"/>
                  <a:gd name="T54" fmla="*/ 96 w 298"/>
                  <a:gd name="T55" fmla="*/ 468 h 942"/>
                  <a:gd name="T56" fmla="*/ 111 w 298"/>
                  <a:gd name="T57" fmla="*/ 407 h 942"/>
                  <a:gd name="T58" fmla="*/ 125 w 298"/>
                  <a:gd name="T59" fmla="*/ 349 h 942"/>
                  <a:gd name="T60" fmla="*/ 139 w 298"/>
                  <a:gd name="T61" fmla="*/ 294 h 942"/>
                  <a:gd name="T62" fmla="*/ 151 w 298"/>
                  <a:gd name="T63" fmla="*/ 243 h 942"/>
                  <a:gd name="T64" fmla="*/ 164 w 298"/>
                  <a:gd name="T65" fmla="*/ 197 h 942"/>
                  <a:gd name="T66" fmla="*/ 176 w 298"/>
                  <a:gd name="T67" fmla="*/ 153 h 942"/>
                  <a:gd name="T68" fmla="*/ 186 w 298"/>
                  <a:gd name="T69" fmla="*/ 115 h 942"/>
                  <a:gd name="T70" fmla="*/ 194 w 298"/>
                  <a:gd name="T71" fmla="*/ 81 h 942"/>
                  <a:gd name="T72" fmla="*/ 203 w 298"/>
                  <a:gd name="T73" fmla="*/ 52 h 942"/>
                  <a:gd name="T74" fmla="*/ 209 w 298"/>
                  <a:gd name="T75" fmla="*/ 30 h 942"/>
                  <a:gd name="T76" fmla="*/ 214 w 298"/>
                  <a:gd name="T77" fmla="*/ 13 h 942"/>
                  <a:gd name="T78" fmla="*/ 216 w 298"/>
                  <a:gd name="T79" fmla="*/ 4 h 942"/>
                  <a:gd name="T80" fmla="*/ 217 w 298"/>
                  <a:gd name="T81" fmla="*/ 0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8" h="942">
                    <a:moveTo>
                      <a:pt x="217" y="0"/>
                    </a:moveTo>
                    <a:lnTo>
                      <a:pt x="219" y="4"/>
                    </a:lnTo>
                    <a:lnTo>
                      <a:pt x="220" y="16"/>
                    </a:lnTo>
                    <a:lnTo>
                      <a:pt x="222" y="35"/>
                    </a:lnTo>
                    <a:lnTo>
                      <a:pt x="225" y="62"/>
                    </a:lnTo>
                    <a:lnTo>
                      <a:pt x="228" y="95"/>
                    </a:lnTo>
                    <a:lnTo>
                      <a:pt x="233" y="134"/>
                    </a:lnTo>
                    <a:lnTo>
                      <a:pt x="238" y="177"/>
                    </a:lnTo>
                    <a:lnTo>
                      <a:pt x="244" y="226"/>
                    </a:lnTo>
                    <a:lnTo>
                      <a:pt x="250" y="279"/>
                    </a:lnTo>
                    <a:lnTo>
                      <a:pt x="257" y="335"/>
                    </a:lnTo>
                    <a:lnTo>
                      <a:pt x="264" y="395"/>
                    </a:lnTo>
                    <a:lnTo>
                      <a:pt x="270" y="457"/>
                    </a:lnTo>
                    <a:lnTo>
                      <a:pt x="277" y="521"/>
                    </a:lnTo>
                    <a:lnTo>
                      <a:pt x="285" y="587"/>
                    </a:lnTo>
                    <a:lnTo>
                      <a:pt x="292" y="653"/>
                    </a:lnTo>
                    <a:lnTo>
                      <a:pt x="298" y="720"/>
                    </a:lnTo>
                    <a:lnTo>
                      <a:pt x="228" y="780"/>
                    </a:lnTo>
                    <a:lnTo>
                      <a:pt x="155" y="837"/>
                    </a:lnTo>
                    <a:lnTo>
                      <a:pt x="78" y="891"/>
                    </a:lnTo>
                    <a:lnTo>
                      <a:pt x="0" y="942"/>
                    </a:lnTo>
                    <a:lnTo>
                      <a:pt x="12" y="871"/>
                    </a:lnTo>
                    <a:lnTo>
                      <a:pt x="26" y="802"/>
                    </a:lnTo>
                    <a:lnTo>
                      <a:pt x="39" y="732"/>
                    </a:lnTo>
                    <a:lnTo>
                      <a:pt x="54" y="664"/>
                    </a:lnTo>
                    <a:lnTo>
                      <a:pt x="67" y="596"/>
                    </a:lnTo>
                    <a:lnTo>
                      <a:pt x="82" y="532"/>
                    </a:lnTo>
                    <a:lnTo>
                      <a:pt x="96" y="468"/>
                    </a:lnTo>
                    <a:lnTo>
                      <a:pt x="111" y="407"/>
                    </a:lnTo>
                    <a:lnTo>
                      <a:pt x="125" y="349"/>
                    </a:lnTo>
                    <a:lnTo>
                      <a:pt x="139" y="294"/>
                    </a:lnTo>
                    <a:lnTo>
                      <a:pt x="151" y="243"/>
                    </a:lnTo>
                    <a:lnTo>
                      <a:pt x="164" y="197"/>
                    </a:lnTo>
                    <a:lnTo>
                      <a:pt x="176" y="153"/>
                    </a:lnTo>
                    <a:lnTo>
                      <a:pt x="186" y="115"/>
                    </a:lnTo>
                    <a:lnTo>
                      <a:pt x="194" y="81"/>
                    </a:lnTo>
                    <a:lnTo>
                      <a:pt x="203" y="52"/>
                    </a:lnTo>
                    <a:lnTo>
                      <a:pt x="209" y="30"/>
                    </a:lnTo>
                    <a:lnTo>
                      <a:pt x="214" y="13"/>
                    </a:lnTo>
                    <a:lnTo>
                      <a:pt x="216" y="4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2" name="Freeform 29"/>
              <p:cNvSpPr>
                <a:spLocks/>
              </p:cNvSpPr>
              <p:nvPr/>
            </p:nvSpPr>
            <p:spPr bwMode="auto">
              <a:xfrm>
                <a:off x="-7040563" y="-992188"/>
                <a:ext cx="2017713" cy="2500313"/>
              </a:xfrm>
              <a:custGeom>
                <a:avLst/>
                <a:gdLst>
                  <a:gd name="T0" fmla="*/ 424 w 1271"/>
                  <a:gd name="T1" fmla="*/ 11 h 1575"/>
                  <a:gd name="T2" fmla="*/ 585 w 1271"/>
                  <a:gd name="T3" fmla="*/ 57 h 1575"/>
                  <a:gd name="T4" fmla="*/ 751 w 1271"/>
                  <a:gd name="T5" fmla="*/ 113 h 1575"/>
                  <a:gd name="T6" fmla="*/ 945 w 1271"/>
                  <a:gd name="T7" fmla="*/ 185 h 1575"/>
                  <a:gd name="T8" fmla="*/ 1165 w 1271"/>
                  <a:gd name="T9" fmla="*/ 282 h 1575"/>
                  <a:gd name="T10" fmla="*/ 1270 w 1271"/>
                  <a:gd name="T11" fmla="*/ 341 h 1575"/>
                  <a:gd name="T12" fmla="*/ 1263 w 1271"/>
                  <a:gd name="T13" fmla="*/ 367 h 1575"/>
                  <a:gd name="T14" fmla="*/ 1248 w 1271"/>
                  <a:gd name="T15" fmla="*/ 418 h 1575"/>
                  <a:gd name="T16" fmla="*/ 1230 w 1271"/>
                  <a:gd name="T17" fmla="*/ 490 h 1575"/>
                  <a:gd name="T18" fmla="*/ 1205 w 1271"/>
                  <a:gd name="T19" fmla="*/ 580 h 1575"/>
                  <a:gd name="T20" fmla="*/ 1179 w 1271"/>
                  <a:gd name="T21" fmla="*/ 686 h 1575"/>
                  <a:gd name="T22" fmla="*/ 1150 w 1271"/>
                  <a:gd name="T23" fmla="*/ 805 h 1575"/>
                  <a:gd name="T24" fmla="*/ 1121 w 1271"/>
                  <a:gd name="T25" fmla="*/ 933 h 1575"/>
                  <a:gd name="T26" fmla="*/ 1093 w 1271"/>
                  <a:gd name="T27" fmla="*/ 1069 h 1575"/>
                  <a:gd name="T28" fmla="*/ 1066 w 1271"/>
                  <a:gd name="T29" fmla="*/ 1208 h 1575"/>
                  <a:gd name="T30" fmla="*/ 960 w 1271"/>
                  <a:gd name="T31" fmla="*/ 1333 h 1575"/>
                  <a:gd name="T32" fmla="*/ 764 w 1271"/>
                  <a:gd name="T33" fmla="*/ 1426 h 1575"/>
                  <a:gd name="T34" fmla="*/ 558 w 1271"/>
                  <a:gd name="T35" fmla="*/ 1498 h 1575"/>
                  <a:gd name="T36" fmla="*/ 341 w 1271"/>
                  <a:gd name="T37" fmla="*/ 1547 h 1575"/>
                  <a:gd name="T38" fmla="*/ 116 w 1271"/>
                  <a:gd name="T39" fmla="*/ 1571 h 1575"/>
                  <a:gd name="T40" fmla="*/ 0 w 1271"/>
                  <a:gd name="T41" fmla="*/ 1081 h 1575"/>
                  <a:gd name="T42" fmla="*/ 3 w 1271"/>
                  <a:gd name="T43" fmla="*/ 1076 h 1575"/>
                  <a:gd name="T44" fmla="*/ 8 w 1271"/>
                  <a:gd name="T45" fmla="*/ 1069 h 1575"/>
                  <a:gd name="T46" fmla="*/ 13 w 1271"/>
                  <a:gd name="T47" fmla="*/ 1056 h 1575"/>
                  <a:gd name="T48" fmla="*/ 28 w 1271"/>
                  <a:gd name="T49" fmla="*/ 1023 h 1575"/>
                  <a:gd name="T50" fmla="*/ 57 w 1271"/>
                  <a:gd name="T51" fmla="*/ 955 h 1575"/>
                  <a:gd name="T52" fmla="*/ 94 w 1271"/>
                  <a:gd name="T53" fmla="*/ 865 h 1575"/>
                  <a:gd name="T54" fmla="*/ 138 w 1271"/>
                  <a:gd name="T55" fmla="*/ 757 h 1575"/>
                  <a:gd name="T56" fmla="*/ 185 w 1271"/>
                  <a:gd name="T57" fmla="*/ 636 h 1575"/>
                  <a:gd name="T58" fmla="*/ 234 w 1271"/>
                  <a:gd name="T59" fmla="*/ 507 h 1575"/>
                  <a:gd name="T60" fmla="*/ 300 w 1271"/>
                  <a:gd name="T61" fmla="*/ 317 h 1575"/>
                  <a:gd name="T62" fmla="*/ 343 w 1271"/>
                  <a:gd name="T63" fmla="*/ 180 h 1575"/>
                  <a:gd name="T64" fmla="*/ 376 w 1271"/>
                  <a:gd name="T65" fmla="*/ 57 h 1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71" h="1575">
                    <a:moveTo>
                      <a:pt x="388" y="0"/>
                    </a:moveTo>
                    <a:lnTo>
                      <a:pt x="424" y="11"/>
                    </a:lnTo>
                    <a:lnTo>
                      <a:pt x="503" y="33"/>
                    </a:lnTo>
                    <a:lnTo>
                      <a:pt x="585" y="57"/>
                    </a:lnTo>
                    <a:lnTo>
                      <a:pt x="669" y="85"/>
                    </a:lnTo>
                    <a:lnTo>
                      <a:pt x="751" y="113"/>
                    </a:lnTo>
                    <a:lnTo>
                      <a:pt x="834" y="144"/>
                    </a:lnTo>
                    <a:lnTo>
                      <a:pt x="945" y="185"/>
                    </a:lnTo>
                    <a:lnTo>
                      <a:pt x="1056" y="232"/>
                    </a:lnTo>
                    <a:lnTo>
                      <a:pt x="1165" y="282"/>
                    </a:lnTo>
                    <a:lnTo>
                      <a:pt x="1271" y="337"/>
                    </a:lnTo>
                    <a:lnTo>
                      <a:pt x="1270" y="341"/>
                    </a:lnTo>
                    <a:lnTo>
                      <a:pt x="1268" y="350"/>
                    </a:lnTo>
                    <a:lnTo>
                      <a:pt x="1263" y="367"/>
                    </a:lnTo>
                    <a:lnTo>
                      <a:pt x="1257" y="389"/>
                    </a:lnTo>
                    <a:lnTo>
                      <a:pt x="1248" y="418"/>
                    </a:lnTo>
                    <a:lnTo>
                      <a:pt x="1240" y="452"/>
                    </a:lnTo>
                    <a:lnTo>
                      <a:pt x="1230" y="490"/>
                    </a:lnTo>
                    <a:lnTo>
                      <a:pt x="1218" y="532"/>
                    </a:lnTo>
                    <a:lnTo>
                      <a:pt x="1205" y="580"/>
                    </a:lnTo>
                    <a:lnTo>
                      <a:pt x="1193" y="631"/>
                    </a:lnTo>
                    <a:lnTo>
                      <a:pt x="1179" y="686"/>
                    </a:lnTo>
                    <a:lnTo>
                      <a:pt x="1165" y="744"/>
                    </a:lnTo>
                    <a:lnTo>
                      <a:pt x="1150" y="805"/>
                    </a:lnTo>
                    <a:lnTo>
                      <a:pt x="1136" y="867"/>
                    </a:lnTo>
                    <a:lnTo>
                      <a:pt x="1121" y="933"/>
                    </a:lnTo>
                    <a:lnTo>
                      <a:pt x="1108" y="1001"/>
                    </a:lnTo>
                    <a:lnTo>
                      <a:pt x="1093" y="1069"/>
                    </a:lnTo>
                    <a:lnTo>
                      <a:pt x="1080" y="1139"/>
                    </a:lnTo>
                    <a:lnTo>
                      <a:pt x="1066" y="1208"/>
                    </a:lnTo>
                    <a:lnTo>
                      <a:pt x="1054" y="1279"/>
                    </a:lnTo>
                    <a:lnTo>
                      <a:pt x="960" y="1333"/>
                    </a:lnTo>
                    <a:lnTo>
                      <a:pt x="863" y="1382"/>
                    </a:lnTo>
                    <a:lnTo>
                      <a:pt x="764" y="1426"/>
                    </a:lnTo>
                    <a:lnTo>
                      <a:pt x="662" y="1464"/>
                    </a:lnTo>
                    <a:lnTo>
                      <a:pt x="558" y="1498"/>
                    </a:lnTo>
                    <a:lnTo>
                      <a:pt x="450" y="1525"/>
                    </a:lnTo>
                    <a:lnTo>
                      <a:pt x="341" y="1547"/>
                    </a:lnTo>
                    <a:lnTo>
                      <a:pt x="230" y="1563"/>
                    </a:lnTo>
                    <a:lnTo>
                      <a:pt x="116" y="1571"/>
                    </a:lnTo>
                    <a:lnTo>
                      <a:pt x="0" y="1575"/>
                    </a:lnTo>
                    <a:lnTo>
                      <a:pt x="0" y="1081"/>
                    </a:lnTo>
                    <a:lnTo>
                      <a:pt x="2" y="1080"/>
                    </a:lnTo>
                    <a:lnTo>
                      <a:pt x="3" y="1076"/>
                    </a:lnTo>
                    <a:lnTo>
                      <a:pt x="5" y="1073"/>
                    </a:lnTo>
                    <a:lnTo>
                      <a:pt x="8" y="1069"/>
                    </a:lnTo>
                    <a:lnTo>
                      <a:pt x="13" y="1058"/>
                    </a:lnTo>
                    <a:lnTo>
                      <a:pt x="13" y="1056"/>
                    </a:lnTo>
                    <a:lnTo>
                      <a:pt x="14" y="1052"/>
                    </a:lnTo>
                    <a:lnTo>
                      <a:pt x="28" y="1023"/>
                    </a:lnTo>
                    <a:lnTo>
                      <a:pt x="41" y="993"/>
                    </a:lnTo>
                    <a:lnTo>
                      <a:pt x="57" y="955"/>
                    </a:lnTo>
                    <a:lnTo>
                      <a:pt x="75" y="913"/>
                    </a:lnTo>
                    <a:lnTo>
                      <a:pt x="94" y="865"/>
                    </a:lnTo>
                    <a:lnTo>
                      <a:pt x="115" y="812"/>
                    </a:lnTo>
                    <a:lnTo>
                      <a:pt x="138" y="757"/>
                    </a:lnTo>
                    <a:lnTo>
                      <a:pt x="162" y="697"/>
                    </a:lnTo>
                    <a:lnTo>
                      <a:pt x="185" y="636"/>
                    </a:lnTo>
                    <a:lnTo>
                      <a:pt x="209" y="573"/>
                    </a:lnTo>
                    <a:lnTo>
                      <a:pt x="234" y="507"/>
                    </a:lnTo>
                    <a:lnTo>
                      <a:pt x="258" y="441"/>
                    </a:lnTo>
                    <a:lnTo>
                      <a:pt x="300" y="317"/>
                    </a:lnTo>
                    <a:lnTo>
                      <a:pt x="323" y="244"/>
                    </a:lnTo>
                    <a:lnTo>
                      <a:pt x="343" y="180"/>
                    </a:lnTo>
                    <a:lnTo>
                      <a:pt x="360" y="118"/>
                    </a:lnTo>
                    <a:lnTo>
                      <a:pt x="376" y="57"/>
                    </a:lnTo>
                    <a:lnTo>
                      <a:pt x="38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3" name="Freeform 30"/>
              <p:cNvSpPr>
                <a:spLocks/>
              </p:cNvSpPr>
              <p:nvPr/>
            </p:nvSpPr>
            <p:spPr bwMode="auto">
              <a:xfrm>
                <a:off x="-7040563" y="-1260475"/>
                <a:ext cx="1190625" cy="1982788"/>
              </a:xfrm>
              <a:custGeom>
                <a:avLst/>
                <a:gdLst>
                  <a:gd name="T0" fmla="*/ 410 w 750"/>
                  <a:gd name="T1" fmla="*/ 0 h 1249"/>
                  <a:gd name="T2" fmla="*/ 412 w 750"/>
                  <a:gd name="T3" fmla="*/ 1 h 1249"/>
                  <a:gd name="T4" fmla="*/ 418 w 750"/>
                  <a:gd name="T5" fmla="*/ 7 h 1249"/>
                  <a:gd name="T6" fmla="*/ 428 w 750"/>
                  <a:gd name="T7" fmla="*/ 17 h 1249"/>
                  <a:gd name="T8" fmla="*/ 443 w 750"/>
                  <a:gd name="T9" fmla="*/ 29 h 1249"/>
                  <a:gd name="T10" fmla="*/ 459 w 750"/>
                  <a:gd name="T11" fmla="*/ 45 h 1249"/>
                  <a:gd name="T12" fmla="*/ 478 w 750"/>
                  <a:gd name="T13" fmla="*/ 63 h 1249"/>
                  <a:gd name="T14" fmla="*/ 499 w 750"/>
                  <a:gd name="T15" fmla="*/ 83 h 1249"/>
                  <a:gd name="T16" fmla="*/ 522 w 750"/>
                  <a:gd name="T17" fmla="*/ 105 h 1249"/>
                  <a:gd name="T18" fmla="*/ 545 w 750"/>
                  <a:gd name="T19" fmla="*/ 128 h 1249"/>
                  <a:gd name="T20" fmla="*/ 571 w 750"/>
                  <a:gd name="T21" fmla="*/ 151 h 1249"/>
                  <a:gd name="T22" fmla="*/ 596 w 750"/>
                  <a:gd name="T23" fmla="*/ 177 h 1249"/>
                  <a:gd name="T24" fmla="*/ 621 w 750"/>
                  <a:gd name="T25" fmla="*/ 202 h 1249"/>
                  <a:gd name="T26" fmla="*/ 646 w 750"/>
                  <a:gd name="T27" fmla="*/ 227 h 1249"/>
                  <a:gd name="T28" fmla="*/ 669 w 750"/>
                  <a:gd name="T29" fmla="*/ 252 h 1249"/>
                  <a:gd name="T30" fmla="*/ 693 w 750"/>
                  <a:gd name="T31" fmla="*/ 277 h 1249"/>
                  <a:gd name="T32" fmla="*/ 715 w 750"/>
                  <a:gd name="T33" fmla="*/ 302 h 1249"/>
                  <a:gd name="T34" fmla="*/ 734 w 750"/>
                  <a:gd name="T35" fmla="*/ 324 h 1249"/>
                  <a:gd name="T36" fmla="*/ 750 w 750"/>
                  <a:gd name="T37" fmla="*/ 345 h 1249"/>
                  <a:gd name="T38" fmla="*/ 580 w 750"/>
                  <a:gd name="T39" fmla="*/ 433 h 1249"/>
                  <a:gd name="T40" fmla="*/ 690 w 750"/>
                  <a:gd name="T41" fmla="*/ 698 h 1249"/>
                  <a:gd name="T42" fmla="*/ 39 w 750"/>
                  <a:gd name="T43" fmla="*/ 1218 h 1249"/>
                  <a:gd name="T44" fmla="*/ 0 w 750"/>
                  <a:gd name="T45" fmla="*/ 1249 h 1249"/>
                  <a:gd name="T46" fmla="*/ 3 w 750"/>
                  <a:gd name="T47" fmla="*/ 1247 h 1249"/>
                  <a:gd name="T48" fmla="*/ 6 w 750"/>
                  <a:gd name="T49" fmla="*/ 1239 h 1249"/>
                  <a:gd name="T50" fmla="*/ 13 w 750"/>
                  <a:gd name="T51" fmla="*/ 1226 h 1249"/>
                  <a:gd name="T52" fmla="*/ 20 w 750"/>
                  <a:gd name="T53" fmla="*/ 1209 h 1249"/>
                  <a:gd name="T54" fmla="*/ 30 w 750"/>
                  <a:gd name="T55" fmla="*/ 1187 h 1249"/>
                  <a:gd name="T56" fmla="*/ 39 w 750"/>
                  <a:gd name="T57" fmla="*/ 1161 h 1249"/>
                  <a:gd name="T58" fmla="*/ 57 w 750"/>
                  <a:gd name="T59" fmla="*/ 1121 h 1249"/>
                  <a:gd name="T60" fmla="*/ 76 w 750"/>
                  <a:gd name="T61" fmla="*/ 1074 h 1249"/>
                  <a:gd name="T62" fmla="*/ 97 w 750"/>
                  <a:gd name="T63" fmla="*/ 1023 h 1249"/>
                  <a:gd name="T64" fmla="*/ 120 w 750"/>
                  <a:gd name="T65" fmla="*/ 967 h 1249"/>
                  <a:gd name="T66" fmla="*/ 145 w 750"/>
                  <a:gd name="T67" fmla="*/ 907 h 1249"/>
                  <a:gd name="T68" fmla="*/ 169 w 750"/>
                  <a:gd name="T69" fmla="*/ 843 h 1249"/>
                  <a:gd name="T70" fmla="*/ 195 w 750"/>
                  <a:gd name="T71" fmla="*/ 777 h 1249"/>
                  <a:gd name="T72" fmla="*/ 220 w 750"/>
                  <a:gd name="T73" fmla="*/ 709 h 1249"/>
                  <a:gd name="T74" fmla="*/ 246 w 750"/>
                  <a:gd name="T75" fmla="*/ 639 h 1249"/>
                  <a:gd name="T76" fmla="*/ 270 w 750"/>
                  <a:gd name="T77" fmla="*/ 569 h 1249"/>
                  <a:gd name="T78" fmla="*/ 295 w 750"/>
                  <a:gd name="T79" fmla="*/ 499 h 1249"/>
                  <a:gd name="T80" fmla="*/ 317 w 750"/>
                  <a:gd name="T81" fmla="*/ 429 h 1249"/>
                  <a:gd name="T82" fmla="*/ 339 w 750"/>
                  <a:gd name="T83" fmla="*/ 359 h 1249"/>
                  <a:gd name="T84" fmla="*/ 357 w 750"/>
                  <a:gd name="T85" fmla="*/ 293 h 1249"/>
                  <a:gd name="T86" fmla="*/ 374 w 750"/>
                  <a:gd name="T87" fmla="*/ 228 h 1249"/>
                  <a:gd name="T88" fmla="*/ 388 w 750"/>
                  <a:gd name="T89" fmla="*/ 167 h 1249"/>
                  <a:gd name="T90" fmla="*/ 396 w 750"/>
                  <a:gd name="T91" fmla="*/ 121 h 1249"/>
                  <a:gd name="T92" fmla="*/ 404 w 750"/>
                  <a:gd name="T93" fmla="*/ 77 h 1249"/>
                  <a:gd name="T94" fmla="*/ 407 w 750"/>
                  <a:gd name="T95" fmla="*/ 37 h 1249"/>
                  <a:gd name="T96" fmla="*/ 410 w 750"/>
                  <a:gd name="T97" fmla="*/ 0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50" h="1249">
                    <a:moveTo>
                      <a:pt x="410" y="0"/>
                    </a:moveTo>
                    <a:lnTo>
                      <a:pt x="412" y="1"/>
                    </a:lnTo>
                    <a:lnTo>
                      <a:pt x="418" y="7"/>
                    </a:lnTo>
                    <a:lnTo>
                      <a:pt x="428" y="17"/>
                    </a:lnTo>
                    <a:lnTo>
                      <a:pt x="443" y="29"/>
                    </a:lnTo>
                    <a:lnTo>
                      <a:pt x="459" y="45"/>
                    </a:lnTo>
                    <a:lnTo>
                      <a:pt x="478" y="63"/>
                    </a:lnTo>
                    <a:lnTo>
                      <a:pt x="499" y="83"/>
                    </a:lnTo>
                    <a:lnTo>
                      <a:pt x="522" y="105"/>
                    </a:lnTo>
                    <a:lnTo>
                      <a:pt x="545" y="128"/>
                    </a:lnTo>
                    <a:lnTo>
                      <a:pt x="571" y="151"/>
                    </a:lnTo>
                    <a:lnTo>
                      <a:pt x="596" y="177"/>
                    </a:lnTo>
                    <a:lnTo>
                      <a:pt x="621" y="202"/>
                    </a:lnTo>
                    <a:lnTo>
                      <a:pt x="646" y="227"/>
                    </a:lnTo>
                    <a:lnTo>
                      <a:pt x="669" y="252"/>
                    </a:lnTo>
                    <a:lnTo>
                      <a:pt x="693" y="277"/>
                    </a:lnTo>
                    <a:lnTo>
                      <a:pt x="715" y="302"/>
                    </a:lnTo>
                    <a:lnTo>
                      <a:pt x="734" y="324"/>
                    </a:lnTo>
                    <a:lnTo>
                      <a:pt x="750" y="345"/>
                    </a:lnTo>
                    <a:lnTo>
                      <a:pt x="580" y="433"/>
                    </a:lnTo>
                    <a:lnTo>
                      <a:pt x="690" y="698"/>
                    </a:lnTo>
                    <a:lnTo>
                      <a:pt x="39" y="1218"/>
                    </a:lnTo>
                    <a:lnTo>
                      <a:pt x="0" y="1249"/>
                    </a:lnTo>
                    <a:lnTo>
                      <a:pt x="3" y="1247"/>
                    </a:lnTo>
                    <a:lnTo>
                      <a:pt x="6" y="1239"/>
                    </a:lnTo>
                    <a:lnTo>
                      <a:pt x="13" y="1226"/>
                    </a:lnTo>
                    <a:lnTo>
                      <a:pt x="20" y="1209"/>
                    </a:lnTo>
                    <a:lnTo>
                      <a:pt x="30" y="1187"/>
                    </a:lnTo>
                    <a:lnTo>
                      <a:pt x="39" y="1161"/>
                    </a:lnTo>
                    <a:lnTo>
                      <a:pt x="57" y="1121"/>
                    </a:lnTo>
                    <a:lnTo>
                      <a:pt x="76" y="1074"/>
                    </a:lnTo>
                    <a:lnTo>
                      <a:pt x="97" y="1023"/>
                    </a:lnTo>
                    <a:lnTo>
                      <a:pt x="120" y="967"/>
                    </a:lnTo>
                    <a:lnTo>
                      <a:pt x="145" y="907"/>
                    </a:lnTo>
                    <a:lnTo>
                      <a:pt x="169" y="843"/>
                    </a:lnTo>
                    <a:lnTo>
                      <a:pt x="195" y="777"/>
                    </a:lnTo>
                    <a:lnTo>
                      <a:pt x="220" y="709"/>
                    </a:lnTo>
                    <a:lnTo>
                      <a:pt x="246" y="639"/>
                    </a:lnTo>
                    <a:lnTo>
                      <a:pt x="270" y="569"/>
                    </a:lnTo>
                    <a:lnTo>
                      <a:pt x="295" y="499"/>
                    </a:lnTo>
                    <a:lnTo>
                      <a:pt x="317" y="429"/>
                    </a:lnTo>
                    <a:lnTo>
                      <a:pt x="339" y="359"/>
                    </a:lnTo>
                    <a:lnTo>
                      <a:pt x="357" y="293"/>
                    </a:lnTo>
                    <a:lnTo>
                      <a:pt x="374" y="228"/>
                    </a:lnTo>
                    <a:lnTo>
                      <a:pt x="388" y="167"/>
                    </a:lnTo>
                    <a:lnTo>
                      <a:pt x="396" y="121"/>
                    </a:lnTo>
                    <a:lnTo>
                      <a:pt x="404" y="77"/>
                    </a:lnTo>
                    <a:lnTo>
                      <a:pt x="407" y="37"/>
                    </a:lnTo>
                    <a:lnTo>
                      <a:pt x="41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4" name="Freeform 31"/>
              <p:cNvSpPr>
                <a:spLocks/>
              </p:cNvSpPr>
              <p:nvPr/>
            </p:nvSpPr>
            <p:spPr bwMode="auto">
              <a:xfrm>
                <a:off x="-9182100" y="-455613"/>
                <a:ext cx="473075" cy="1493838"/>
              </a:xfrm>
              <a:custGeom>
                <a:avLst/>
                <a:gdLst>
                  <a:gd name="T0" fmla="*/ 82 w 298"/>
                  <a:gd name="T1" fmla="*/ 0 h 941"/>
                  <a:gd name="T2" fmla="*/ 82 w 298"/>
                  <a:gd name="T3" fmla="*/ 3 h 941"/>
                  <a:gd name="T4" fmla="*/ 86 w 298"/>
                  <a:gd name="T5" fmla="*/ 14 h 941"/>
                  <a:gd name="T6" fmla="*/ 89 w 298"/>
                  <a:gd name="T7" fmla="*/ 29 h 941"/>
                  <a:gd name="T8" fmla="*/ 95 w 298"/>
                  <a:gd name="T9" fmla="*/ 51 h 941"/>
                  <a:gd name="T10" fmla="*/ 103 w 298"/>
                  <a:gd name="T11" fmla="*/ 78 h 941"/>
                  <a:gd name="T12" fmla="*/ 113 w 298"/>
                  <a:gd name="T13" fmla="*/ 110 h 941"/>
                  <a:gd name="T14" fmla="*/ 122 w 298"/>
                  <a:gd name="T15" fmla="*/ 148 h 941"/>
                  <a:gd name="T16" fmla="*/ 127 w 298"/>
                  <a:gd name="T17" fmla="*/ 168 h 941"/>
                  <a:gd name="T18" fmla="*/ 132 w 298"/>
                  <a:gd name="T19" fmla="*/ 188 h 941"/>
                  <a:gd name="T20" fmla="*/ 144 w 298"/>
                  <a:gd name="T21" fmla="*/ 231 h 941"/>
                  <a:gd name="T22" fmla="*/ 155 w 298"/>
                  <a:gd name="T23" fmla="*/ 279 h 941"/>
                  <a:gd name="T24" fmla="*/ 170 w 298"/>
                  <a:gd name="T25" fmla="*/ 331 h 941"/>
                  <a:gd name="T26" fmla="*/ 185 w 298"/>
                  <a:gd name="T27" fmla="*/ 395 h 941"/>
                  <a:gd name="T28" fmla="*/ 203 w 298"/>
                  <a:gd name="T29" fmla="*/ 473 h 941"/>
                  <a:gd name="T30" fmla="*/ 223 w 298"/>
                  <a:gd name="T31" fmla="*/ 555 h 941"/>
                  <a:gd name="T32" fmla="*/ 240 w 298"/>
                  <a:gd name="T33" fmla="*/ 638 h 941"/>
                  <a:gd name="T34" fmla="*/ 263 w 298"/>
                  <a:gd name="T35" fmla="*/ 748 h 941"/>
                  <a:gd name="T36" fmla="*/ 285 w 298"/>
                  <a:gd name="T37" fmla="*/ 861 h 941"/>
                  <a:gd name="T38" fmla="*/ 295 w 298"/>
                  <a:gd name="T39" fmla="*/ 916 h 941"/>
                  <a:gd name="T40" fmla="*/ 296 w 298"/>
                  <a:gd name="T41" fmla="*/ 929 h 941"/>
                  <a:gd name="T42" fmla="*/ 298 w 298"/>
                  <a:gd name="T43" fmla="*/ 941 h 941"/>
                  <a:gd name="T44" fmla="*/ 220 w 298"/>
                  <a:gd name="T45" fmla="*/ 890 h 941"/>
                  <a:gd name="T46" fmla="*/ 144 w 298"/>
                  <a:gd name="T47" fmla="*/ 836 h 941"/>
                  <a:gd name="T48" fmla="*/ 71 w 298"/>
                  <a:gd name="T49" fmla="*/ 779 h 941"/>
                  <a:gd name="T50" fmla="*/ 0 w 298"/>
                  <a:gd name="T51" fmla="*/ 719 h 941"/>
                  <a:gd name="T52" fmla="*/ 7 w 298"/>
                  <a:gd name="T53" fmla="*/ 652 h 941"/>
                  <a:gd name="T54" fmla="*/ 15 w 298"/>
                  <a:gd name="T55" fmla="*/ 586 h 941"/>
                  <a:gd name="T56" fmla="*/ 22 w 298"/>
                  <a:gd name="T57" fmla="*/ 520 h 941"/>
                  <a:gd name="T58" fmla="*/ 28 w 298"/>
                  <a:gd name="T59" fmla="*/ 456 h 941"/>
                  <a:gd name="T60" fmla="*/ 36 w 298"/>
                  <a:gd name="T61" fmla="*/ 395 h 941"/>
                  <a:gd name="T62" fmla="*/ 43 w 298"/>
                  <a:gd name="T63" fmla="*/ 335 h 941"/>
                  <a:gd name="T64" fmla="*/ 49 w 298"/>
                  <a:gd name="T65" fmla="*/ 279 h 941"/>
                  <a:gd name="T66" fmla="*/ 55 w 298"/>
                  <a:gd name="T67" fmla="*/ 226 h 941"/>
                  <a:gd name="T68" fmla="*/ 60 w 298"/>
                  <a:gd name="T69" fmla="*/ 177 h 941"/>
                  <a:gd name="T70" fmla="*/ 66 w 298"/>
                  <a:gd name="T71" fmla="*/ 133 h 941"/>
                  <a:gd name="T72" fmla="*/ 70 w 298"/>
                  <a:gd name="T73" fmla="*/ 95 h 941"/>
                  <a:gd name="T74" fmla="*/ 73 w 298"/>
                  <a:gd name="T75" fmla="*/ 62 h 941"/>
                  <a:gd name="T76" fmla="*/ 77 w 298"/>
                  <a:gd name="T77" fmla="*/ 36 h 941"/>
                  <a:gd name="T78" fmla="*/ 80 w 298"/>
                  <a:gd name="T79" fmla="*/ 16 h 941"/>
                  <a:gd name="T80" fmla="*/ 81 w 298"/>
                  <a:gd name="T81" fmla="*/ 4 h 941"/>
                  <a:gd name="T82" fmla="*/ 82 w 298"/>
                  <a:gd name="T8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8" h="941">
                    <a:moveTo>
                      <a:pt x="82" y="0"/>
                    </a:moveTo>
                    <a:lnTo>
                      <a:pt x="82" y="3"/>
                    </a:lnTo>
                    <a:lnTo>
                      <a:pt x="86" y="14"/>
                    </a:lnTo>
                    <a:lnTo>
                      <a:pt x="89" y="29"/>
                    </a:lnTo>
                    <a:lnTo>
                      <a:pt x="95" y="51"/>
                    </a:lnTo>
                    <a:lnTo>
                      <a:pt x="103" y="78"/>
                    </a:lnTo>
                    <a:lnTo>
                      <a:pt x="113" y="110"/>
                    </a:lnTo>
                    <a:lnTo>
                      <a:pt x="122" y="148"/>
                    </a:lnTo>
                    <a:lnTo>
                      <a:pt x="127" y="168"/>
                    </a:lnTo>
                    <a:lnTo>
                      <a:pt x="132" y="188"/>
                    </a:lnTo>
                    <a:lnTo>
                      <a:pt x="144" y="231"/>
                    </a:lnTo>
                    <a:lnTo>
                      <a:pt x="155" y="279"/>
                    </a:lnTo>
                    <a:lnTo>
                      <a:pt x="170" y="331"/>
                    </a:lnTo>
                    <a:lnTo>
                      <a:pt x="185" y="395"/>
                    </a:lnTo>
                    <a:lnTo>
                      <a:pt x="203" y="473"/>
                    </a:lnTo>
                    <a:lnTo>
                      <a:pt x="223" y="555"/>
                    </a:lnTo>
                    <a:lnTo>
                      <a:pt x="240" y="638"/>
                    </a:lnTo>
                    <a:lnTo>
                      <a:pt x="263" y="748"/>
                    </a:lnTo>
                    <a:lnTo>
                      <a:pt x="285" y="861"/>
                    </a:lnTo>
                    <a:lnTo>
                      <a:pt x="295" y="916"/>
                    </a:lnTo>
                    <a:lnTo>
                      <a:pt x="296" y="929"/>
                    </a:lnTo>
                    <a:lnTo>
                      <a:pt x="298" y="941"/>
                    </a:lnTo>
                    <a:lnTo>
                      <a:pt x="220" y="890"/>
                    </a:lnTo>
                    <a:lnTo>
                      <a:pt x="144" y="836"/>
                    </a:lnTo>
                    <a:lnTo>
                      <a:pt x="71" y="779"/>
                    </a:lnTo>
                    <a:lnTo>
                      <a:pt x="0" y="719"/>
                    </a:lnTo>
                    <a:lnTo>
                      <a:pt x="7" y="652"/>
                    </a:lnTo>
                    <a:lnTo>
                      <a:pt x="15" y="586"/>
                    </a:lnTo>
                    <a:lnTo>
                      <a:pt x="22" y="520"/>
                    </a:lnTo>
                    <a:lnTo>
                      <a:pt x="28" y="456"/>
                    </a:lnTo>
                    <a:lnTo>
                      <a:pt x="36" y="395"/>
                    </a:lnTo>
                    <a:lnTo>
                      <a:pt x="43" y="335"/>
                    </a:lnTo>
                    <a:lnTo>
                      <a:pt x="49" y="279"/>
                    </a:lnTo>
                    <a:lnTo>
                      <a:pt x="55" y="226"/>
                    </a:lnTo>
                    <a:lnTo>
                      <a:pt x="60" y="177"/>
                    </a:lnTo>
                    <a:lnTo>
                      <a:pt x="66" y="133"/>
                    </a:lnTo>
                    <a:lnTo>
                      <a:pt x="70" y="95"/>
                    </a:lnTo>
                    <a:lnTo>
                      <a:pt x="73" y="62"/>
                    </a:lnTo>
                    <a:lnTo>
                      <a:pt x="77" y="36"/>
                    </a:lnTo>
                    <a:lnTo>
                      <a:pt x="80" y="16"/>
                    </a:lnTo>
                    <a:lnTo>
                      <a:pt x="81" y="4"/>
                    </a:lnTo>
                    <a:lnTo>
                      <a:pt x="8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Freeform 32"/>
              <p:cNvSpPr>
                <a:spLocks/>
              </p:cNvSpPr>
              <p:nvPr/>
            </p:nvSpPr>
            <p:spPr bwMode="auto">
              <a:xfrm>
                <a:off x="-9055100" y="-995363"/>
                <a:ext cx="2014538" cy="2503488"/>
              </a:xfrm>
              <a:custGeom>
                <a:avLst/>
                <a:gdLst>
                  <a:gd name="T0" fmla="*/ 889 w 1269"/>
                  <a:gd name="T1" fmla="*/ 31 h 1577"/>
                  <a:gd name="T2" fmla="*/ 916 w 1269"/>
                  <a:gd name="T3" fmla="*/ 136 h 1577"/>
                  <a:gd name="T4" fmla="*/ 948 w 1269"/>
                  <a:gd name="T5" fmla="*/ 245 h 1577"/>
                  <a:gd name="T6" fmla="*/ 954 w 1269"/>
                  <a:gd name="T7" fmla="*/ 262 h 1577"/>
                  <a:gd name="T8" fmla="*/ 1014 w 1269"/>
                  <a:gd name="T9" fmla="*/ 442 h 1577"/>
                  <a:gd name="T10" fmla="*/ 1081 w 1269"/>
                  <a:gd name="T11" fmla="*/ 621 h 1577"/>
                  <a:gd name="T12" fmla="*/ 1119 w 1269"/>
                  <a:gd name="T13" fmla="*/ 720 h 1577"/>
                  <a:gd name="T14" fmla="*/ 1151 w 1269"/>
                  <a:gd name="T15" fmla="*/ 801 h 1577"/>
                  <a:gd name="T16" fmla="*/ 1174 w 1269"/>
                  <a:gd name="T17" fmla="*/ 857 h 1577"/>
                  <a:gd name="T18" fmla="*/ 1214 w 1269"/>
                  <a:gd name="T19" fmla="*/ 954 h 1577"/>
                  <a:gd name="T20" fmla="*/ 1244 w 1269"/>
                  <a:gd name="T21" fmla="*/ 1023 h 1577"/>
                  <a:gd name="T22" fmla="*/ 1265 w 1269"/>
                  <a:gd name="T23" fmla="*/ 1069 h 1577"/>
                  <a:gd name="T24" fmla="*/ 1269 w 1269"/>
                  <a:gd name="T25" fmla="*/ 1083 h 1577"/>
                  <a:gd name="T26" fmla="*/ 1156 w 1269"/>
                  <a:gd name="T27" fmla="*/ 1573 h 1577"/>
                  <a:gd name="T28" fmla="*/ 931 w 1269"/>
                  <a:gd name="T29" fmla="*/ 1549 h 1577"/>
                  <a:gd name="T30" fmla="*/ 715 w 1269"/>
                  <a:gd name="T31" fmla="*/ 1500 h 1577"/>
                  <a:gd name="T32" fmla="*/ 508 w 1269"/>
                  <a:gd name="T33" fmla="*/ 1428 h 1577"/>
                  <a:gd name="T34" fmla="*/ 312 w 1269"/>
                  <a:gd name="T35" fmla="*/ 1335 h 1577"/>
                  <a:gd name="T36" fmla="*/ 213 w 1269"/>
                  <a:gd name="T37" fmla="*/ 1256 h 1577"/>
                  <a:gd name="T38" fmla="*/ 182 w 1269"/>
                  <a:gd name="T39" fmla="*/ 1088 h 1577"/>
                  <a:gd name="T40" fmla="*/ 140 w 1269"/>
                  <a:gd name="T41" fmla="*/ 895 h 1577"/>
                  <a:gd name="T42" fmla="*/ 103 w 1269"/>
                  <a:gd name="T43" fmla="*/ 735 h 1577"/>
                  <a:gd name="T44" fmla="*/ 81 w 1269"/>
                  <a:gd name="T45" fmla="*/ 644 h 1577"/>
                  <a:gd name="T46" fmla="*/ 62 w 1269"/>
                  <a:gd name="T47" fmla="*/ 571 h 1577"/>
                  <a:gd name="T48" fmla="*/ 41 w 1269"/>
                  <a:gd name="T49" fmla="*/ 488 h 1577"/>
                  <a:gd name="T50" fmla="*/ 22 w 1269"/>
                  <a:gd name="T51" fmla="*/ 418 h 1577"/>
                  <a:gd name="T52" fmla="*/ 8 w 1269"/>
                  <a:gd name="T53" fmla="*/ 369 h 1577"/>
                  <a:gd name="T54" fmla="*/ 1 w 1269"/>
                  <a:gd name="T55" fmla="*/ 343 h 1577"/>
                  <a:gd name="T56" fmla="*/ 106 w 1269"/>
                  <a:gd name="T57" fmla="*/ 285 h 1577"/>
                  <a:gd name="T58" fmla="*/ 326 w 1269"/>
                  <a:gd name="T59" fmla="*/ 187 h 1577"/>
                  <a:gd name="T60" fmla="*/ 521 w 1269"/>
                  <a:gd name="T61" fmla="*/ 114 h 1577"/>
                  <a:gd name="T62" fmla="*/ 688 w 1269"/>
                  <a:gd name="T63" fmla="*/ 58 h 1577"/>
                  <a:gd name="T64" fmla="*/ 847 w 1269"/>
                  <a:gd name="T65" fmla="*/ 11 h 1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69" h="1577">
                    <a:moveTo>
                      <a:pt x="883" y="0"/>
                    </a:moveTo>
                    <a:lnTo>
                      <a:pt x="889" y="31"/>
                    </a:lnTo>
                    <a:lnTo>
                      <a:pt x="902" y="82"/>
                    </a:lnTo>
                    <a:lnTo>
                      <a:pt x="916" y="136"/>
                    </a:lnTo>
                    <a:lnTo>
                      <a:pt x="928" y="180"/>
                    </a:lnTo>
                    <a:lnTo>
                      <a:pt x="948" y="245"/>
                    </a:lnTo>
                    <a:lnTo>
                      <a:pt x="950" y="253"/>
                    </a:lnTo>
                    <a:lnTo>
                      <a:pt x="954" y="262"/>
                    </a:lnTo>
                    <a:lnTo>
                      <a:pt x="972" y="318"/>
                    </a:lnTo>
                    <a:lnTo>
                      <a:pt x="1014" y="442"/>
                    </a:lnTo>
                    <a:lnTo>
                      <a:pt x="1047" y="532"/>
                    </a:lnTo>
                    <a:lnTo>
                      <a:pt x="1081" y="621"/>
                    </a:lnTo>
                    <a:lnTo>
                      <a:pt x="1102" y="676"/>
                    </a:lnTo>
                    <a:lnTo>
                      <a:pt x="1119" y="720"/>
                    </a:lnTo>
                    <a:lnTo>
                      <a:pt x="1134" y="758"/>
                    </a:lnTo>
                    <a:lnTo>
                      <a:pt x="1151" y="801"/>
                    </a:lnTo>
                    <a:lnTo>
                      <a:pt x="1163" y="829"/>
                    </a:lnTo>
                    <a:lnTo>
                      <a:pt x="1174" y="857"/>
                    </a:lnTo>
                    <a:lnTo>
                      <a:pt x="1195" y="908"/>
                    </a:lnTo>
                    <a:lnTo>
                      <a:pt x="1214" y="954"/>
                    </a:lnTo>
                    <a:lnTo>
                      <a:pt x="1232" y="994"/>
                    </a:lnTo>
                    <a:lnTo>
                      <a:pt x="1244" y="1023"/>
                    </a:lnTo>
                    <a:lnTo>
                      <a:pt x="1258" y="1054"/>
                    </a:lnTo>
                    <a:lnTo>
                      <a:pt x="1265" y="1069"/>
                    </a:lnTo>
                    <a:lnTo>
                      <a:pt x="1268" y="1078"/>
                    </a:lnTo>
                    <a:lnTo>
                      <a:pt x="1269" y="1083"/>
                    </a:lnTo>
                    <a:lnTo>
                      <a:pt x="1269" y="1577"/>
                    </a:lnTo>
                    <a:lnTo>
                      <a:pt x="1156" y="1573"/>
                    </a:lnTo>
                    <a:lnTo>
                      <a:pt x="1042" y="1565"/>
                    </a:lnTo>
                    <a:lnTo>
                      <a:pt x="931" y="1549"/>
                    </a:lnTo>
                    <a:lnTo>
                      <a:pt x="822" y="1527"/>
                    </a:lnTo>
                    <a:lnTo>
                      <a:pt x="715" y="1500"/>
                    </a:lnTo>
                    <a:lnTo>
                      <a:pt x="611" y="1466"/>
                    </a:lnTo>
                    <a:lnTo>
                      <a:pt x="508" y="1428"/>
                    </a:lnTo>
                    <a:lnTo>
                      <a:pt x="409" y="1384"/>
                    </a:lnTo>
                    <a:lnTo>
                      <a:pt x="312" y="1335"/>
                    </a:lnTo>
                    <a:lnTo>
                      <a:pt x="218" y="1281"/>
                    </a:lnTo>
                    <a:lnTo>
                      <a:pt x="213" y="1256"/>
                    </a:lnTo>
                    <a:lnTo>
                      <a:pt x="204" y="1201"/>
                    </a:lnTo>
                    <a:lnTo>
                      <a:pt x="182" y="1088"/>
                    </a:lnTo>
                    <a:lnTo>
                      <a:pt x="158" y="978"/>
                    </a:lnTo>
                    <a:lnTo>
                      <a:pt x="140" y="895"/>
                    </a:lnTo>
                    <a:lnTo>
                      <a:pt x="122" y="813"/>
                    </a:lnTo>
                    <a:lnTo>
                      <a:pt x="103" y="735"/>
                    </a:lnTo>
                    <a:lnTo>
                      <a:pt x="88" y="671"/>
                    </a:lnTo>
                    <a:lnTo>
                      <a:pt x="81" y="644"/>
                    </a:lnTo>
                    <a:lnTo>
                      <a:pt x="74" y="619"/>
                    </a:lnTo>
                    <a:lnTo>
                      <a:pt x="62" y="571"/>
                    </a:lnTo>
                    <a:lnTo>
                      <a:pt x="51" y="528"/>
                    </a:lnTo>
                    <a:lnTo>
                      <a:pt x="41" y="488"/>
                    </a:lnTo>
                    <a:lnTo>
                      <a:pt x="30" y="450"/>
                    </a:lnTo>
                    <a:lnTo>
                      <a:pt x="22" y="418"/>
                    </a:lnTo>
                    <a:lnTo>
                      <a:pt x="14" y="391"/>
                    </a:lnTo>
                    <a:lnTo>
                      <a:pt x="8" y="369"/>
                    </a:lnTo>
                    <a:lnTo>
                      <a:pt x="3" y="354"/>
                    </a:lnTo>
                    <a:lnTo>
                      <a:pt x="1" y="343"/>
                    </a:lnTo>
                    <a:lnTo>
                      <a:pt x="0" y="340"/>
                    </a:lnTo>
                    <a:lnTo>
                      <a:pt x="106" y="285"/>
                    </a:lnTo>
                    <a:lnTo>
                      <a:pt x="215" y="234"/>
                    </a:lnTo>
                    <a:lnTo>
                      <a:pt x="326" y="187"/>
                    </a:lnTo>
                    <a:lnTo>
                      <a:pt x="437" y="143"/>
                    </a:lnTo>
                    <a:lnTo>
                      <a:pt x="521" y="114"/>
                    </a:lnTo>
                    <a:lnTo>
                      <a:pt x="602" y="86"/>
                    </a:lnTo>
                    <a:lnTo>
                      <a:pt x="688" y="58"/>
                    </a:lnTo>
                    <a:lnTo>
                      <a:pt x="770" y="33"/>
                    </a:lnTo>
                    <a:lnTo>
                      <a:pt x="847" y="11"/>
                    </a:lnTo>
                    <a:lnTo>
                      <a:pt x="88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6" name="Freeform 33"/>
              <p:cNvSpPr>
                <a:spLocks/>
              </p:cNvSpPr>
              <p:nvPr/>
            </p:nvSpPr>
            <p:spPr bwMode="auto">
              <a:xfrm>
                <a:off x="-8224838" y="-1260475"/>
                <a:ext cx="1184275" cy="1984375"/>
              </a:xfrm>
              <a:custGeom>
                <a:avLst/>
                <a:gdLst>
                  <a:gd name="T0" fmla="*/ 339 w 746"/>
                  <a:gd name="T1" fmla="*/ 0 h 1250"/>
                  <a:gd name="T2" fmla="*/ 342 w 746"/>
                  <a:gd name="T3" fmla="*/ 38 h 1250"/>
                  <a:gd name="T4" fmla="*/ 346 w 746"/>
                  <a:gd name="T5" fmla="*/ 78 h 1250"/>
                  <a:gd name="T6" fmla="*/ 353 w 746"/>
                  <a:gd name="T7" fmla="*/ 122 h 1250"/>
                  <a:gd name="T8" fmla="*/ 361 w 746"/>
                  <a:gd name="T9" fmla="*/ 169 h 1250"/>
                  <a:gd name="T10" fmla="*/ 375 w 746"/>
                  <a:gd name="T11" fmla="*/ 230 h 1250"/>
                  <a:gd name="T12" fmla="*/ 392 w 746"/>
                  <a:gd name="T13" fmla="*/ 293 h 1250"/>
                  <a:gd name="T14" fmla="*/ 410 w 746"/>
                  <a:gd name="T15" fmla="*/ 360 h 1250"/>
                  <a:gd name="T16" fmla="*/ 432 w 746"/>
                  <a:gd name="T17" fmla="*/ 429 h 1250"/>
                  <a:gd name="T18" fmla="*/ 454 w 746"/>
                  <a:gd name="T19" fmla="*/ 500 h 1250"/>
                  <a:gd name="T20" fmla="*/ 479 w 746"/>
                  <a:gd name="T21" fmla="*/ 569 h 1250"/>
                  <a:gd name="T22" fmla="*/ 503 w 746"/>
                  <a:gd name="T23" fmla="*/ 640 h 1250"/>
                  <a:gd name="T24" fmla="*/ 529 w 746"/>
                  <a:gd name="T25" fmla="*/ 710 h 1250"/>
                  <a:gd name="T26" fmla="*/ 555 w 746"/>
                  <a:gd name="T27" fmla="*/ 778 h 1250"/>
                  <a:gd name="T28" fmla="*/ 580 w 746"/>
                  <a:gd name="T29" fmla="*/ 844 h 1250"/>
                  <a:gd name="T30" fmla="*/ 605 w 746"/>
                  <a:gd name="T31" fmla="*/ 908 h 1250"/>
                  <a:gd name="T32" fmla="*/ 629 w 746"/>
                  <a:gd name="T33" fmla="*/ 968 h 1250"/>
                  <a:gd name="T34" fmla="*/ 652 w 746"/>
                  <a:gd name="T35" fmla="*/ 1024 h 1250"/>
                  <a:gd name="T36" fmla="*/ 673 w 746"/>
                  <a:gd name="T37" fmla="*/ 1075 h 1250"/>
                  <a:gd name="T38" fmla="*/ 693 w 746"/>
                  <a:gd name="T39" fmla="*/ 1122 h 1250"/>
                  <a:gd name="T40" fmla="*/ 710 w 746"/>
                  <a:gd name="T41" fmla="*/ 1161 h 1250"/>
                  <a:gd name="T42" fmla="*/ 720 w 746"/>
                  <a:gd name="T43" fmla="*/ 1188 h 1250"/>
                  <a:gd name="T44" fmla="*/ 729 w 746"/>
                  <a:gd name="T45" fmla="*/ 1210 h 1250"/>
                  <a:gd name="T46" fmla="*/ 737 w 746"/>
                  <a:gd name="T47" fmla="*/ 1227 h 1250"/>
                  <a:gd name="T48" fmla="*/ 743 w 746"/>
                  <a:gd name="T49" fmla="*/ 1239 h 1250"/>
                  <a:gd name="T50" fmla="*/ 746 w 746"/>
                  <a:gd name="T51" fmla="*/ 1248 h 1250"/>
                  <a:gd name="T52" fmla="*/ 746 w 746"/>
                  <a:gd name="T53" fmla="*/ 1250 h 1250"/>
                  <a:gd name="T54" fmla="*/ 710 w 746"/>
                  <a:gd name="T55" fmla="*/ 1220 h 1250"/>
                  <a:gd name="T56" fmla="*/ 60 w 746"/>
                  <a:gd name="T57" fmla="*/ 699 h 1250"/>
                  <a:gd name="T58" fmla="*/ 170 w 746"/>
                  <a:gd name="T59" fmla="*/ 433 h 1250"/>
                  <a:gd name="T60" fmla="*/ 0 w 746"/>
                  <a:gd name="T61" fmla="*/ 345 h 1250"/>
                  <a:gd name="T62" fmla="*/ 16 w 746"/>
                  <a:gd name="T63" fmla="*/ 325 h 1250"/>
                  <a:gd name="T64" fmla="*/ 34 w 746"/>
                  <a:gd name="T65" fmla="*/ 303 h 1250"/>
                  <a:gd name="T66" fmla="*/ 56 w 746"/>
                  <a:gd name="T67" fmla="*/ 279 h 1250"/>
                  <a:gd name="T68" fmla="*/ 80 w 746"/>
                  <a:gd name="T69" fmla="*/ 253 h 1250"/>
                  <a:gd name="T70" fmla="*/ 104 w 746"/>
                  <a:gd name="T71" fmla="*/ 227 h 1250"/>
                  <a:gd name="T72" fmla="*/ 128 w 746"/>
                  <a:gd name="T73" fmla="*/ 203 h 1250"/>
                  <a:gd name="T74" fmla="*/ 154 w 746"/>
                  <a:gd name="T75" fmla="*/ 177 h 1250"/>
                  <a:gd name="T76" fmla="*/ 178 w 746"/>
                  <a:gd name="T77" fmla="*/ 153 h 1250"/>
                  <a:gd name="T78" fmla="*/ 204 w 746"/>
                  <a:gd name="T79" fmla="*/ 128 h 1250"/>
                  <a:gd name="T80" fmla="*/ 227 w 746"/>
                  <a:gd name="T81" fmla="*/ 105 h 1250"/>
                  <a:gd name="T82" fmla="*/ 250 w 746"/>
                  <a:gd name="T83" fmla="*/ 84 h 1250"/>
                  <a:gd name="T84" fmla="*/ 271 w 746"/>
                  <a:gd name="T85" fmla="*/ 63 h 1250"/>
                  <a:gd name="T86" fmla="*/ 291 w 746"/>
                  <a:gd name="T87" fmla="*/ 46 h 1250"/>
                  <a:gd name="T88" fmla="*/ 306 w 746"/>
                  <a:gd name="T89" fmla="*/ 30 h 1250"/>
                  <a:gd name="T90" fmla="*/ 321 w 746"/>
                  <a:gd name="T91" fmla="*/ 18 h 1250"/>
                  <a:gd name="T92" fmla="*/ 331 w 746"/>
                  <a:gd name="T93" fmla="*/ 8 h 1250"/>
                  <a:gd name="T94" fmla="*/ 337 w 746"/>
                  <a:gd name="T95" fmla="*/ 2 h 1250"/>
                  <a:gd name="T96" fmla="*/ 339 w 746"/>
                  <a:gd name="T9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6" h="1250">
                    <a:moveTo>
                      <a:pt x="339" y="0"/>
                    </a:moveTo>
                    <a:lnTo>
                      <a:pt x="342" y="38"/>
                    </a:lnTo>
                    <a:lnTo>
                      <a:pt x="346" y="78"/>
                    </a:lnTo>
                    <a:lnTo>
                      <a:pt x="353" y="122"/>
                    </a:lnTo>
                    <a:lnTo>
                      <a:pt x="361" y="169"/>
                    </a:lnTo>
                    <a:lnTo>
                      <a:pt x="375" y="230"/>
                    </a:lnTo>
                    <a:lnTo>
                      <a:pt x="392" y="293"/>
                    </a:lnTo>
                    <a:lnTo>
                      <a:pt x="410" y="360"/>
                    </a:lnTo>
                    <a:lnTo>
                      <a:pt x="432" y="429"/>
                    </a:lnTo>
                    <a:lnTo>
                      <a:pt x="454" y="500"/>
                    </a:lnTo>
                    <a:lnTo>
                      <a:pt x="479" y="569"/>
                    </a:lnTo>
                    <a:lnTo>
                      <a:pt x="503" y="640"/>
                    </a:lnTo>
                    <a:lnTo>
                      <a:pt x="529" y="710"/>
                    </a:lnTo>
                    <a:lnTo>
                      <a:pt x="555" y="778"/>
                    </a:lnTo>
                    <a:lnTo>
                      <a:pt x="580" y="844"/>
                    </a:lnTo>
                    <a:lnTo>
                      <a:pt x="605" y="908"/>
                    </a:lnTo>
                    <a:lnTo>
                      <a:pt x="629" y="968"/>
                    </a:lnTo>
                    <a:lnTo>
                      <a:pt x="652" y="1024"/>
                    </a:lnTo>
                    <a:lnTo>
                      <a:pt x="673" y="1075"/>
                    </a:lnTo>
                    <a:lnTo>
                      <a:pt x="693" y="1122"/>
                    </a:lnTo>
                    <a:lnTo>
                      <a:pt x="710" y="1161"/>
                    </a:lnTo>
                    <a:lnTo>
                      <a:pt x="720" y="1188"/>
                    </a:lnTo>
                    <a:lnTo>
                      <a:pt x="729" y="1210"/>
                    </a:lnTo>
                    <a:lnTo>
                      <a:pt x="737" y="1227"/>
                    </a:lnTo>
                    <a:lnTo>
                      <a:pt x="743" y="1239"/>
                    </a:lnTo>
                    <a:lnTo>
                      <a:pt x="746" y="1248"/>
                    </a:lnTo>
                    <a:lnTo>
                      <a:pt x="746" y="1250"/>
                    </a:lnTo>
                    <a:lnTo>
                      <a:pt x="710" y="1220"/>
                    </a:lnTo>
                    <a:lnTo>
                      <a:pt x="60" y="699"/>
                    </a:lnTo>
                    <a:lnTo>
                      <a:pt x="170" y="433"/>
                    </a:lnTo>
                    <a:lnTo>
                      <a:pt x="0" y="345"/>
                    </a:lnTo>
                    <a:lnTo>
                      <a:pt x="16" y="325"/>
                    </a:lnTo>
                    <a:lnTo>
                      <a:pt x="34" y="303"/>
                    </a:lnTo>
                    <a:lnTo>
                      <a:pt x="56" y="279"/>
                    </a:lnTo>
                    <a:lnTo>
                      <a:pt x="80" y="253"/>
                    </a:lnTo>
                    <a:lnTo>
                      <a:pt x="104" y="227"/>
                    </a:lnTo>
                    <a:lnTo>
                      <a:pt x="128" y="203"/>
                    </a:lnTo>
                    <a:lnTo>
                      <a:pt x="154" y="177"/>
                    </a:lnTo>
                    <a:lnTo>
                      <a:pt x="178" y="153"/>
                    </a:lnTo>
                    <a:lnTo>
                      <a:pt x="204" y="128"/>
                    </a:lnTo>
                    <a:lnTo>
                      <a:pt x="227" y="105"/>
                    </a:lnTo>
                    <a:lnTo>
                      <a:pt x="250" y="84"/>
                    </a:lnTo>
                    <a:lnTo>
                      <a:pt x="271" y="63"/>
                    </a:lnTo>
                    <a:lnTo>
                      <a:pt x="291" y="46"/>
                    </a:lnTo>
                    <a:lnTo>
                      <a:pt x="306" y="30"/>
                    </a:lnTo>
                    <a:lnTo>
                      <a:pt x="321" y="18"/>
                    </a:lnTo>
                    <a:lnTo>
                      <a:pt x="331" y="8"/>
                    </a:lnTo>
                    <a:lnTo>
                      <a:pt x="337" y="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248E44B-FCDA-4294-BDCB-DE38C0A3BE47}"/>
              </a:ext>
            </a:extLst>
          </p:cNvPr>
          <p:cNvGrpSpPr/>
          <p:nvPr userDrawn="1"/>
        </p:nvGrpSpPr>
        <p:grpSpPr>
          <a:xfrm>
            <a:off x="1044340" y="4414955"/>
            <a:ext cx="1305752" cy="1160263"/>
            <a:chOff x="1575788" y="4267806"/>
            <a:chExt cx="1177418" cy="1177418"/>
          </a:xfrm>
        </p:grpSpPr>
        <p:sp>
          <p:nvSpPr>
            <p:cNvPr id="98" name="Oval 97"/>
            <p:cNvSpPr/>
            <p:nvPr/>
          </p:nvSpPr>
          <p:spPr>
            <a:xfrm>
              <a:off x="1575788" y="426780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Freeform 21"/>
            <p:cNvSpPr>
              <a:spLocks/>
            </p:cNvSpPr>
            <p:nvPr/>
          </p:nvSpPr>
          <p:spPr bwMode="auto">
            <a:xfrm>
              <a:off x="1663712" y="4355730"/>
              <a:ext cx="1001570" cy="1001570"/>
            </a:xfrm>
            <a:custGeom>
              <a:avLst/>
              <a:gdLst>
                <a:gd name="T0" fmla="*/ 2140 w 4033"/>
                <a:gd name="T1" fmla="*/ 3 h 4033"/>
                <a:gd name="T2" fmla="*/ 2380 w 4033"/>
                <a:gd name="T3" fmla="*/ 33 h 4033"/>
                <a:gd name="T4" fmla="*/ 2609 w 4033"/>
                <a:gd name="T5" fmla="*/ 88 h 4033"/>
                <a:gd name="T6" fmla="*/ 2828 w 4033"/>
                <a:gd name="T7" fmla="*/ 170 h 4033"/>
                <a:gd name="T8" fmla="*/ 3035 w 4033"/>
                <a:gd name="T9" fmla="*/ 275 h 4033"/>
                <a:gd name="T10" fmla="*/ 3227 w 4033"/>
                <a:gd name="T11" fmla="*/ 403 h 4033"/>
                <a:gd name="T12" fmla="*/ 3401 w 4033"/>
                <a:gd name="T13" fmla="*/ 551 h 4033"/>
                <a:gd name="T14" fmla="*/ 3559 w 4033"/>
                <a:gd name="T15" fmla="*/ 717 h 4033"/>
                <a:gd name="T16" fmla="*/ 3697 w 4033"/>
                <a:gd name="T17" fmla="*/ 901 h 4033"/>
                <a:gd name="T18" fmla="*/ 3813 w 4033"/>
                <a:gd name="T19" fmla="*/ 1100 h 4033"/>
                <a:gd name="T20" fmla="*/ 3907 w 4033"/>
                <a:gd name="T21" fmla="*/ 1312 h 4033"/>
                <a:gd name="T22" fmla="*/ 3976 w 4033"/>
                <a:gd name="T23" fmla="*/ 1537 h 4033"/>
                <a:gd name="T24" fmla="*/ 4019 w 4033"/>
                <a:gd name="T25" fmla="*/ 1773 h 4033"/>
                <a:gd name="T26" fmla="*/ 4033 w 4033"/>
                <a:gd name="T27" fmla="*/ 2016 h 4033"/>
                <a:gd name="T28" fmla="*/ 4019 w 4033"/>
                <a:gd name="T29" fmla="*/ 2260 h 4033"/>
                <a:gd name="T30" fmla="*/ 3976 w 4033"/>
                <a:gd name="T31" fmla="*/ 2495 h 4033"/>
                <a:gd name="T32" fmla="*/ 3907 w 4033"/>
                <a:gd name="T33" fmla="*/ 2720 h 4033"/>
                <a:gd name="T34" fmla="*/ 3813 w 4033"/>
                <a:gd name="T35" fmla="*/ 2933 h 4033"/>
                <a:gd name="T36" fmla="*/ 3697 w 4033"/>
                <a:gd name="T37" fmla="*/ 3132 h 4033"/>
                <a:gd name="T38" fmla="*/ 3559 w 4033"/>
                <a:gd name="T39" fmla="*/ 3316 h 4033"/>
                <a:gd name="T40" fmla="*/ 3401 w 4033"/>
                <a:gd name="T41" fmla="*/ 3482 h 4033"/>
                <a:gd name="T42" fmla="*/ 3227 w 4033"/>
                <a:gd name="T43" fmla="*/ 3630 h 4033"/>
                <a:gd name="T44" fmla="*/ 3035 w 4033"/>
                <a:gd name="T45" fmla="*/ 3758 h 4033"/>
                <a:gd name="T46" fmla="*/ 2828 w 4033"/>
                <a:gd name="T47" fmla="*/ 3863 h 4033"/>
                <a:gd name="T48" fmla="*/ 2609 w 4033"/>
                <a:gd name="T49" fmla="*/ 3945 h 4033"/>
                <a:gd name="T50" fmla="*/ 2380 w 4033"/>
                <a:gd name="T51" fmla="*/ 4000 h 4033"/>
                <a:gd name="T52" fmla="*/ 2140 w 4033"/>
                <a:gd name="T53" fmla="*/ 4029 h 4033"/>
                <a:gd name="T54" fmla="*/ 1893 w 4033"/>
                <a:gd name="T55" fmla="*/ 4029 h 4033"/>
                <a:gd name="T56" fmla="*/ 1654 w 4033"/>
                <a:gd name="T57" fmla="*/ 4000 h 4033"/>
                <a:gd name="T58" fmla="*/ 1424 w 4033"/>
                <a:gd name="T59" fmla="*/ 3945 h 4033"/>
                <a:gd name="T60" fmla="*/ 1205 w 4033"/>
                <a:gd name="T61" fmla="*/ 3863 h 4033"/>
                <a:gd name="T62" fmla="*/ 999 w 4033"/>
                <a:gd name="T63" fmla="*/ 3758 h 4033"/>
                <a:gd name="T64" fmla="*/ 807 w 4033"/>
                <a:gd name="T65" fmla="*/ 3630 h 4033"/>
                <a:gd name="T66" fmla="*/ 632 w 4033"/>
                <a:gd name="T67" fmla="*/ 3482 h 4033"/>
                <a:gd name="T68" fmla="*/ 474 w 4033"/>
                <a:gd name="T69" fmla="*/ 3316 h 4033"/>
                <a:gd name="T70" fmla="*/ 336 w 4033"/>
                <a:gd name="T71" fmla="*/ 3132 h 4033"/>
                <a:gd name="T72" fmla="*/ 220 w 4033"/>
                <a:gd name="T73" fmla="*/ 2933 h 4033"/>
                <a:gd name="T74" fmla="*/ 126 w 4033"/>
                <a:gd name="T75" fmla="*/ 2720 h 4033"/>
                <a:gd name="T76" fmla="*/ 57 w 4033"/>
                <a:gd name="T77" fmla="*/ 2495 h 4033"/>
                <a:gd name="T78" fmla="*/ 15 w 4033"/>
                <a:gd name="T79" fmla="*/ 2260 h 4033"/>
                <a:gd name="T80" fmla="*/ 0 w 4033"/>
                <a:gd name="T81" fmla="*/ 2016 h 4033"/>
                <a:gd name="T82" fmla="*/ 15 w 4033"/>
                <a:gd name="T83" fmla="*/ 1773 h 4033"/>
                <a:gd name="T84" fmla="*/ 57 w 4033"/>
                <a:gd name="T85" fmla="*/ 1537 h 4033"/>
                <a:gd name="T86" fmla="*/ 126 w 4033"/>
                <a:gd name="T87" fmla="*/ 1312 h 4033"/>
                <a:gd name="T88" fmla="*/ 220 w 4033"/>
                <a:gd name="T89" fmla="*/ 1100 h 4033"/>
                <a:gd name="T90" fmla="*/ 336 w 4033"/>
                <a:gd name="T91" fmla="*/ 901 h 4033"/>
                <a:gd name="T92" fmla="*/ 474 w 4033"/>
                <a:gd name="T93" fmla="*/ 717 h 4033"/>
                <a:gd name="T94" fmla="*/ 632 w 4033"/>
                <a:gd name="T95" fmla="*/ 551 h 4033"/>
                <a:gd name="T96" fmla="*/ 807 w 4033"/>
                <a:gd name="T97" fmla="*/ 403 h 4033"/>
                <a:gd name="T98" fmla="*/ 999 w 4033"/>
                <a:gd name="T99" fmla="*/ 275 h 4033"/>
                <a:gd name="T100" fmla="*/ 1205 w 4033"/>
                <a:gd name="T101" fmla="*/ 170 h 4033"/>
                <a:gd name="T102" fmla="*/ 1424 w 4033"/>
                <a:gd name="T103" fmla="*/ 88 h 4033"/>
                <a:gd name="T104" fmla="*/ 1654 w 4033"/>
                <a:gd name="T105" fmla="*/ 33 h 4033"/>
                <a:gd name="T106" fmla="*/ 1893 w 4033"/>
                <a:gd name="T107" fmla="*/ 3 h 4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33" h="4033">
                  <a:moveTo>
                    <a:pt x="2015" y="0"/>
                  </a:moveTo>
                  <a:lnTo>
                    <a:pt x="2140" y="3"/>
                  </a:lnTo>
                  <a:lnTo>
                    <a:pt x="2260" y="14"/>
                  </a:lnTo>
                  <a:lnTo>
                    <a:pt x="2380" y="33"/>
                  </a:lnTo>
                  <a:lnTo>
                    <a:pt x="2496" y="57"/>
                  </a:lnTo>
                  <a:lnTo>
                    <a:pt x="2609" y="88"/>
                  </a:lnTo>
                  <a:lnTo>
                    <a:pt x="2721" y="126"/>
                  </a:lnTo>
                  <a:lnTo>
                    <a:pt x="2828" y="170"/>
                  </a:lnTo>
                  <a:lnTo>
                    <a:pt x="2933" y="220"/>
                  </a:lnTo>
                  <a:lnTo>
                    <a:pt x="3035" y="275"/>
                  </a:lnTo>
                  <a:lnTo>
                    <a:pt x="3132" y="336"/>
                  </a:lnTo>
                  <a:lnTo>
                    <a:pt x="3227" y="403"/>
                  </a:lnTo>
                  <a:lnTo>
                    <a:pt x="3316" y="474"/>
                  </a:lnTo>
                  <a:lnTo>
                    <a:pt x="3401" y="551"/>
                  </a:lnTo>
                  <a:lnTo>
                    <a:pt x="3482" y="632"/>
                  </a:lnTo>
                  <a:lnTo>
                    <a:pt x="3559" y="717"/>
                  </a:lnTo>
                  <a:lnTo>
                    <a:pt x="3630" y="806"/>
                  </a:lnTo>
                  <a:lnTo>
                    <a:pt x="3697" y="901"/>
                  </a:lnTo>
                  <a:lnTo>
                    <a:pt x="3758" y="998"/>
                  </a:lnTo>
                  <a:lnTo>
                    <a:pt x="3813" y="1100"/>
                  </a:lnTo>
                  <a:lnTo>
                    <a:pt x="3863" y="1205"/>
                  </a:lnTo>
                  <a:lnTo>
                    <a:pt x="3907" y="1312"/>
                  </a:lnTo>
                  <a:lnTo>
                    <a:pt x="3945" y="1424"/>
                  </a:lnTo>
                  <a:lnTo>
                    <a:pt x="3976" y="1537"/>
                  </a:lnTo>
                  <a:lnTo>
                    <a:pt x="4000" y="1653"/>
                  </a:lnTo>
                  <a:lnTo>
                    <a:pt x="4019" y="1773"/>
                  </a:lnTo>
                  <a:lnTo>
                    <a:pt x="4030" y="1893"/>
                  </a:lnTo>
                  <a:lnTo>
                    <a:pt x="4033" y="2016"/>
                  </a:lnTo>
                  <a:lnTo>
                    <a:pt x="4030" y="2140"/>
                  </a:lnTo>
                  <a:lnTo>
                    <a:pt x="4019" y="2260"/>
                  </a:lnTo>
                  <a:lnTo>
                    <a:pt x="4000" y="2379"/>
                  </a:lnTo>
                  <a:lnTo>
                    <a:pt x="3976" y="2495"/>
                  </a:lnTo>
                  <a:lnTo>
                    <a:pt x="3945" y="2609"/>
                  </a:lnTo>
                  <a:lnTo>
                    <a:pt x="3907" y="2720"/>
                  </a:lnTo>
                  <a:lnTo>
                    <a:pt x="3863" y="2828"/>
                  </a:lnTo>
                  <a:lnTo>
                    <a:pt x="3813" y="2933"/>
                  </a:lnTo>
                  <a:lnTo>
                    <a:pt x="3758" y="3034"/>
                  </a:lnTo>
                  <a:lnTo>
                    <a:pt x="3697" y="3132"/>
                  </a:lnTo>
                  <a:lnTo>
                    <a:pt x="3630" y="3226"/>
                  </a:lnTo>
                  <a:lnTo>
                    <a:pt x="3559" y="3316"/>
                  </a:lnTo>
                  <a:lnTo>
                    <a:pt x="3482" y="3401"/>
                  </a:lnTo>
                  <a:lnTo>
                    <a:pt x="3401" y="3482"/>
                  </a:lnTo>
                  <a:lnTo>
                    <a:pt x="3316" y="3559"/>
                  </a:lnTo>
                  <a:lnTo>
                    <a:pt x="3227" y="3630"/>
                  </a:lnTo>
                  <a:lnTo>
                    <a:pt x="3132" y="3697"/>
                  </a:lnTo>
                  <a:lnTo>
                    <a:pt x="3035" y="3758"/>
                  </a:lnTo>
                  <a:lnTo>
                    <a:pt x="2933" y="3813"/>
                  </a:lnTo>
                  <a:lnTo>
                    <a:pt x="2828" y="3863"/>
                  </a:lnTo>
                  <a:lnTo>
                    <a:pt x="2721" y="3907"/>
                  </a:lnTo>
                  <a:lnTo>
                    <a:pt x="2609" y="3945"/>
                  </a:lnTo>
                  <a:lnTo>
                    <a:pt x="2496" y="3976"/>
                  </a:lnTo>
                  <a:lnTo>
                    <a:pt x="2380" y="4000"/>
                  </a:lnTo>
                  <a:lnTo>
                    <a:pt x="2260" y="4018"/>
                  </a:lnTo>
                  <a:lnTo>
                    <a:pt x="2140" y="4029"/>
                  </a:lnTo>
                  <a:lnTo>
                    <a:pt x="2015" y="4033"/>
                  </a:lnTo>
                  <a:lnTo>
                    <a:pt x="1893" y="4029"/>
                  </a:lnTo>
                  <a:lnTo>
                    <a:pt x="1773" y="4018"/>
                  </a:lnTo>
                  <a:lnTo>
                    <a:pt x="1654" y="4000"/>
                  </a:lnTo>
                  <a:lnTo>
                    <a:pt x="1538" y="3976"/>
                  </a:lnTo>
                  <a:lnTo>
                    <a:pt x="1424" y="3945"/>
                  </a:lnTo>
                  <a:lnTo>
                    <a:pt x="1313" y="3907"/>
                  </a:lnTo>
                  <a:lnTo>
                    <a:pt x="1205" y="3863"/>
                  </a:lnTo>
                  <a:lnTo>
                    <a:pt x="1100" y="3813"/>
                  </a:lnTo>
                  <a:lnTo>
                    <a:pt x="999" y="3758"/>
                  </a:lnTo>
                  <a:lnTo>
                    <a:pt x="901" y="3697"/>
                  </a:lnTo>
                  <a:lnTo>
                    <a:pt x="807" y="3630"/>
                  </a:lnTo>
                  <a:lnTo>
                    <a:pt x="717" y="3559"/>
                  </a:lnTo>
                  <a:lnTo>
                    <a:pt x="632" y="3482"/>
                  </a:lnTo>
                  <a:lnTo>
                    <a:pt x="551" y="3401"/>
                  </a:lnTo>
                  <a:lnTo>
                    <a:pt x="474" y="3316"/>
                  </a:lnTo>
                  <a:lnTo>
                    <a:pt x="403" y="3226"/>
                  </a:lnTo>
                  <a:lnTo>
                    <a:pt x="336" y="3132"/>
                  </a:lnTo>
                  <a:lnTo>
                    <a:pt x="275" y="3034"/>
                  </a:lnTo>
                  <a:lnTo>
                    <a:pt x="220" y="2933"/>
                  </a:lnTo>
                  <a:lnTo>
                    <a:pt x="170" y="2828"/>
                  </a:lnTo>
                  <a:lnTo>
                    <a:pt x="126" y="2720"/>
                  </a:lnTo>
                  <a:lnTo>
                    <a:pt x="88" y="2609"/>
                  </a:lnTo>
                  <a:lnTo>
                    <a:pt x="57" y="2495"/>
                  </a:lnTo>
                  <a:lnTo>
                    <a:pt x="33" y="2379"/>
                  </a:lnTo>
                  <a:lnTo>
                    <a:pt x="15" y="2260"/>
                  </a:lnTo>
                  <a:lnTo>
                    <a:pt x="4" y="2140"/>
                  </a:lnTo>
                  <a:lnTo>
                    <a:pt x="0" y="2016"/>
                  </a:lnTo>
                  <a:lnTo>
                    <a:pt x="4" y="1893"/>
                  </a:lnTo>
                  <a:lnTo>
                    <a:pt x="15" y="1773"/>
                  </a:lnTo>
                  <a:lnTo>
                    <a:pt x="33" y="1653"/>
                  </a:lnTo>
                  <a:lnTo>
                    <a:pt x="57" y="1537"/>
                  </a:lnTo>
                  <a:lnTo>
                    <a:pt x="88" y="1424"/>
                  </a:lnTo>
                  <a:lnTo>
                    <a:pt x="126" y="1312"/>
                  </a:lnTo>
                  <a:lnTo>
                    <a:pt x="170" y="1205"/>
                  </a:lnTo>
                  <a:lnTo>
                    <a:pt x="220" y="1100"/>
                  </a:lnTo>
                  <a:lnTo>
                    <a:pt x="275" y="998"/>
                  </a:lnTo>
                  <a:lnTo>
                    <a:pt x="336" y="901"/>
                  </a:lnTo>
                  <a:lnTo>
                    <a:pt x="403" y="806"/>
                  </a:lnTo>
                  <a:lnTo>
                    <a:pt x="474" y="717"/>
                  </a:lnTo>
                  <a:lnTo>
                    <a:pt x="551" y="632"/>
                  </a:lnTo>
                  <a:lnTo>
                    <a:pt x="632" y="551"/>
                  </a:lnTo>
                  <a:lnTo>
                    <a:pt x="717" y="474"/>
                  </a:lnTo>
                  <a:lnTo>
                    <a:pt x="807" y="403"/>
                  </a:lnTo>
                  <a:lnTo>
                    <a:pt x="901" y="336"/>
                  </a:lnTo>
                  <a:lnTo>
                    <a:pt x="999" y="275"/>
                  </a:lnTo>
                  <a:lnTo>
                    <a:pt x="1100" y="220"/>
                  </a:lnTo>
                  <a:lnTo>
                    <a:pt x="1205" y="170"/>
                  </a:lnTo>
                  <a:lnTo>
                    <a:pt x="1313" y="126"/>
                  </a:lnTo>
                  <a:lnTo>
                    <a:pt x="1424" y="88"/>
                  </a:lnTo>
                  <a:lnTo>
                    <a:pt x="1538" y="57"/>
                  </a:lnTo>
                  <a:lnTo>
                    <a:pt x="1654" y="33"/>
                  </a:lnTo>
                  <a:lnTo>
                    <a:pt x="1773" y="14"/>
                  </a:lnTo>
                  <a:lnTo>
                    <a:pt x="1893" y="3"/>
                  </a:lnTo>
                  <a:lnTo>
                    <a:pt x="201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00" name="Group 99"/>
            <p:cNvGrpSpPr/>
            <p:nvPr/>
          </p:nvGrpSpPr>
          <p:grpSpPr>
            <a:xfrm>
              <a:off x="1829109" y="4468975"/>
              <a:ext cx="670776" cy="888325"/>
              <a:chOff x="-9182100" y="-4170363"/>
              <a:chExt cx="4287837" cy="5678488"/>
            </a:xfrm>
          </p:grpSpPr>
          <p:sp>
            <p:nvSpPr>
              <p:cNvPr id="101" name="Freeform 22"/>
              <p:cNvSpPr>
                <a:spLocks/>
              </p:cNvSpPr>
              <p:nvPr/>
            </p:nvSpPr>
            <p:spPr bwMode="auto">
              <a:xfrm>
                <a:off x="-7165975" y="-2735263"/>
                <a:ext cx="1501775" cy="2128838"/>
              </a:xfrm>
              <a:custGeom>
                <a:avLst/>
                <a:gdLst>
                  <a:gd name="T0" fmla="*/ 0 w 946"/>
                  <a:gd name="T1" fmla="*/ 0 h 1341"/>
                  <a:gd name="T2" fmla="*/ 836 w 946"/>
                  <a:gd name="T3" fmla="*/ 0 h 1341"/>
                  <a:gd name="T4" fmla="*/ 836 w 946"/>
                  <a:gd name="T5" fmla="*/ 4 h 1341"/>
                  <a:gd name="T6" fmla="*/ 835 w 946"/>
                  <a:gd name="T7" fmla="*/ 16 h 1341"/>
                  <a:gd name="T8" fmla="*/ 833 w 946"/>
                  <a:gd name="T9" fmla="*/ 36 h 1341"/>
                  <a:gd name="T10" fmla="*/ 831 w 946"/>
                  <a:gd name="T11" fmla="*/ 62 h 1341"/>
                  <a:gd name="T12" fmla="*/ 829 w 946"/>
                  <a:gd name="T13" fmla="*/ 95 h 1341"/>
                  <a:gd name="T14" fmla="*/ 826 w 946"/>
                  <a:gd name="T15" fmla="*/ 133 h 1341"/>
                  <a:gd name="T16" fmla="*/ 824 w 946"/>
                  <a:gd name="T17" fmla="*/ 179 h 1341"/>
                  <a:gd name="T18" fmla="*/ 821 w 946"/>
                  <a:gd name="T19" fmla="*/ 227 h 1341"/>
                  <a:gd name="T20" fmla="*/ 820 w 946"/>
                  <a:gd name="T21" fmla="*/ 282 h 1341"/>
                  <a:gd name="T22" fmla="*/ 819 w 946"/>
                  <a:gd name="T23" fmla="*/ 340 h 1341"/>
                  <a:gd name="T24" fmla="*/ 819 w 946"/>
                  <a:gd name="T25" fmla="*/ 402 h 1341"/>
                  <a:gd name="T26" fmla="*/ 819 w 946"/>
                  <a:gd name="T27" fmla="*/ 468 h 1341"/>
                  <a:gd name="T28" fmla="*/ 820 w 946"/>
                  <a:gd name="T29" fmla="*/ 537 h 1341"/>
                  <a:gd name="T30" fmla="*/ 822 w 946"/>
                  <a:gd name="T31" fmla="*/ 606 h 1341"/>
                  <a:gd name="T32" fmla="*/ 826 w 946"/>
                  <a:gd name="T33" fmla="*/ 680 h 1341"/>
                  <a:gd name="T34" fmla="*/ 832 w 946"/>
                  <a:gd name="T35" fmla="*/ 753 h 1341"/>
                  <a:gd name="T36" fmla="*/ 838 w 946"/>
                  <a:gd name="T37" fmla="*/ 829 h 1341"/>
                  <a:gd name="T38" fmla="*/ 847 w 946"/>
                  <a:gd name="T39" fmla="*/ 903 h 1341"/>
                  <a:gd name="T40" fmla="*/ 858 w 946"/>
                  <a:gd name="T41" fmla="*/ 979 h 1341"/>
                  <a:gd name="T42" fmla="*/ 871 w 946"/>
                  <a:gd name="T43" fmla="*/ 1055 h 1341"/>
                  <a:gd name="T44" fmla="*/ 886 w 946"/>
                  <a:gd name="T45" fmla="*/ 1128 h 1341"/>
                  <a:gd name="T46" fmla="*/ 903 w 946"/>
                  <a:gd name="T47" fmla="*/ 1201 h 1341"/>
                  <a:gd name="T48" fmla="*/ 923 w 946"/>
                  <a:gd name="T49" fmla="*/ 1272 h 1341"/>
                  <a:gd name="T50" fmla="*/ 946 w 946"/>
                  <a:gd name="T51" fmla="*/ 1341 h 1341"/>
                  <a:gd name="T52" fmla="*/ 0 w 946"/>
                  <a:gd name="T53" fmla="*/ 1341 h 1341"/>
                  <a:gd name="T54" fmla="*/ 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0" y="0"/>
                    </a:moveTo>
                    <a:lnTo>
                      <a:pt x="836" y="0"/>
                    </a:lnTo>
                    <a:lnTo>
                      <a:pt x="836" y="4"/>
                    </a:lnTo>
                    <a:lnTo>
                      <a:pt x="835" y="16"/>
                    </a:lnTo>
                    <a:lnTo>
                      <a:pt x="833" y="36"/>
                    </a:lnTo>
                    <a:lnTo>
                      <a:pt x="831" y="62"/>
                    </a:lnTo>
                    <a:lnTo>
                      <a:pt x="829" y="95"/>
                    </a:lnTo>
                    <a:lnTo>
                      <a:pt x="826" y="133"/>
                    </a:lnTo>
                    <a:lnTo>
                      <a:pt x="824" y="179"/>
                    </a:lnTo>
                    <a:lnTo>
                      <a:pt x="821" y="227"/>
                    </a:lnTo>
                    <a:lnTo>
                      <a:pt x="820" y="282"/>
                    </a:lnTo>
                    <a:lnTo>
                      <a:pt x="819" y="340"/>
                    </a:lnTo>
                    <a:lnTo>
                      <a:pt x="819" y="402"/>
                    </a:lnTo>
                    <a:lnTo>
                      <a:pt x="819" y="468"/>
                    </a:lnTo>
                    <a:lnTo>
                      <a:pt x="820" y="537"/>
                    </a:lnTo>
                    <a:lnTo>
                      <a:pt x="822" y="606"/>
                    </a:lnTo>
                    <a:lnTo>
                      <a:pt x="826" y="680"/>
                    </a:lnTo>
                    <a:lnTo>
                      <a:pt x="832" y="753"/>
                    </a:lnTo>
                    <a:lnTo>
                      <a:pt x="838" y="829"/>
                    </a:lnTo>
                    <a:lnTo>
                      <a:pt x="847" y="903"/>
                    </a:lnTo>
                    <a:lnTo>
                      <a:pt x="858" y="979"/>
                    </a:lnTo>
                    <a:lnTo>
                      <a:pt x="871" y="1055"/>
                    </a:lnTo>
                    <a:lnTo>
                      <a:pt x="886" y="1128"/>
                    </a:lnTo>
                    <a:lnTo>
                      <a:pt x="903" y="1201"/>
                    </a:lnTo>
                    <a:lnTo>
                      <a:pt x="923" y="1272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2" name="Freeform 23"/>
              <p:cNvSpPr>
                <a:spLocks/>
              </p:cNvSpPr>
              <p:nvPr/>
            </p:nvSpPr>
            <p:spPr bwMode="auto">
              <a:xfrm>
                <a:off x="-8412163" y="-2735263"/>
                <a:ext cx="1501775" cy="2128838"/>
              </a:xfrm>
              <a:custGeom>
                <a:avLst/>
                <a:gdLst>
                  <a:gd name="T0" fmla="*/ 110 w 946"/>
                  <a:gd name="T1" fmla="*/ 0 h 1341"/>
                  <a:gd name="T2" fmla="*/ 946 w 946"/>
                  <a:gd name="T3" fmla="*/ 0 h 1341"/>
                  <a:gd name="T4" fmla="*/ 946 w 946"/>
                  <a:gd name="T5" fmla="*/ 1341 h 1341"/>
                  <a:gd name="T6" fmla="*/ 0 w 946"/>
                  <a:gd name="T7" fmla="*/ 1341 h 1341"/>
                  <a:gd name="T8" fmla="*/ 24 w 946"/>
                  <a:gd name="T9" fmla="*/ 1272 h 1341"/>
                  <a:gd name="T10" fmla="*/ 43 w 946"/>
                  <a:gd name="T11" fmla="*/ 1201 h 1341"/>
                  <a:gd name="T12" fmla="*/ 60 w 946"/>
                  <a:gd name="T13" fmla="*/ 1128 h 1341"/>
                  <a:gd name="T14" fmla="*/ 75 w 946"/>
                  <a:gd name="T15" fmla="*/ 1055 h 1341"/>
                  <a:gd name="T16" fmla="*/ 88 w 946"/>
                  <a:gd name="T17" fmla="*/ 979 h 1341"/>
                  <a:gd name="T18" fmla="*/ 99 w 946"/>
                  <a:gd name="T19" fmla="*/ 903 h 1341"/>
                  <a:gd name="T20" fmla="*/ 108 w 946"/>
                  <a:gd name="T21" fmla="*/ 829 h 1341"/>
                  <a:gd name="T22" fmla="*/ 114 w 946"/>
                  <a:gd name="T23" fmla="*/ 753 h 1341"/>
                  <a:gd name="T24" fmla="*/ 120 w 946"/>
                  <a:gd name="T25" fmla="*/ 680 h 1341"/>
                  <a:gd name="T26" fmla="*/ 124 w 946"/>
                  <a:gd name="T27" fmla="*/ 606 h 1341"/>
                  <a:gd name="T28" fmla="*/ 126 w 946"/>
                  <a:gd name="T29" fmla="*/ 537 h 1341"/>
                  <a:gd name="T30" fmla="*/ 127 w 946"/>
                  <a:gd name="T31" fmla="*/ 468 h 1341"/>
                  <a:gd name="T32" fmla="*/ 127 w 946"/>
                  <a:gd name="T33" fmla="*/ 402 h 1341"/>
                  <a:gd name="T34" fmla="*/ 127 w 946"/>
                  <a:gd name="T35" fmla="*/ 340 h 1341"/>
                  <a:gd name="T36" fmla="*/ 126 w 946"/>
                  <a:gd name="T37" fmla="*/ 282 h 1341"/>
                  <a:gd name="T38" fmla="*/ 125 w 946"/>
                  <a:gd name="T39" fmla="*/ 227 h 1341"/>
                  <a:gd name="T40" fmla="*/ 123 w 946"/>
                  <a:gd name="T41" fmla="*/ 179 h 1341"/>
                  <a:gd name="T42" fmla="*/ 120 w 946"/>
                  <a:gd name="T43" fmla="*/ 133 h 1341"/>
                  <a:gd name="T44" fmla="*/ 118 w 946"/>
                  <a:gd name="T45" fmla="*/ 95 h 1341"/>
                  <a:gd name="T46" fmla="*/ 115 w 946"/>
                  <a:gd name="T47" fmla="*/ 62 h 1341"/>
                  <a:gd name="T48" fmla="*/ 113 w 946"/>
                  <a:gd name="T49" fmla="*/ 36 h 1341"/>
                  <a:gd name="T50" fmla="*/ 112 w 946"/>
                  <a:gd name="T51" fmla="*/ 16 h 1341"/>
                  <a:gd name="T52" fmla="*/ 110 w 946"/>
                  <a:gd name="T53" fmla="*/ 4 h 1341"/>
                  <a:gd name="T54" fmla="*/ 11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110" y="0"/>
                    </a:moveTo>
                    <a:lnTo>
                      <a:pt x="946" y="0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24" y="1272"/>
                    </a:lnTo>
                    <a:lnTo>
                      <a:pt x="43" y="1201"/>
                    </a:lnTo>
                    <a:lnTo>
                      <a:pt x="60" y="1128"/>
                    </a:lnTo>
                    <a:lnTo>
                      <a:pt x="75" y="1055"/>
                    </a:lnTo>
                    <a:lnTo>
                      <a:pt x="88" y="979"/>
                    </a:lnTo>
                    <a:lnTo>
                      <a:pt x="99" y="903"/>
                    </a:lnTo>
                    <a:lnTo>
                      <a:pt x="108" y="829"/>
                    </a:lnTo>
                    <a:lnTo>
                      <a:pt x="114" y="753"/>
                    </a:lnTo>
                    <a:lnTo>
                      <a:pt x="120" y="680"/>
                    </a:lnTo>
                    <a:lnTo>
                      <a:pt x="124" y="606"/>
                    </a:lnTo>
                    <a:lnTo>
                      <a:pt x="126" y="537"/>
                    </a:lnTo>
                    <a:lnTo>
                      <a:pt x="127" y="468"/>
                    </a:lnTo>
                    <a:lnTo>
                      <a:pt x="127" y="402"/>
                    </a:lnTo>
                    <a:lnTo>
                      <a:pt x="127" y="340"/>
                    </a:lnTo>
                    <a:lnTo>
                      <a:pt x="126" y="282"/>
                    </a:lnTo>
                    <a:lnTo>
                      <a:pt x="125" y="227"/>
                    </a:lnTo>
                    <a:lnTo>
                      <a:pt x="123" y="179"/>
                    </a:lnTo>
                    <a:lnTo>
                      <a:pt x="120" y="133"/>
                    </a:lnTo>
                    <a:lnTo>
                      <a:pt x="118" y="95"/>
                    </a:lnTo>
                    <a:lnTo>
                      <a:pt x="115" y="62"/>
                    </a:lnTo>
                    <a:lnTo>
                      <a:pt x="113" y="36"/>
                    </a:lnTo>
                    <a:lnTo>
                      <a:pt x="112" y="16"/>
                    </a:lnTo>
                    <a:lnTo>
                      <a:pt x="110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3" name="Freeform 24"/>
              <p:cNvSpPr>
                <a:spLocks/>
              </p:cNvSpPr>
              <p:nvPr/>
            </p:nvSpPr>
            <p:spPr bwMode="auto">
              <a:xfrm>
                <a:off x="-7713663" y="-2262188"/>
                <a:ext cx="1346200" cy="2082800"/>
              </a:xfrm>
              <a:custGeom>
                <a:avLst/>
                <a:gdLst>
                  <a:gd name="T0" fmla="*/ 463 w 848"/>
                  <a:gd name="T1" fmla="*/ 5 h 1312"/>
                  <a:gd name="T2" fmla="*/ 538 w 848"/>
                  <a:gd name="T3" fmla="*/ 37 h 1312"/>
                  <a:gd name="T4" fmla="*/ 606 w 848"/>
                  <a:gd name="T5" fmla="*/ 96 h 1312"/>
                  <a:gd name="T6" fmla="*/ 670 w 848"/>
                  <a:gd name="T7" fmla="*/ 178 h 1312"/>
                  <a:gd name="T8" fmla="*/ 725 w 848"/>
                  <a:gd name="T9" fmla="*/ 277 h 1312"/>
                  <a:gd name="T10" fmla="*/ 771 w 848"/>
                  <a:gd name="T11" fmla="*/ 390 h 1312"/>
                  <a:gd name="T12" fmla="*/ 808 w 848"/>
                  <a:gd name="T13" fmla="*/ 511 h 1312"/>
                  <a:gd name="T14" fmla="*/ 834 w 848"/>
                  <a:gd name="T15" fmla="*/ 637 h 1312"/>
                  <a:gd name="T16" fmla="*/ 847 w 848"/>
                  <a:gd name="T17" fmla="*/ 763 h 1312"/>
                  <a:gd name="T18" fmla="*/ 847 w 848"/>
                  <a:gd name="T19" fmla="*/ 885 h 1312"/>
                  <a:gd name="T20" fmla="*/ 833 w 848"/>
                  <a:gd name="T21" fmla="*/ 994 h 1312"/>
                  <a:gd name="T22" fmla="*/ 803 w 848"/>
                  <a:gd name="T23" fmla="*/ 1084 h 1312"/>
                  <a:gd name="T24" fmla="*/ 763 w 848"/>
                  <a:gd name="T25" fmla="*/ 1159 h 1312"/>
                  <a:gd name="T26" fmla="*/ 710 w 848"/>
                  <a:gd name="T27" fmla="*/ 1216 h 1312"/>
                  <a:gd name="T28" fmla="*/ 650 w 848"/>
                  <a:gd name="T29" fmla="*/ 1259 h 1312"/>
                  <a:gd name="T30" fmla="*/ 581 w 848"/>
                  <a:gd name="T31" fmla="*/ 1290 h 1312"/>
                  <a:gd name="T32" fmla="*/ 505 w 848"/>
                  <a:gd name="T33" fmla="*/ 1306 h 1312"/>
                  <a:gd name="T34" fmla="*/ 424 w 848"/>
                  <a:gd name="T35" fmla="*/ 1312 h 1312"/>
                  <a:gd name="T36" fmla="*/ 345 w 848"/>
                  <a:gd name="T37" fmla="*/ 1306 h 1312"/>
                  <a:gd name="T38" fmla="*/ 269 w 848"/>
                  <a:gd name="T39" fmla="*/ 1290 h 1312"/>
                  <a:gd name="T40" fmla="*/ 200 w 848"/>
                  <a:gd name="T41" fmla="*/ 1259 h 1312"/>
                  <a:gd name="T42" fmla="*/ 138 w 848"/>
                  <a:gd name="T43" fmla="*/ 1216 h 1312"/>
                  <a:gd name="T44" fmla="*/ 87 w 848"/>
                  <a:gd name="T45" fmla="*/ 1159 h 1312"/>
                  <a:gd name="T46" fmla="*/ 47 w 848"/>
                  <a:gd name="T47" fmla="*/ 1084 h 1312"/>
                  <a:gd name="T48" fmla="*/ 17 w 848"/>
                  <a:gd name="T49" fmla="*/ 994 h 1312"/>
                  <a:gd name="T50" fmla="*/ 3 w 848"/>
                  <a:gd name="T51" fmla="*/ 885 h 1312"/>
                  <a:gd name="T52" fmla="*/ 3 w 848"/>
                  <a:gd name="T53" fmla="*/ 763 h 1312"/>
                  <a:gd name="T54" fmla="*/ 16 w 848"/>
                  <a:gd name="T55" fmla="*/ 637 h 1312"/>
                  <a:gd name="T56" fmla="*/ 42 w 848"/>
                  <a:gd name="T57" fmla="*/ 511 h 1312"/>
                  <a:gd name="T58" fmla="*/ 79 w 848"/>
                  <a:gd name="T59" fmla="*/ 390 h 1312"/>
                  <a:gd name="T60" fmla="*/ 125 w 848"/>
                  <a:gd name="T61" fmla="*/ 277 h 1312"/>
                  <a:gd name="T62" fmla="*/ 180 w 848"/>
                  <a:gd name="T63" fmla="*/ 178 h 1312"/>
                  <a:gd name="T64" fmla="*/ 244 w 848"/>
                  <a:gd name="T65" fmla="*/ 96 h 1312"/>
                  <a:gd name="T66" fmla="*/ 312 w 848"/>
                  <a:gd name="T67" fmla="*/ 37 h 1312"/>
                  <a:gd name="T68" fmla="*/ 387 w 848"/>
                  <a:gd name="T69" fmla="*/ 5 h 1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48" h="1312">
                    <a:moveTo>
                      <a:pt x="424" y="0"/>
                    </a:moveTo>
                    <a:lnTo>
                      <a:pt x="463" y="5"/>
                    </a:lnTo>
                    <a:lnTo>
                      <a:pt x="501" y="17"/>
                    </a:lnTo>
                    <a:lnTo>
                      <a:pt x="538" y="37"/>
                    </a:lnTo>
                    <a:lnTo>
                      <a:pt x="573" y="63"/>
                    </a:lnTo>
                    <a:lnTo>
                      <a:pt x="606" y="96"/>
                    </a:lnTo>
                    <a:lnTo>
                      <a:pt x="639" y="134"/>
                    </a:lnTo>
                    <a:lnTo>
                      <a:pt x="670" y="178"/>
                    </a:lnTo>
                    <a:lnTo>
                      <a:pt x="698" y="225"/>
                    </a:lnTo>
                    <a:lnTo>
                      <a:pt x="725" y="277"/>
                    </a:lnTo>
                    <a:lnTo>
                      <a:pt x="749" y="332"/>
                    </a:lnTo>
                    <a:lnTo>
                      <a:pt x="771" y="390"/>
                    </a:lnTo>
                    <a:lnTo>
                      <a:pt x="791" y="450"/>
                    </a:lnTo>
                    <a:lnTo>
                      <a:pt x="808" y="511"/>
                    </a:lnTo>
                    <a:lnTo>
                      <a:pt x="823" y="575"/>
                    </a:lnTo>
                    <a:lnTo>
                      <a:pt x="834" y="637"/>
                    </a:lnTo>
                    <a:lnTo>
                      <a:pt x="842" y="701"/>
                    </a:lnTo>
                    <a:lnTo>
                      <a:pt x="847" y="763"/>
                    </a:lnTo>
                    <a:lnTo>
                      <a:pt x="848" y="824"/>
                    </a:lnTo>
                    <a:lnTo>
                      <a:pt x="847" y="885"/>
                    </a:lnTo>
                    <a:lnTo>
                      <a:pt x="841" y="943"/>
                    </a:lnTo>
                    <a:lnTo>
                      <a:pt x="833" y="994"/>
                    </a:lnTo>
                    <a:lnTo>
                      <a:pt x="819" y="1042"/>
                    </a:lnTo>
                    <a:lnTo>
                      <a:pt x="803" y="1084"/>
                    </a:lnTo>
                    <a:lnTo>
                      <a:pt x="785" y="1123"/>
                    </a:lnTo>
                    <a:lnTo>
                      <a:pt x="763" y="1159"/>
                    </a:lnTo>
                    <a:lnTo>
                      <a:pt x="738" y="1189"/>
                    </a:lnTo>
                    <a:lnTo>
                      <a:pt x="710" y="1216"/>
                    </a:lnTo>
                    <a:lnTo>
                      <a:pt x="681" y="1240"/>
                    </a:lnTo>
                    <a:lnTo>
                      <a:pt x="650" y="1259"/>
                    </a:lnTo>
                    <a:lnTo>
                      <a:pt x="616" y="1276"/>
                    </a:lnTo>
                    <a:lnTo>
                      <a:pt x="581" y="1290"/>
                    </a:lnTo>
                    <a:lnTo>
                      <a:pt x="544" y="1299"/>
                    </a:lnTo>
                    <a:lnTo>
                      <a:pt x="505" y="1306"/>
                    </a:lnTo>
                    <a:lnTo>
                      <a:pt x="466" y="1310"/>
                    </a:lnTo>
                    <a:lnTo>
                      <a:pt x="424" y="1312"/>
                    </a:lnTo>
                    <a:lnTo>
                      <a:pt x="384" y="1310"/>
                    </a:lnTo>
                    <a:lnTo>
                      <a:pt x="345" y="1306"/>
                    </a:lnTo>
                    <a:lnTo>
                      <a:pt x="306" y="1299"/>
                    </a:lnTo>
                    <a:lnTo>
                      <a:pt x="269" y="1290"/>
                    </a:lnTo>
                    <a:lnTo>
                      <a:pt x="234" y="1276"/>
                    </a:lnTo>
                    <a:lnTo>
                      <a:pt x="200" y="1259"/>
                    </a:lnTo>
                    <a:lnTo>
                      <a:pt x="169" y="1240"/>
                    </a:lnTo>
                    <a:lnTo>
                      <a:pt x="138" y="1216"/>
                    </a:lnTo>
                    <a:lnTo>
                      <a:pt x="112" y="1189"/>
                    </a:lnTo>
                    <a:lnTo>
                      <a:pt x="87" y="1159"/>
                    </a:lnTo>
                    <a:lnTo>
                      <a:pt x="65" y="1123"/>
                    </a:lnTo>
                    <a:lnTo>
                      <a:pt x="47" y="1084"/>
                    </a:lnTo>
                    <a:lnTo>
                      <a:pt x="31" y="1042"/>
                    </a:lnTo>
                    <a:lnTo>
                      <a:pt x="17" y="994"/>
                    </a:lnTo>
                    <a:lnTo>
                      <a:pt x="9" y="943"/>
                    </a:lnTo>
                    <a:lnTo>
                      <a:pt x="3" y="885"/>
                    </a:lnTo>
                    <a:lnTo>
                      <a:pt x="0" y="824"/>
                    </a:lnTo>
                    <a:lnTo>
                      <a:pt x="3" y="763"/>
                    </a:lnTo>
                    <a:lnTo>
                      <a:pt x="8" y="701"/>
                    </a:lnTo>
                    <a:lnTo>
                      <a:pt x="16" y="637"/>
                    </a:lnTo>
                    <a:lnTo>
                      <a:pt x="27" y="575"/>
                    </a:lnTo>
                    <a:lnTo>
                      <a:pt x="42" y="511"/>
                    </a:lnTo>
                    <a:lnTo>
                      <a:pt x="59" y="450"/>
                    </a:lnTo>
                    <a:lnTo>
                      <a:pt x="79" y="390"/>
                    </a:lnTo>
                    <a:lnTo>
                      <a:pt x="101" y="332"/>
                    </a:lnTo>
                    <a:lnTo>
                      <a:pt x="125" y="277"/>
                    </a:lnTo>
                    <a:lnTo>
                      <a:pt x="152" y="225"/>
                    </a:lnTo>
                    <a:lnTo>
                      <a:pt x="180" y="178"/>
                    </a:lnTo>
                    <a:lnTo>
                      <a:pt x="211" y="134"/>
                    </a:lnTo>
                    <a:lnTo>
                      <a:pt x="244" y="96"/>
                    </a:lnTo>
                    <a:lnTo>
                      <a:pt x="277" y="63"/>
                    </a:lnTo>
                    <a:lnTo>
                      <a:pt x="312" y="37"/>
                    </a:lnTo>
                    <a:lnTo>
                      <a:pt x="349" y="17"/>
                    </a:lnTo>
                    <a:lnTo>
                      <a:pt x="387" y="5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E6D1A8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Freeform 25"/>
              <p:cNvSpPr>
                <a:spLocks/>
              </p:cNvSpPr>
              <p:nvPr/>
            </p:nvSpPr>
            <p:spPr bwMode="auto">
              <a:xfrm>
                <a:off x="-8275638" y="-4170363"/>
                <a:ext cx="2474913" cy="2760663"/>
              </a:xfrm>
              <a:custGeom>
                <a:avLst/>
                <a:gdLst>
                  <a:gd name="T0" fmla="*/ 833 w 1559"/>
                  <a:gd name="T1" fmla="*/ 1 h 1739"/>
                  <a:gd name="T2" fmla="*/ 945 w 1559"/>
                  <a:gd name="T3" fmla="*/ 19 h 1739"/>
                  <a:gd name="T4" fmla="*/ 1056 w 1559"/>
                  <a:gd name="T5" fmla="*/ 56 h 1739"/>
                  <a:gd name="T6" fmla="*/ 1160 w 1559"/>
                  <a:gd name="T7" fmla="*/ 110 h 1739"/>
                  <a:gd name="T8" fmla="*/ 1272 w 1559"/>
                  <a:gd name="T9" fmla="*/ 195 h 1739"/>
                  <a:gd name="T10" fmla="*/ 1369 w 1559"/>
                  <a:gd name="T11" fmla="*/ 300 h 1739"/>
                  <a:gd name="T12" fmla="*/ 1449 w 1559"/>
                  <a:gd name="T13" fmla="*/ 423 h 1739"/>
                  <a:gd name="T14" fmla="*/ 1508 w 1559"/>
                  <a:gd name="T15" fmla="*/ 561 h 1739"/>
                  <a:gd name="T16" fmla="*/ 1546 w 1559"/>
                  <a:gd name="T17" fmla="*/ 710 h 1739"/>
                  <a:gd name="T18" fmla="*/ 1559 w 1559"/>
                  <a:gd name="T19" fmla="*/ 869 h 1739"/>
                  <a:gd name="T20" fmla="*/ 1552 w 1559"/>
                  <a:gd name="T21" fmla="*/ 985 h 1739"/>
                  <a:gd name="T22" fmla="*/ 1520 w 1559"/>
                  <a:gd name="T23" fmla="*/ 1140 h 1739"/>
                  <a:gd name="T24" fmla="*/ 1465 w 1559"/>
                  <a:gd name="T25" fmla="*/ 1283 h 1739"/>
                  <a:gd name="T26" fmla="*/ 1389 w 1559"/>
                  <a:gd name="T27" fmla="*/ 1410 h 1739"/>
                  <a:gd name="T28" fmla="*/ 1295 w 1559"/>
                  <a:gd name="T29" fmla="*/ 1521 h 1739"/>
                  <a:gd name="T30" fmla="*/ 1184 w 1559"/>
                  <a:gd name="T31" fmla="*/ 1613 h 1739"/>
                  <a:gd name="T32" fmla="*/ 1059 w 1559"/>
                  <a:gd name="T33" fmla="*/ 1681 h 1739"/>
                  <a:gd name="T34" fmla="*/ 924 w 1559"/>
                  <a:gd name="T35" fmla="*/ 1724 h 1739"/>
                  <a:gd name="T36" fmla="*/ 778 w 1559"/>
                  <a:gd name="T37" fmla="*/ 1739 h 1739"/>
                  <a:gd name="T38" fmla="*/ 640 w 1559"/>
                  <a:gd name="T39" fmla="*/ 1725 h 1739"/>
                  <a:gd name="T40" fmla="*/ 508 w 1559"/>
                  <a:gd name="T41" fmla="*/ 1685 h 1739"/>
                  <a:gd name="T42" fmla="*/ 387 w 1559"/>
                  <a:gd name="T43" fmla="*/ 1621 h 1739"/>
                  <a:gd name="T44" fmla="*/ 279 w 1559"/>
                  <a:gd name="T45" fmla="*/ 1536 h 1739"/>
                  <a:gd name="T46" fmla="*/ 186 w 1559"/>
                  <a:gd name="T47" fmla="*/ 1432 h 1739"/>
                  <a:gd name="T48" fmla="*/ 109 w 1559"/>
                  <a:gd name="T49" fmla="*/ 1311 h 1739"/>
                  <a:gd name="T50" fmla="*/ 50 w 1559"/>
                  <a:gd name="T51" fmla="*/ 1177 h 1739"/>
                  <a:gd name="T52" fmla="*/ 13 w 1559"/>
                  <a:gd name="T53" fmla="*/ 1029 h 1739"/>
                  <a:gd name="T54" fmla="*/ 0 w 1559"/>
                  <a:gd name="T55" fmla="*/ 869 h 1739"/>
                  <a:gd name="T56" fmla="*/ 13 w 1559"/>
                  <a:gd name="T57" fmla="*/ 712 h 1739"/>
                  <a:gd name="T58" fmla="*/ 49 w 1559"/>
                  <a:gd name="T59" fmla="*/ 566 h 1739"/>
                  <a:gd name="T60" fmla="*/ 106 w 1559"/>
                  <a:gd name="T61" fmla="*/ 430 h 1739"/>
                  <a:gd name="T62" fmla="*/ 183 w 1559"/>
                  <a:gd name="T63" fmla="*/ 309 h 1739"/>
                  <a:gd name="T64" fmla="*/ 277 w 1559"/>
                  <a:gd name="T65" fmla="*/ 204 h 1739"/>
                  <a:gd name="T66" fmla="*/ 386 w 1559"/>
                  <a:gd name="T67" fmla="*/ 118 h 1739"/>
                  <a:gd name="T68" fmla="*/ 507 w 1559"/>
                  <a:gd name="T69" fmla="*/ 53 h 1739"/>
                  <a:gd name="T70" fmla="*/ 639 w 1559"/>
                  <a:gd name="T71" fmla="*/ 13 h 1739"/>
                  <a:gd name="T72" fmla="*/ 778 w 1559"/>
                  <a:gd name="T73" fmla="*/ 0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59" h="1739">
                    <a:moveTo>
                      <a:pt x="778" y="0"/>
                    </a:moveTo>
                    <a:lnTo>
                      <a:pt x="833" y="1"/>
                    </a:lnTo>
                    <a:lnTo>
                      <a:pt x="887" y="7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0"/>
                    </a:lnTo>
                    <a:lnTo>
                      <a:pt x="1160" y="110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9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8"/>
                    </a:lnTo>
                    <a:lnTo>
                      <a:pt x="1559" y="869"/>
                    </a:lnTo>
                    <a:lnTo>
                      <a:pt x="1558" y="904"/>
                    </a:lnTo>
                    <a:lnTo>
                      <a:pt x="1552" y="985"/>
                    </a:lnTo>
                    <a:lnTo>
                      <a:pt x="1540" y="1064"/>
                    </a:lnTo>
                    <a:lnTo>
                      <a:pt x="1520" y="1140"/>
                    </a:lnTo>
                    <a:lnTo>
                      <a:pt x="1496" y="1212"/>
                    </a:lnTo>
                    <a:lnTo>
                      <a:pt x="1465" y="1283"/>
                    </a:lnTo>
                    <a:lnTo>
                      <a:pt x="1430" y="1349"/>
                    </a:lnTo>
                    <a:lnTo>
                      <a:pt x="1389" y="1410"/>
                    </a:lnTo>
                    <a:lnTo>
                      <a:pt x="1344" y="1469"/>
                    </a:lnTo>
                    <a:lnTo>
                      <a:pt x="1295" y="1521"/>
                    </a:lnTo>
                    <a:lnTo>
                      <a:pt x="1242" y="1570"/>
                    </a:lnTo>
                    <a:lnTo>
                      <a:pt x="1184" y="1613"/>
                    </a:lnTo>
                    <a:lnTo>
                      <a:pt x="1124" y="1650"/>
                    </a:lnTo>
                    <a:lnTo>
                      <a:pt x="1059" y="1681"/>
                    </a:lnTo>
                    <a:lnTo>
                      <a:pt x="993" y="1706"/>
                    </a:lnTo>
                    <a:lnTo>
                      <a:pt x="924" y="1724"/>
                    </a:lnTo>
                    <a:lnTo>
                      <a:pt x="853" y="1735"/>
                    </a:lnTo>
                    <a:lnTo>
                      <a:pt x="778" y="1739"/>
                    </a:lnTo>
                    <a:lnTo>
                      <a:pt x="709" y="1735"/>
                    </a:lnTo>
                    <a:lnTo>
                      <a:pt x="640" y="1725"/>
                    </a:lnTo>
                    <a:lnTo>
                      <a:pt x="573" y="1708"/>
                    </a:lnTo>
                    <a:lnTo>
                      <a:pt x="508" y="1685"/>
                    </a:lnTo>
                    <a:lnTo>
                      <a:pt x="447" y="1656"/>
                    </a:lnTo>
                    <a:lnTo>
                      <a:pt x="387" y="1621"/>
                    </a:lnTo>
                    <a:lnTo>
                      <a:pt x="332" y="1581"/>
                    </a:lnTo>
                    <a:lnTo>
                      <a:pt x="279" y="1536"/>
                    </a:lnTo>
                    <a:lnTo>
                      <a:pt x="230" y="1486"/>
                    </a:lnTo>
                    <a:lnTo>
                      <a:pt x="186" y="1432"/>
                    </a:lnTo>
                    <a:lnTo>
                      <a:pt x="144" y="1373"/>
                    </a:lnTo>
                    <a:lnTo>
                      <a:pt x="109" y="1311"/>
                    </a:lnTo>
                    <a:lnTo>
                      <a:pt x="77" y="1246"/>
                    </a:lnTo>
                    <a:lnTo>
                      <a:pt x="50" y="1177"/>
                    </a:lnTo>
                    <a:lnTo>
                      <a:pt x="29" y="1105"/>
                    </a:lnTo>
                    <a:lnTo>
                      <a:pt x="13" y="1029"/>
                    </a:lnTo>
                    <a:lnTo>
                      <a:pt x="4" y="949"/>
                    </a:lnTo>
                    <a:lnTo>
                      <a:pt x="0" y="869"/>
                    </a:lnTo>
                    <a:lnTo>
                      <a:pt x="4" y="790"/>
                    </a:lnTo>
                    <a:lnTo>
                      <a:pt x="13" y="712"/>
                    </a:lnTo>
                    <a:lnTo>
                      <a:pt x="28" y="638"/>
                    </a:lnTo>
                    <a:lnTo>
                      <a:pt x="49" y="566"/>
                    </a:lnTo>
                    <a:lnTo>
                      <a:pt x="76" y="496"/>
                    </a:lnTo>
                    <a:lnTo>
                      <a:pt x="106" y="430"/>
                    </a:lnTo>
                    <a:lnTo>
                      <a:pt x="143" y="368"/>
                    </a:lnTo>
                    <a:lnTo>
                      <a:pt x="183" y="309"/>
                    </a:lnTo>
                    <a:lnTo>
                      <a:pt x="228" y="254"/>
                    </a:lnTo>
                    <a:lnTo>
                      <a:pt x="277" y="204"/>
                    </a:lnTo>
                    <a:lnTo>
                      <a:pt x="330" y="159"/>
                    </a:lnTo>
                    <a:lnTo>
                      <a:pt x="386" y="118"/>
                    </a:lnTo>
                    <a:lnTo>
                      <a:pt x="446" y="83"/>
                    </a:lnTo>
                    <a:lnTo>
                      <a:pt x="507" y="53"/>
                    </a:lnTo>
                    <a:lnTo>
                      <a:pt x="572" y="30"/>
                    </a:lnTo>
                    <a:lnTo>
                      <a:pt x="639" y="13"/>
                    </a:lnTo>
                    <a:lnTo>
                      <a:pt x="709" y="2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5" name="Freeform 26"/>
              <p:cNvSpPr>
                <a:spLocks/>
              </p:cNvSpPr>
              <p:nvPr/>
            </p:nvSpPr>
            <p:spPr bwMode="auto">
              <a:xfrm>
                <a:off x="-8275638" y="-4170363"/>
                <a:ext cx="2473325" cy="1755775"/>
              </a:xfrm>
              <a:custGeom>
                <a:avLst/>
                <a:gdLst>
                  <a:gd name="T0" fmla="*/ 833 w 1558"/>
                  <a:gd name="T1" fmla="*/ 2 h 1106"/>
                  <a:gd name="T2" fmla="*/ 945 w 1558"/>
                  <a:gd name="T3" fmla="*/ 19 h 1106"/>
                  <a:gd name="T4" fmla="*/ 1056 w 1558"/>
                  <a:gd name="T5" fmla="*/ 56 h 1106"/>
                  <a:gd name="T6" fmla="*/ 1160 w 1558"/>
                  <a:gd name="T7" fmla="*/ 111 h 1106"/>
                  <a:gd name="T8" fmla="*/ 1272 w 1558"/>
                  <a:gd name="T9" fmla="*/ 195 h 1106"/>
                  <a:gd name="T10" fmla="*/ 1369 w 1558"/>
                  <a:gd name="T11" fmla="*/ 300 h 1106"/>
                  <a:gd name="T12" fmla="*/ 1448 w 1558"/>
                  <a:gd name="T13" fmla="*/ 423 h 1106"/>
                  <a:gd name="T14" fmla="*/ 1508 w 1558"/>
                  <a:gd name="T15" fmla="*/ 561 h 1106"/>
                  <a:gd name="T16" fmla="*/ 1546 w 1558"/>
                  <a:gd name="T17" fmla="*/ 710 h 1106"/>
                  <a:gd name="T18" fmla="*/ 1558 w 1558"/>
                  <a:gd name="T19" fmla="*/ 870 h 1106"/>
                  <a:gd name="T20" fmla="*/ 1491 w 1558"/>
                  <a:gd name="T21" fmla="*/ 892 h 1106"/>
                  <a:gd name="T22" fmla="*/ 1365 w 1558"/>
                  <a:gd name="T23" fmla="*/ 847 h 1106"/>
                  <a:gd name="T24" fmla="*/ 1249 w 1558"/>
                  <a:gd name="T25" fmla="*/ 779 h 1106"/>
                  <a:gd name="T26" fmla="*/ 1146 w 1558"/>
                  <a:gd name="T27" fmla="*/ 693 h 1106"/>
                  <a:gd name="T28" fmla="*/ 1057 w 1558"/>
                  <a:gd name="T29" fmla="*/ 588 h 1106"/>
                  <a:gd name="T30" fmla="*/ 985 w 1558"/>
                  <a:gd name="T31" fmla="*/ 468 h 1106"/>
                  <a:gd name="T32" fmla="*/ 916 w 1558"/>
                  <a:gd name="T33" fmla="*/ 561 h 1106"/>
                  <a:gd name="T34" fmla="*/ 837 w 1558"/>
                  <a:gd name="T35" fmla="*/ 656 h 1106"/>
                  <a:gd name="T36" fmla="*/ 743 w 1558"/>
                  <a:gd name="T37" fmla="*/ 750 h 1106"/>
                  <a:gd name="T38" fmla="*/ 633 w 1558"/>
                  <a:gd name="T39" fmla="*/ 839 h 1106"/>
                  <a:gd name="T40" fmla="*/ 508 w 1558"/>
                  <a:gd name="T41" fmla="*/ 922 h 1106"/>
                  <a:gd name="T42" fmla="*/ 367 w 1558"/>
                  <a:gd name="T43" fmla="*/ 997 h 1106"/>
                  <a:gd name="T44" fmla="*/ 208 w 1558"/>
                  <a:gd name="T45" fmla="*/ 1058 h 1106"/>
                  <a:gd name="T46" fmla="*/ 29 w 1558"/>
                  <a:gd name="T47" fmla="*/ 1106 h 1106"/>
                  <a:gd name="T48" fmla="*/ 4 w 1558"/>
                  <a:gd name="T49" fmla="*/ 951 h 1106"/>
                  <a:gd name="T50" fmla="*/ 4 w 1558"/>
                  <a:gd name="T51" fmla="*/ 786 h 1106"/>
                  <a:gd name="T52" fmla="*/ 32 w 1558"/>
                  <a:gd name="T53" fmla="*/ 625 h 1106"/>
                  <a:gd name="T54" fmla="*/ 84 w 1558"/>
                  <a:gd name="T55" fmla="*/ 476 h 1106"/>
                  <a:gd name="T56" fmla="*/ 159 w 1558"/>
                  <a:gd name="T57" fmla="*/ 343 h 1106"/>
                  <a:gd name="T58" fmla="*/ 254 w 1558"/>
                  <a:gd name="T59" fmla="*/ 227 h 1106"/>
                  <a:gd name="T60" fmla="*/ 367 w 1558"/>
                  <a:gd name="T61" fmla="*/ 132 h 1106"/>
                  <a:gd name="T62" fmla="*/ 492 w 1558"/>
                  <a:gd name="T63" fmla="*/ 61 h 1106"/>
                  <a:gd name="T64" fmla="*/ 632 w 1558"/>
                  <a:gd name="T65" fmla="*/ 16 h 1106"/>
                  <a:gd name="T66" fmla="*/ 778 w 1558"/>
                  <a:gd name="T67" fmla="*/ 0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58" h="1106">
                    <a:moveTo>
                      <a:pt x="778" y="0"/>
                    </a:moveTo>
                    <a:lnTo>
                      <a:pt x="833" y="2"/>
                    </a:lnTo>
                    <a:lnTo>
                      <a:pt x="887" y="8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2"/>
                    </a:lnTo>
                    <a:lnTo>
                      <a:pt x="1160" y="111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8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9"/>
                    </a:lnTo>
                    <a:lnTo>
                      <a:pt x="1558" y="870"/>
                    </a:lnTo>
                    <a:lnTo>
                      <a:pt x="1557" y="905"/>
                    </a:lnTo>
                    <a:lnTo>
                      <a:pt x="1491" y="892"/>
                    </a:lnTo>
                    <a:lnTo>
                      <a:pt x="1427" y="872"/>
                    </a:lnTo>
                    <a:lnTo>
                      <a:pt x="1365" y="847"/>
                    </a:lnTo>
                    <a:lnTo>
                      <a:pt x="1305" y="816"/>
                    </a:lnTo>
                    <a:lnTo>
                      <a:pt x="1249" y="779"/>
                    </a:lnTo>
                    <a:lnTo>
                      <a:pt x="1195" y="738"/>
                    </a:lnTo>
                    <a:lnTo>
                      <a:pt x="1146" y="693"/>
                    </a:lnTo>
                    <a:lnTo>
                      <a:pt x="1100" y="641"/>
                    </a:lnTo>
                    <a:lnTo>
                      <a:pt x="1057" y="588"/>
                    </a:lnTo>
                    <a:lnTo>
                      <a:pt x="1018" y="529"/>
                    </a:lnTo>
                    <a:lnTo>
                      <a:pt x="985" y="468"/>
                    </a:lnTo>
                    <a:lnTo>
                      <a:pt x="952" y="514"/>
                    </a:lnTo>
                    <a:lnTo>
                      <a:pt x="916" y="561"/>
                    </a:lnTo>
                    <a:lnTo>
                      <a:pt x="879" y="608"/>
                    </a:lnTo>
                    <a:lnTo>
                      <a:pt x="837" y="656"/>
                    </a:lnTo>
                    <a:lnTo>
                      <a:pt x="792" y="704"/>
                    </a:lnTo>
                    <a:lnTo>
                      <a:pt x="743" y="750"/>
                    </a:lnTo>
                    <a:lnTo>
                      <a:pt x="690" y="795"/>
                    </a:lnTo>
                    <a:lnTo>
                      <a:pt x="633" y="839"/>
                    </a:lnTo>
                    <a:lnTo>
                      <a:pt x="573" y="882"/>
                    </a:lnTo>
                    <a:lnTo>
                      <a:pt x="508" y="922"/>
                    </a:lnTo>
                    <a:lnTo>
                      <a:pt x="440" y="960"/>
                    </a:lnTo>
                    <a:lnTo>
                      <a:pt x="367" y="997"/>
                    </a:lnTo>
                    <a:lnTo>
                      <a:pt x="290" y="1029"/>
                    </a:lnTo>
                    <a:lnTo>
                      <a:pt x="208" y="1058"/>
                    </a:lnTo>
                    <a:lnTo>
                      <a:pt x="121" y="1084"/>
                    </a:lnTo>
                    <a:lnTo>
                      <a:pt x="29" y="1106"/>
                    </a:lnTo>
                    <a:lnTo>
                      <a:pt x="13" y="1030"/>
                    </a:lnTo>
                    <a:lnTo>
                      <a:pt x="4" y="951"/>
                    </a:lnTo>
                    <a:lnTo>
                      <a:pt x="0" y="870"/>
                    </a:lnTo>
                    <a:lnTo>
                      <a:pt x="4" y="786"/>
                    </a:lnTo>
                    <a:lnTo>
                      <a:pt x="15" y="705"/>
                    </a:lnTo>
                    <a:lnTo>
                      <a:pt x="32" y="625"/>
                    </a:lnTo>
                    <a:lnTo>
                      <a:pt x="55" y="550"/>
                    </a:lnTo>
                    <a:lnTo>
                      <a:pt x="84" y="476"/>
                    </a:lnTo>
                    <a:lnTo>
                      <a:pt x="118" y="408"/>
                    </a:lnTo>
                    <a:lnTo>
                      <a:pt x="159" y="343"/>
                    </a:lnTo>
                    <a:lnTo>
                      <a:pt x="204" y="283"/>
                    </a:lnTo>
                    <a:lnTo>
                      <a:pt x="254" y="227"/>
                    </a:lnTo>
                    <a:lnTo>
                      <a:pt x="308" y="177"/>
                    </a:lnTo>
                    <a:lnTo>
                      <a:pt x="367" y="132"/>
                    </a:lnTo>
                    <a:lnTo>
                      <a:pt x="428" y="94"/>
                    </a:lnTo>
                    <a:lnTo>
                      <a:pt x="492" y="61"/>
                    </a:lnTo>
                    <a:lnTo>
                      <a:pt x="561" y="35"/>
                    </a:lnTo>
                    <a:lnTo>
                      <a:pt x="632" y="16"/>
                    </a:lnTo>
                    <a:lnTo>
                      <a:pt x="705" y="3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6" name="Freeform 27"/>
              <p:cNvSpPr>
                <a:spLocks/>
              </p:cNvSpPr>
              <p:nvPr/>
            </p:nvSpPr>
            <p:spPr bwMode="auto">
              <a:xfrm>
                <a:off x="-8415338" y="-715963"/>
                <a:ext cx="2570163" cy="1474788"/>
              </a:xfrm>
              <a:custGeom>
                <a:avLst/>
                <a:gdLst>
                  <a:gd name="T0" fmla="*/ 379 w 1619"/>
                  <a:gd name="T1" fmla="*/ 44 h 929"/>
                  <a:gd name="T2" fmla="*/ 507 w 1619"/>
                  <a:gd name="T3" fmla="*/ 116 h 929"/>
                  <a:gd name="T4" fmla="*/ 645 w 1619"/>
                  <a:gd name="T5" fmla="*/ 165 h 929"/>
                  <a:gd name="T6" fmla="*/ 792 w 1619"/>
                  <a:gd name="T7" fmla="*/ 192 h 929"/>
                  <a:gd name="T8" fmla="*/ 941 w 1619"/>
                  <a:gd name="T9" fmla="*/ 192 h 929"/>
                  <a:gd name="T10" fmla="*/ 1084 w 1619"/>
                  <a:gd name="T11" fmla="*/ 168 h 929"/>
                  <a:gd name="T12" fmla="*/ 1218 w 1619"/>
                  <a:gd name="T13" fmla="*/ 120 h 929"/>
                  <a:gd name="T14" fmla="*/ 1344 w 1619"/>
                  <a:gd name="T15" fmla="*/ 52 h 929"/>
                  <a:gd name="T16" fmla="*/ 1398 w 1619"/>
                  <a:gd name="T17" fmla="*/ 58 h 929"/>
                  <a:gd name="T18" fmla="*/ 1398 w 1619"/>
                  <a:gd name="T19" fmla="*/ 151 h 929"/>
                  <a:gd name="T20" fmla="*/ 1413 w 1619"/>
                  <a:gd name="T21" fmla="*/ 242 h 929"/>
                  <a:gd name="T22" fmla="*/ 1442 w 1619"/>
                  <a:gd name="T23" fmla="*/ 328 h 929"/>
                  <a:gd name="T24" fmla="*/ 1486 w 1619"/>
                  <a:gd name="T25" fmla="*/ 405 h 929"/>
                  <a:gd name="T26" fmla="*/ 1546 w 1619"/>
                  <a:gd name="T27" fmla="*/ 470 h 929"/>
                  <a:gd name="T28" fmla="*/ 1619 w 1619"/>
                  <a:gd name="T29" fmla="*/ 519 h 929"/>
                  <a:gd name="T30" fmla="*/ 1514 w 1619"/>
                  <a:gd name="T31" fmla="*/ 646 h 929"/>
                  <a:gd name="T32" fmla="*/ 1393 w 1619"/>
                  <a:gd name="T33" fmla="*/ 753 h 929"/>
                  <a:gd name="T34" fmla="*/ 1256 w 1619"/>
                  <a:gd name="T35" fmla="*/ 836 h 929"/>
                  <a:gd name="T36" fmla="*/ 1108 w 1619"/>
                  <a:gd name="T37" fmla="*/ 895 h 929"/>
                  <a:gd name="T38" fmla="*/ 949 w 1619"/>
                  <a:gd name="T39" fmla="*/ 926 h 929"/>
                  <a:gd name="T40" fmla="*/ 786 w 1619"/>
                  <a:gd name="T41" fmla="*/ 926 h 929"/>
                  <a:gd name="T42" fmla="*/ 628 w 1619"/>
                  <a:gd name="T43" fmla="*/ 896 h 929"/>
                  <a:gd name="T44" fmla="*/ 481 w 1619"/>
                  <a:gd name="T45" fmla="*/ 839 h 929"/>
                  <a:gd name="T46" fmla="*/ 346 w 1619"/>
                  <a:gd name="T47" fmla="*/ 756 h 929"/>
                  <a:gd name="T48" fmla="*/ 225 w 1619"/>
                  <a:gd name="T49" fmla="*/ 652 h 929"/>
                  <a:gd name="T50" fmla="*/ 121 w 1619"/>
                  <a:gd name="T51" fmla="*/ 527 h 929"/>
                  <a:gd name="T52" fmla="*/ 35 w 1619"/>
                  <a:gd name="T53" fmla="*/ 384 h 929"/>
                  <a:gd name="T54" fmla="*/ 45 w 1619"/>
                  <a:gd name="T55" fmla="*/ 299 h 929"/>
                  <a:gd name="T56" fmla="*/ 127 w 1619"/>
                  <a:gd name="T57" fmla="*/ 267 h 929"/>
                  <a:gd name="T58" fmla="*/ 194 w 1619"/>
                  <a:gd name="T59" fmla="*/ 218 h 929"/>
                  <a:gd name="T60" fmla="*/ 249 w 1619"/>
                  <a:gd name="T61" fmla="*/ 156 h 929"/>
                  <a:gd name="T62" fmla="*/ 291 w 1619"/>
                  <a:gd name="T63" fmla="*/ 82 h 929"/>
                  <a:gd name="T64" fmla="*/ 319 w 1619"/>
                  <a:gd name="T65" fmla="*/ 0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9" h="929">
                    <a:moveTo>
                      <a:pt x="319" y="0"/>
                    </a:moveTo>
                    <a:lnTo>
                      <a:pt x="379" y="44"/>
                    </a:lnTo>
                    <a:lnTo>
                      <a:pt x="441" y="82"/>
                    </a:lnTo>
                    <a:lnTo>
                      <a:pt x="507" y="116"/>
                    </a:lnTo>
                    <a:lnTo>
                      <a:pt x="574" y="143"/>
                    </a:lnTo>
                    <a:lnTo>
                      <a:pt x="645" y="165"/>
                    </a:lnTo>
                    <a:lnTo>
                      <a:pt x="717" y="182"/>
                    </a:lnTo>
                    <a:lnTo>
                      <a:pt x="792" y="192"/>
                    </a:lnTo>
                    <a:lnTo>
                      <a:pt x="866" y="195"/>
                    </a:lnTo>
                    <a:lnTo>
                      <a:pt x="941" y="192"/>
                    </a:lnTo>
                    <a:lnTo>
                      <a:pt x="1013" y="182"/>
                    </a:lnTo>
                    <a:lnTo>
                      <a:pt x="1084" y="168"/>
                    </a:lnTo>
                    <a:lnTo>
                      <a:pt x="1152" y="147"/>
                    </a:lnTo>
                    <a:lnTo>
                      <a:pt x="1218" y="120"/>
                    </a:lnTo>
                    <a:lnTo>
                      <a:pt x="1283" y="88"/>
                    </a:lnTo>
                    <a:lnTo>
                      <a:pt x="1344" y="52"/>
                    </a:lnTo>
                    <a:lnTo>
                      <a:pt x="1403" y="11"/>
                    </a:lnTo>
                    <a:lnTo>
                      <a:pt x="1398" y="58"/>
                    </a:lnTo>
                    <a:lnTo>
                      <a:pt x="1396" y="104"/>
                    </a:lnTo>
                    <a:lnTo>
                      <a:pt x="1398" y="151"/>
                    </a:lnTo>
                    <a:lnTo>
                      <a:pt x="1403" y="197"/>
                    </a:lnTo>
                    <a:lnTo>
                      <a:pt x="1413" y="242"/>
                    </a:lnTo>
                    <a:lnTo>
                      <a:pt x="1426" y="286"/>
                    </a:lnTo>
                    <a:lnTo>
                      <a:pt x="1442" y="328"/>
                    </a:lnTo>
                    <a:lnTo>
                      <a:pt x="1463" y="368"/>
                    </a:lnTo>
                    <a:lnTo>
                      <a:pt x="1486" y="405"/>
                    </a:lnTo>
                    <a:lnTo>
                      <a:pt x="1514" y="439"/>
                    </a:lnTo>
                    <a:lnTo>
                      <a:pt x="1546" y="470"/>
                    </a:lnTo>
                    <a:lnTo>
                      <a:pt x="1580" y="497"/>
                    </a:lnTo>
                    <a:lnTo>
                      <a:pt x="1619" y="519"/>
                    </a:lnTo>
                    <a:lnTo>
                      <a:pt x="1569" y="585"/>
                    </a:lnTo>
                    <a:lnTo>
                      <a:pt x="1514" y="646"/>
                    </a:lnTo>
                    <a:lnTo>
                      <a:pt x="1455" y="702"/>
                    </a:lnTo>
                    <a:lnTo>
                      <a:pt x="1393" y="753"/>
                    </a:lnTo>
                    <a:lnTo>
                      <a:pt x="1326" y="797"/>
                    </a:lnTo>
                    <a:lnTo>
                      <a:pt x="1256" y="836"/>
                    </a:lnTo>
                    <a:lnTo>
                      <a:pt x="1184" y="869"/>
                    </a:lnTo>
                    <a:lnTo>
                      <a:pt x="1108" y="895"/>
                    </a:lnTo>
                    <a:lnTo>
                      <a:pt x="1030" y="915"/>
                    </a:lnTo>
                    <a:lnTo>
                      <a:pt x="949" y="926"/>
                    </a:lnTo>
                    <a:lnTo>
                      <a:pt x="866" y="929"/>
                    </a:lnTo>
                    <a:lnTo>
                      <a:pt x="786" y="926"/>
                    </a:lnTo>
                    <a:lnTo>
                      <a:pt x="705" y="915"/>
                    </a:lnTo>
                    <a:lnTo>
                      <a:pt x="628" y="896"/>
                    </a:lnTo>
                    <a:lnTo>
                      <a:pt x="554" y="871"/>
                    </a:lnTo>
                    <a:lnTo>
                      <a:pt x="481" y="839"/>
                    </a:lnTo>
                    <a:lnTo>
                      <a:pt x="412" y="801"/>
                    </a:lnTo>
                    <a:lnTo>
                      <a:pt x="346" y="756"/>
                    </a:lnTo>
                    <a:lnTo>
                      <a:pt x="283" y="707"/>
                    </a:lnTo>
                    <a:lnTo>
                      <a:pt x="225" y="652"/>
                    </a:lnTo>
                    <a:lnTo>
                      <a:pt x="171" y="592"/>
                    </a:lnTo>
                    <a:lnTo>
                      <a:pt x="121" y="527"/>
                    </a:lnTo>
                    <a:lnTo>
                      <a:pt x="76" y="457"/>
                    </a:lnTo>
                    <a:lnTo>
                      <a:pt x="35" y="384"/>
                    </a:lnTo>
                    <a:lnTo>
                      <a:pt x="0" y="308"/>
                    </a:lnTo>
                    <a:lnTo>
                      <a:pt x="45" y="299"/>
                    </a:lnTo>
                    <a:lnTo>
                      <a:pt x="88" y="285"/>
                    </a:lnTo>
                    <a:lnTo>
                      <a:pt x="127" y="267"/>
                    </a:lnTo>
                    <a:lnTo>
                      <a:pt x="162" y="244"/>
                    </a:lnTo>
                    <a:lnTo>
                      <a:pt x="194" y="218"/>
                    </a:lnTo>
                    <a:lnTo>
                      <a:pt x="224" y="187"/>
                    </a:lnTo>
                    <a:lnTo>
                      <a:pt x="249" y="156"/>
                    </a:lnTo>
                    <a:lnTo>
                      <a:pt x="271" y="120"/>
                    </a:lnTo>
                    <a:lnTo>
                      <a:pt x="291" y="82"/>
                    </a:lnTo>
                    <a:lnTo>
                      <a:pt x="307" y="42"/>
                    </a:lnTo>
                    <a:lnTo>
                      <a:pt x="31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7" name="Freeform 28"/>
              <p:cNvSpPr>
                <a:spLocks/>
              </p:cNvSpPr>
              <p:nvPr/>
            </p:nvSpPr>
            <p:spPr bwMode="auto">
              <a:xfrm>
                <a:off x="-5367338" y="-457200"/>
                <a:ext cx="473075" cy="1495425"/>
              </a:xfrm>
              <a:custGeom>
                <a:avLst/>
                <a:gdLst>
                  <a:gd name="T0" fmla="*/ 217 w 298"/>
                  <a:gd name="T1" fmla="*/ 0 h 942"/>
                  <a:gd name="T2" fmla="*/ 219 w 298"/>
                  <a:gd name="T3" fmla="*/ 4 h 942"/>
                  <a:gd name="T4" fmla="*/ 220 w 298"/>
                  <a:gd name="T5" fmla="*/ 16 h 942"/>
                  <a:gd name="T6" fmla="*/ 222 w 298"/>
                  <a:gd name="T7" fmla="*/ 35 h 942"/>
                  <a:gd name="T8" fmla="*/ 225 w 298"/>
                  <a:gd name="T9" fmla="*/ 62 h 942"/>
                  <a:gd name="T10" fmla="*/ 228 w 298"/>
                  <a:gd name="T11" fmla="*/ 95 h 942"/>
                  <a:gd name="T12" fmla="*/ 233 w 298"/>
                  <a:gd name="T13" fmla="*/ 134 h 942"/>
                  <a:gd name="T14" fmla="*/ 238 w 298"/>
                  <a:gd name="T15" fmla="*/ 177 h 942"/>
                  <a:gd name="T16" fmla="*/ 244 w 298"/>
                  <a:gd name="T17" fmla="*/ 226 h 942"/>
                  <a:gd name="T18" fmla="*/ 250 w 298"/>
                  <a:gd name="T19" fmla="*/ 279 h 942"/>
                  <a:gd name="T20" fmla="*/ 257 w 298"/>
                  <a:gd name="T21" fmla="*/ 335 h 942"/>
                  <a:gd name="T22" fmla="*/ 264 w 298"/>
                  <a:gd name="T23" fmla="*/ 395 h 942"/>
                  <a:gd name="T24" fmla="*/ 270 w 298"/>
                  <a:gd name="T25" fmla="*/ 457 h 942"/>
                  <a:gd name="T26" fmla="*/ 277 w 298"/>
                  <a:gd name="T27" fmla="*/ 521 h 942"/>
                  <a:gd name="T28" fmla="*/ 285 w 298"/>
                  <a:gd name="T29" fmla="*/ 587 h 942"/>
                  <a:gd name="T30" fmla="*/ 292 w 298"/>
                  <a:gd name="T31" fmla="*/ 653 h 942"/>
                  <a:gd name="T32" fmla="*/ 298 w 298"/>
                  <a:gd name="T33" fmla="*/ 720 h 942"/>
                  <a:gd name="T34" fmla="*/ 228 w 298"/>
                  <a:gd name="T35" fmla="*/ 780 h 942"/>
                  <a:gd name="T36" fmla="*/ 155 w 298"/>
                  <a:gd name="T37" fmla="*/ 837 h 942"/>
                  <a:gd name="T38" fmla="*/ 78 w 298"/>
                  <a:gd name="T39" fmla="*/ 891 h 942"/>
                  <a:gd name="T40" fmla="*/ 0 w 298"/>
                  <a:gd name="T41" fmla="*/ 942 h 942"/>
                  <a:gd name="T42" fmla="*/ 12 w 298"/>
                  <a:gd name="T43" fmla="*/ 871 h 942"/>
                  <a:gd name="T44" fmla="*/ 26 w 298"/>
                  <a:gd name="T45" fmla="*/ 802 h 942"/>
                  <a:gd name="T46" fmla="*/ 39 w 298"/>
                  <a:gd name="T47" fmla="*/ 732 h 942"/>
                  <a:gd name="T48" fmla="*/ 54 w 298"/>
                  <a:gd name="T49" fmla="*/ 664 h 942"/>
                  <a:gd name="T50" fmla="*/ 67 w 298"/>
                  <a:gd name="T51" fmla="*/ 596 h 942"/>
                  <a:gd name="T52" fmla="*/ 82 w 298"/>
                  <a:gd name="T53" fmla="*/ 532 h 942"/>
                  <a:gd name="T54" fmla="*/ 96 w 298"/>
                  <a:gd name="T55" fmla="*/ 468 h 942"/>
                  <a:gd name="T56" fmla="*/ 111 w 298"/>
                  <a:gd name="T57" fmla="*/ 407 h 942"/>
                  <a:gd name="T58" fmla="*/ 125 w 298"/>
                  <a:gd name="T59" fmla="*/ 349 h 942"/>
                  <a:gd name="T60" fmla="*/ 139 w 298"/>
                  <a:gd name="T61" fmla="*/ 294 h 942"/>
                  <a:gd name="T62" fmla="*/ 151 w 298"/>
                  <a:gd name="T63" fmla="*/ 243 h 942"/>
                  <a:gd name="T64" fmla="*/ 164 w 298"/>
                  <a:gd name="T65" fmla="*/ 197 h 942"/>
                  <a:gd name="T66" fmla="*/ 176 w 298"/>
                  <a:gd name="T67" fmla="*/ 153 h 942"/>
                  <a:gd name="T68" fmla="*/ 186 w 298"/>
                  <a:gd name="T69" fmla="*/ 115 h 942"/>
                  <a:gd name="T70" fmla="*/ 194 w 298"/>
                  <a:gd name="T71" fmla="*/ 81 h 942"/>
                  <a:gd name="T72" fmla="*/ 203 w 298"/>
                  <a:gd name="T73" fmla="*/ 52 h 942"/>
                  <a:gd name="T74" fmla="*/ 209 w 298"/>
                  <a:gd name="T75" fmla="*/ 30 h 942"/>
                  <a:gd name="T76" fmla="*/ 214 w 298"/>
                  <a:gd name="T77" fmla="*/ 13 h 942"/>
                  <a:gd name="T78" fmla="*/ 216 w 298"/>
                  <a:gd name="T79" fmla="*/ 4 h 942"/>
                  <a:gd name="T80" fmla="*/ 217 w 298"/>
                  <a:gd name="T81" fmla="*/ 0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8" h="942">
                    <a:moveTo>
                      <a:pt x="217" y="0"/>
                    </a:moveTo>
                    <a:lnTo>
                      <a:pt x="219" y="4"/>
                    </a:lnTo>
                    <a:lnTo>
                      <a:pt x="220" y="16"/>
                    </a:lnTo>
                    <a:lnTo>
                      <a:pt x="222" y="35"/>
                    </a:lnTo>
                    <a:lnTo>
                      <a:pt x="225" y="62"/>
                    </a:lnTo>
                    <a:lnTo>
                      <a:pt x="228" y="95"/>
                    </a:lnTo>
                    <a:lnTo>
                      <a:pt x="233" y="134"/>
                    </a:lnTo>
                    <a:lnTo>
                      <a:pt x="238" y="177"/>
                    </a:lnTo>
                    <a:lnTo>
                      <a:pt x="244" y="226"/>
                    </a:lnTo>
                    <a:lnTo>
                      <a:pt x="250" y="279"/>
                    </a:lnTo>
                    <a:lnTo>
                      <a:pt x="257" y="335"/>
                    </a:lnTo>
                    <a:lnTo>
                      <a:pt x="264" y="395"/>
                    </a:lnTo>
                    <a:lnTo>
                      <a:pt x="270" y="457"/>
                    </a:lnTo>
                    <a:lnTo>
                      <a:pt x="277" y="521"/>
                    </a:lnTo>
                    <a:lnTo>
                      <a:pt x="285" y="587"/>
                    </a:lnTo>
                    <a:lnTo>
                      <a:pt x="292" y="653"/>
                    </a:lnTo>
                    <a:lnTo>
                      <a:pt x="298" y="720"/>
                    </a:lnTo>
                    <a:lnTo>
                      <a:pt x="228" y="780"/>
                    </a:lnTo>
                    <a:lnTo>
                      <a:pt x="155" y="837"/>
                    </a:lnTo>
                    <a:lnTo>
                      <a:pt x="78" y="891"/>
                    </a:lnTo>
                    <a:lnTo>
                      <a:pt x="0" y="942"/>
                    </a:lnTo>
                    <a:lnTo>
                      <a:pt x="12" y="871"/>
                    </a:lnTo>
                    <a:lnTo>
                      <a:pt x="26" y="802"/>
                    </a:lnTo>
                    <a:lnTo>
                      <a:pt x="39" y="732"/>
                    </a:lnTo>
                    <a:lnTo>
                      <a:pt x="54" y="664"/>
                    </a:lnTo>
                    <a:lnTo>
                      <a:pt x="67" y="596"/>
                    </a:lnTo>
                    <a:lnTo>
                      <a:pt x="82" y="532"/>
                    </a:lnTo>
                    <a:lnTo>
                      <a:pt x="96" y="468"/>
                    </a:lnTo>
                    <a:lnTo>
                      <a:pt x="111" y="407"/>
                    </a:lnTo>
                    <a:lnTo>
                      <a:pt x="125" y="349"/>
                    </a:lnTo>
                    <a:lnTo>
                      <a:pt x="139" y="294"/>
                    </a:lnTo>
                    <a:lnTo>
                      <a:pt x="151" y="243"/>
                    </a:lnTo>
                    <a:lnTo>
                      <a:pt x="164" y="197"/>
                    </a:lnTo>
                    <a:lnTo>
                      <a:pt x="176" y="153"/>
                    </a:lnTo>
                    <a:lnTo>
                      <a:pt x="186" y="115"/>
                    </a:lnTo>
                    <a:lnTo>
                      <a:pt x="194" y="81"/>
                    </a:lnTo>
                    <a:lnTo>
                      <a:pt x="203" y="52"/>
                    </a:lnTo>
                    <a:lnTo>
                      <a:pt x="209" y="30"/>
                    </a:lnTo>
                    <a:lnTo>
                      <a:pt x="214" y="13"/>
                    </a:lnTo>
                    <a:lnTo>
                      <a:pt x="216" y="4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8" name="Freeform 29"/>
              <p:cNvSpPr>
                <a:spLocks/>
              </p:cNvSpPr>
              <p:nvPr/>
            </p:nvSpPr>
            <p:spPr bwMode="auto">
              <a:xfrm>
                <a:off x="-7040563" y="-992188"/>
                <a:ext cx="2017713" cy="2500313"/>
              </a:xfrm>
              <a:custGeom>
                <a:avLst/>
                <a:gdLst>
                  <a:gd name="T0" fmla="*/ 424 w 1271"/>
                  <a:gd name="T1" fmla="*/ 11 h 1575"/>
                  <a:gd name="T2" fmla="*/ 585 w 1271"/>
                  <a:gd name="T3" fmla="*/ 57 h 1575"/>
                  <a:gd name="T4" fmla="*/ 751 w 1271"/>
                  <a:gd name="T5" fmla="*/ 113 h 1575"/>
                  <a:gd name="T6" fmla="*/ 945 w 1271"/>
                  <a:gd name="T7" fmla="*/ 185 h 1575"/>
                  <a:gd name="T8" fmla="*/ 1165 w 1271"/>
                  <a:gd name="T9" fmla="*/ 282 h 1575"/>
                  <a:gd name="T10" fmla="*/ 1270 w 1271"/>
                  <a:gd name="T11" fmla="*/ 341 h 1575"/>
                  <a:gd name="T12" fmla="*/ 1263 w 1271"/>
                  <a:gd name="T13" fmla="*/ 367 h 1575"/>
                  <a:gd name="T14" fmla="*/ 1248 w 1271"/>
                  <a:gd name="T15" fmla="*/ 418 h 1575"/>
                  <a:gd name="T16" fmla="*/ 1230 w 1271"/>
                  <a:gd name="T17" fmla="*/ 490 h 1575"/>
                  <a:gd name="T18" fmla="*/ 1205 w 1271"/>
                  <a:gd name="T19" fmla="*/ 580 h 1575"/>
                  <a:gd name="T20" fmla="*/ 1179 w 1271"/>
                  <a:gd name="T21" fmla="*/ 686 h 1575"/>
                  <a:gd name="T22" fmla="*/ 1150 w 1271"/>
                  <a:gd name="T23" fmla="*/ 805 h 1575"/>
                  <a:gd name="T24" fmla="*/ 1121 w 1271"/>
                  <a:gd name="T25" fmla="*/ 933 h 1575"/>
                  <a:gd name="T26" fmla="*/ 1093 w 1271"/>
                  <a:gd name="T27" fmla="*/ 1069 h 1575"/>
                  <a:gd name="T28" fmla="*/ 1066 w 1271"/>
                  <a:gd name="T29" fmla="*/ 1208 h 1575"/>
                  <a:gd name="T30" fmla="*/ 960 w 1271"/>
                  <a:gd name="T31" fmla="*/ 1333 h 1575"/>
                  <a:gd name="T32" fmla="*/ 764 w 1271"/>
                  <a:gd name="T33" fmla="*/ 1426 h 1575"/>
                  <a:gd name="T34" fmla="*/ 558 w 1271"/>
                  <a:gd name="T35" fmla="*/ 1498 h 1575"/>
                  <a:gd name="T36" fmla="*/ 341 w 1271"/>
                  <a:gd name="T37" fmla="*/ 1547 h 1575"/>
                  <a:gd name="T38" fmla="*/ 116 w 1271"/>
                  <a:gd name="T39" fmla="*/ 1571 h 1575"/>
                  <a:gd name="T40" fmla="*/ 0 w 1271"/>
                  <a:gd name="T41" fmla="*/ 1081 h 1575"/>
                  <a:gd name="T42" fmla="*/ 3 w 1271"/>
                  <a:gd name="T43" fmla="*/ 1076 h 1575"/>
                  <a:gd name="T44" fmla="*/ 8 w 1271"/>
                  <a:gd name="T45" fmla="*/ 1069 h 1575"/>
                  <a:gd name="T46" fmla="*/ 13 w 1271"/>
                  <a:gd name="T47" fmla="*/ 1056 h 1575"/>
                  <a:gd name="T48" fmla="*/ 28 w 1271"/>
                  <a:gd name="T49" fmla="*/ 1023 h 1575"/>
                  <a:gd name="T50" fmla="*/ 57 w 1271"/>
                  <a:gd name="T51" fmla="*/ 955 h 1575"/>
                  <a:gd name="T52" fmla="*/ 94 w 1271"/>
                  <a:gd name="T53" fmla="*/ 865 h 1575"/>
                  <a:gd name="T54" fmla="*/ 138 w 1271"/>
                  <a:gd name="T55" fmla="*/ 757 h 1575"/>
                  <a:gd name="T56" fmla="*/ 185 w 1271"/>
                  <a:gd name="T57" fmla="*/ 636 h 1575"/>
                  <a:gd name="T58" fmla="*/ 234 w 1271"/>
                  <a:gd name="T59" fmla="*/ 507 h 1575"/>
                  <a:gd name="T60" fmla="*/ 300 w 1271"/>
                  <a:gd name="T61" fmla="*/ 317 h 1575"/>
                  <a:gd name="T62" fmla="*/ 343 w 1271"/>
                  <a:gd name="T63" fmla="*/ 180 h 1575"/>
                  <a:gd name="T64" fmla="*/ 376 w 1271"/>
                  <a:gd name="T65" fmla="*/ 57 h 1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71" h="1575">
                    <a:moveTo>
                      <a:pt x="388" y="0"/>
                    </a:moveTo>
                    <a:lnTo>
                      <a:pt x="424" y="11"/>
                    </a:lnTo>
                    <a:lnTo>
                      <a:pt x="503" y="33"/>
                    </a:lnTo>
                    <a:lnTo>
                      <a:pt x="585" y="57"/>
                    </a:lnTo>
                    <a:lnTo>
                      <a:pt x="669" y="85"/>
                    </a:lnTo>
                    <a:lnTo>
                      <a:pt x="751" y="113"/>
                    </a:lnTo>
                    <a:lnTo>
                      <a:pt x="834" y="144"/>
                    </a:lnTo>
                    <a:lnTo>
                      <a:pt x="945" y="185"/>
                    </a:lnTo>
                    <a:lnTo>
                      <a:pt x="1056" y="232"/>
                    </a:lnTo>
                    <a:lnTo>
                      <a:pt x="1165" y="282"/>
                    </a:lnTo>
                    <a:lnTo>
                      <a:pt x="1271" y="337"/>
                    </a:lnTo>
                    <a:lnTo>
                      <a:pt x="1270" y="341"/>
                    </a:lnTo>
                    <a:lnTo>
                      <a:pt x="1268" y="350"/>
                    </a:lnTo>
                    <a:lnTo>
                      <a:pt x="1263" y="367"/>
                    </a:lnTo>
                    <a:lnTo>
                      <a:pt x="1257" y="389"/>
                    </a:lnTo>
                    <a:lnTo>
                      <a:pt x="1248" y="418"/>
                    </a:lnTo>
                    <a:lnTo>
                      <a:pt x="1240" y="452"/>
                    </a:lnTo>
                    <a:lnTo>
                      <a:pt x="1230" y="490"/>
                    </a:lnTo>
                    <a:lnTo>
                      <a:pt x="1218" y="532"/>
                    </a:lnTo>
                    <a:lnTo>
                      <a:pt x="1205" y="580"/>
                    </a:lnTo>
                    <a:lnTo>
                      <a:pt x="1193" y="631"/>
                    </a:lnTo>
                    <a:lnTo>
                      <a:pt x="1179" y="686"/>
                    </a:lnTo>
                    <a:lnTo>
                      <a:pt x="1165" y="744"/>
                    </a:lnTo>
                    <a:lnTo>
                      <a:pt x="1150" y="805"/>
                    </a:lnTo>
                    <a:lnTo>
                      <a:pt x="1136" y="867"/>
                    </a:lnTo>
                    <a:lnTo>
                      <a:pt x="1121" y="933"/>
                    </a:lnTo>
                    <a:lnTo>
                      <a:pt x="1108" y="1001"/>
                    </a:lnTo>
                    <a:lnTo>
                      <a:pt x="1093" y="1069"/>
                    </a:lnTo>
                    <a:lnTo>
                      <a:pt x="1080" y="1139"/>
                    </a:lnTo>
                    <a:lnTo>
                      <a:pt x="1066" y="1208"/>
                    </a:lnTo>
                    <a:lnTo>
                      <a:pt x="1054" y="1279"/>
                    </a:lnTo>
                    <a:lnTo>
                      <a:pt x="960" y="1333"/>
                    </a:lnTo>
                    <a:lnTo>
                      <a:pt x="863" y="1382"/>
                    </a:lnTo>
                    <a:lnTo>
                      <a:pt x="764" y="1426"/>
                    </a:lnTo>
                    <a:lnTo>
                      <a:pt x="662" y="1464"/>
                    </a:lnTo>
                    <a:lnTo>
                      <a:pt x="558" y="1498"/>
                    </a:lnTo>
                    <a:lnTo>
                      <a:pt x="450" y="1525"/>
                    </a:lnTo>
                    <a:lnTo>
                      <a:pt x="341" y="1547"/>
                    </a:lnTo>
                    <a:lnTo>
                      <a:pt x="230" y="1563"/>
                    </a:lnTo>
                    <a:lnTo>
                      <a:pt x="116" y="1571"/>
                    </a:lnTo>
                    <a:lnTo>
                      <a:pt x="0" y="1575"/>
                    </a:lnTo>
                    <a:lnTo>
                      <a:pt x="0" y="1081"/>
                    </a:lnTo>
                    <a:lnTo>
                      <a:pt x="2" y="1080"/>
                    </a:lnTo>
                    <a:lnTo>
                      <a:pt x="3" y="1076"/>
                    </a:lnTo>
                    <a:lnTo>
                      <a:pt x="5" y="1073"/>
                    </a:lnTo>
                    <a:lnTo>
                      <a:pt x="8" y="1069"/>
                    </a:lnTo>
                    <a:lnTo>
                      <a:pt x="13" y="1058"/>
                    </a:lnTo>
                    <a:lnTo>
                      <a:pt x="13" y="1056"/>
                    </a:lnTo>
                    <a:lnTo>
                      <a:pt x="14" y="1052"/>
                    </a:lnTo>
                    <a:lnTo>
                      <a:pt x="28" y="1023"/>
                    </a:lnTo>
                    <a:lnTo>
                      <a:pt x="41" y="993"/>
                    </a:lnTo>
                    <a:lnTo>
                      <a:pt x="57" y="955"/>
                    </a:lnTo>
                    <a:lnTo>
                      <a:pt x="75" y="913"/>
                    </a:lnTo>
                    <a:lnTo>
                      <a:pt x="94" y="865"/>
                    </a:lnTo>
                    <a:lnTo>
                      <a:pt x="115" y="812"/>
                    </a:lnTo>
                    <a:lnTo>
                      <a:pt x="138" y="757"/>
                    </a:lnTo>
                    <a:lnTo>
                      <a:pt x="162" y="697"/>
                    </a:lnTo>
                    <a:lnTo>
                      <a:pt x="185" y="636"/>
                    </a:lnTo>
                    <a:lnTo>
                      <a:pt x="209" y="573"/>
                    </a:lnTo>
                    <a:lnTo>
                      <a:pt x="234" y="507"/>
                    </a:lnTo>
                    <a:lnTo>
                      <a:pt x="258" y="441"/>
                    </a:lnTo>
                    <a:lnTo>
                      <a:pt x="300" y="317"/>
                    </a:lnTo>
                    <a:lnTo>
                      <a:pt x="323" y="244"/>
                    </a:lnTo>
                    <a:lnTo>
                      <a:pt x="343" y="180"/>
                    </a:lnTo>
                    <a:lnTo>
                      <a:pt x="360" y="118"/>
                    </a:lnTo>
                    <a:lnTo>
                      <a:pt x="376" y="57"/>
                    </a:lnTo>
                    <a:lnTo>
                      <a:pt x="38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9" name="Freeform 30"/>
              <p:cNvSpPr>
                <a:spLocks/>
              </p:cNvSpPr>
              <p:nvPr/>
            </p:nvSpPr>
            <p:spPr bwMode="auto">
              <a:xfrm>
                <a:off x="-7040563" y="-1260475"/>
                <a:ext cx="1190625" cy="1982788"/>
              </a:xfrm>
              <a:custGeom>
                <a:avLst/>
                <a:gdLst>
                  <a:gd name="T0" fmla="*/ 410 w 750"/>
                  <a:gd name="T1" fmla="*/ 0 h 1249"/>
                  <a:gd name="T2" fmla="*/ 412 w 750"/>
                  <a:gd name="T3" fmla="*/ 1 h 1249"/>
                  <a:gd name="T4" fmla="*/ 418 w 750"/>
                  <a:gd name="T5" fmla="*/ 7 h 1249"/>
                  <a:gd name="T6" fmla="*/ 428 w 750"/>
                  <a:gd name="T7" fmla="*/ 17 h 1249"/>
                  <a:gd name="T8" fmla="*/ 443 w 750"/>
                  <a:gd name="T9" fmla="*/ 29 h 1249"/>
                  <a:gd name="T10" fmla="*/ 459 w 750"/>
                  <a:gd name="T11" fmla="*/ 45 h 1249"/>
                  <a:gd name="T12" fmla="*/ 478 w 750"/>
                  <a:gd name="T13" fmla="*/ 63 h 1249"/>
                  <a:gd name="T14" fmla="*/ 499 w 750"/>
                  <a:gd name="T15" fmla="*/ 83 h 1249"/>
                  <a:gd name="T16" fmla="*/ 522 w 750"/>
                  <a:gd name="T17" fmla="*/ 105 h 1249"/>
                  <a:gd name="T18" fmla="*/ 545 w 750"/>
                  <a:gd name="T19" fmla="*/ 128 h 1249"/>
                  <a:gd name="T20" fmla="*/ 571 w 750"/>
                  <a:gd name="T21" fmla="*/ 151 h 1249"/>
                  <a:gd name="T22" fmla="*/ 596 w 750"/>
                  <a:gd name="T23" fmla="*/ 177 h 1249"/>
                  <a:gd name="T24" fmla="*/ 621 w 750"/>
                  <a:gd name="T25" fmla="*/ 202 h 1249"/>
                  <a:gd name="T26" fmla="*/ 646 w 750"/>
                  <a:gd name="T27" fmla="*/ 227 h 1249"/>
                  <a:gd name="T28" fmla="*/ 669 w 750"/>
                  <a:gd name="T29" fmla="*/ 252 h 1249"/>
                  <a:gd name="T30" fmla="*/ 693 w 750"/>
                  <a:gd name="T31" fmla="*/ 277 h 1249"/>
                  <a:gd name="T32" fmla="*/ 715 w 750"/>
                  <a:gd name="T33" fmla="*/ 302 h 1249"/>
                  <a:gd name="T34" fmla="*/ 734 w 750"/>
                  <a:gd name="T35" fmla="*/ 324 h 1249"/>
                  <a:gd name="T36" fmla="*/ 750 w 750"/>
                  <a:gd name="T37" fmla="*/ 345 h 1249"/>
                  <a:gd name="T38" fmla="*/ 580 w 750"/>
                  <a:gd name="T39" fmla="*/ 433 h 1249"/>
                  <a:gd name="T40" fmla="*/ 690 w 750"/>
                  <a:gd name="T41" fmla="*/ 698 h 1249"/>
                  <a:gd name="T42" fmla="*/ 39 w 750"/>
                  <a:gd name="T43" fmla="*/ 1218 h 1249"/>
                  <a:gd name="T44" fmla="*/ 0 w 750"/>
                  <a:gd name="T45" fmla="*/ 1249 h 1249"/>
                  <a:gd name="T46" fmla="*/ 3 w 750"/>
                  <a:gd name="T47" fmla="*/ 1247 h 1249"/>
                  <a:gd name="T48" fmla="*/ 6 w 750"/>
                  <a:gd name="T49" fmla="*/ 1239 h 1249"/>
                  <a:gd name="T50" fmla="*/ 13 w 750"/>
                  <a:gd name="T51" fmla="*/ 1226 h 1249"/>
                  <a:gd name="T52" fmla="*/ 20 w 750"/>
                  <a:gd name="T53" fmla="*/ 1209 h 1249"/>
                  <a:gd name="T54" fmla="*/ 30 w 750"/>
                  <a:gd name="T55" fmla="*/ 1187 h 1249"/>
                  <a:gd name="T56" fmla="*/ 39 w 750"/>
                  <a:gd name="T57" fmla="*/ 1161 h 1249"/>
                  <a:gd name="T58" fmla="*/ 57 w 750"/>
                  <a:gd name="T59" fmla="*/ 1121 h 1249"/>
                  <a:gd name="T60" fmla="*/ 76 w 750"/>
                  <a:gd name="T61" fmla="*/ 1074 h 1249"/>
                  <a:gd name="T62" fmla="*/ 97 w 750"/>
                  <a:gd name="T63" fmla="*/ 1023 h 1249"/>
                  <a:gd name="T64" fmla="*/ 120 w 750"/>
                  <a:gd name="T65" fmla="*/ 967 h 1249"/>
                  <a:gd name="T66" fmla="*/ 145 w 750"/>
                  <a:gd name="T67" fmla="*/ 907 h 1249"/>
                  <a:gd name="T68" fmla="*/ 169 w 750"/>
                  <a:gd name="T69" fmla="*/ 843 h 1249"/>
                  <a:gd name="T70" fmla="*/ 195 w 750"/>
                  <a:gd name="T71" fmla="*/ 777 h 1249"/>
                  <a:gd name="T72" fmla="*/ 220 w 750"/>
                  <a:gd name="T73" fmla="*/ 709 h 1249"/>
                  <a:gd name="T74" fmla="*/ 246 w 750"/>
                  <a:gd name="T75" fmla="*/ 639 h 1249"/>
                  <a:gd name="T76" fmla="*/ 270 w 750"/>
                  <a:gd name="T77" fmla="*/ 569 h 1249"/>
                  <a:gd name="T78" fmla="*/ 295 w 750"/>
                  <a:gd name="T79" fmla="*/ 499 h 1249"/>
                  <a:gd name="T80" fmla="*/ 317 w 750"/>
                  <a:gd name="T81" fmla="*/ 429 h 1249"/>
                  <a:gd name="T82" fmla="*/ 339 w 750"/>
                  <a:gd name="T83" fmla="*/ 359 h 1249"/>
                  <a:gd name="T84" fmla="*/ 357 w 750"/>
                  <a:gd name="T85" fmla="*/ 293 h 1249"/>
                  <a:gd name="T86" fmla="*/ 374 w 750"/>
                  <a:gd name="T87" fmla="*/ 228 h 1249"/>
                  <a:gd name="T88" fmla="*/ 388 w 750"/>
                  <a:gd name="T89" fmla="*/ 167 h 1249"/>
                  <a:gd name="T90" fmla="*/ 396 w 750"/>
                  <a:gd name="T91" fmla="*/ 121 h 1249"/>
                  <a:gd name="T92" fmla="*/ 404 w 750"/>
                  <a:gd name="T93" fmla="*/ 77 h 1249"/>
                  <a:gd name="T94" fmla="*/ 407 w 750"/>
                  <a:gd name="T95" fmla="*/ 37 h 1249"/>
                  <a:gd name="T96" fmla="*/ 410 w 750"/>
                  <a:gd name="T97" fmla="*/ 0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50" h="1249">
                    <a:moveTo>
                      <a:pt x="410" y="0"/>
                    </a:moveTo>
                    <a:lnTo>
                      <a:pt x="412" y="1"/>
                    </a:lnTo>
                    <a:lnTo>
                      <a:pt x="418" y="7"/>
                    </a:lnTo>
                    <a:lnTo>
                      <a:pt x="428" y="17"/>
                    </a:lnTo>
                    <a:lnTo>
                      <a:pt x="443" y="29"/>
                    </a:lnTo>
                    <a:lnTo>
                      <a:pt x="459" y="45"/>
                    </a:lnTo>
                    <a:lnTo>
                      <a:pt x="478" y="63"/>
                    </a:lnTo>
                    <a:lnTo>
                      <a:pt x="499" y="83"/>
                    </a:lnTo>
                    <a:lnTo>
                      <a:pt x="522" y="105"/>
                    </a:lnTo>
                    <a:lnTo>
                      <a:pt x="545" y="128"/>
                    </a:lnTo>
                    <a:lnTo>
                      <a:pt x="571" y="151"/>
                    </a:lnTo>
                    <a:lnTo>
                      <a:pt x="596" y="177"/>
                    </a:lnTo>
                    <a:lnTo>
                      <a:pt x="621" y="202"/>
                    </a:lnTo>
                    <a:lnTo>
                      <a:pt x="646" y="227"/>
                    </a:lnTo>
                    <a:lnTo>
                      <a:pt x="669" y="252"/>
                    </a:lnTo>
                    <a:lnTo>
                      <a:pt x="693" y="277"/>
                    </a:lnTo>
                    <a:lnTo>
                      <a:pt x="715" y="302"/>
                    </a:lnTo>
                    <a:lnTo>
                      <a:pt x="734" y="324"/>
                    </a:lnTo>
                    <a:lnTo>
                      <a:pt x="750" y="345"/>
                    </a:lnTo>
                    <a:lnTo>
                      <a:pt x="580" y="433"/>
                    </a:lnTo>
                    <a:lnTo>
                      <a:pt x="690" y="698"/>
                    </a:lnTo>
                    <a:lnTo>
                      <a:pt x="39" y="1218"/>
                    </a:lnTo>
                    <a:lnTo>
                      <a:pt x="0" y="1249"/>
                    </a:lnTo>
                    <a:lnTo>
                      <a:pt x="3" y="1247"/>
                    </a:lnTo>
                    <a:lnTo>
                      <a:pt x="6" y="1239"/>
                    </a:lnTo>
                    <a:lnTo>
                      <a:pt x="13" y="1226"/>
                    </a:lnTo>
                    <a:lnTo>
                      <a:pt x="20" y="1209"/>
                    </a:lnTo>
                    <a:lnTo>
                      <a:pt x="30" y="1187"/>
                    </a:lnTo>
                    <a:lnTo>
                      <a:pt x="39" y="1161"/>
                    </a:lnTo>
                    <a:lnTo>
                      <a:pt x="57" y="1121"/>
                    </a:lnTo>
                    <a:lnTo>
                      <a:pt x="76" y="1074"/>
                    </a:lnTo>
                    <a:lnTo>
                      <a:pt x="97" y="1023"/>
                    </a:lnTo>
                    <a:lnTo>
                      <a:pt x="120" y="967"/>
                    </a:lnTo>
                    <a:lnTo>
                      <a:pt x="145" y="907"/>
                    </a:lnTo>
                    <a:lnTo>
                      <a:pt x="169" y="843"/>
                    </a:lnTo>
                    <a:lnTo>
                      <a:pt x="195" y="777"/>
                    </a:lnTo>
                    <a:lnTo>
                      <a:pt x="220" y="709"/>
                    </a:lnTo>
                    <a:lnTo>
                      <a:pt x="246" y="639"/>
                    </a:lnTo>
                    <a:lnTo>
                      <a:pt x="270" y="569"/>
                    </a:lnTo>
                    <a:lnTo>
                      <a:pt x="295" y="499"/>
                    </a:lnTo>
                    <a:lnTo>
                      <a:pt x="317" y="429"/>
                    </a:lnTo>
                    <a:lnTo>
                      <a:pt x="339" y="359"/>
                    </a:lnTo>
                    <a:lnTo>
                      <a:pt x="357" y="293"/>
                    </a:lnTo>
                    <a:lnTo>
                      <a:pt x="374" y="228"/>
                    </a:lnTo>
                    <a:lnTo>
                      <a:pt x="388" y="167"/>
                    </a:lnTo>
                    <a:lnTo>
                      <a:pt x="396" y="121"/>
                    </a:lnTo>
                    <a:lnTo>
                      <a:pt x="404" y="77"/>
                    </a:lnTo>
                    <a:lnTo>
                      <a:pt x="407" y="37"/>
                    </a:lnTo>
                    <a:lnTo>
                      <a:pt x="41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0" name="Freeform 31"/>
              <p:cNvSpPr>
                <a:spLocks/>
              </p:cNvSpPr>
              <p:nvPr/>
            </p:nvSpPr>
            <p:spPr bwMode="auto">
              <a:xfrm>
                <a:off x="-9182100" y="-455613"/>
                <a:ext cx="473075" cy="1493838"/>
              </a:xfrm>
              <a:custGeom>
                <a:avLst/>
                <a:gdLst>
                  <a:gd name="T0" fmla="*/ 82 w 298"/>
                  <a:gd name="T1" fmla="*/ 0 h 941"/>
                  <a:gd name="T2" fmla="*/ 82 w 298"/>
                  <a:gd name="T3" fmla="*/ 3 h 941"/>
                  <a:gd name="T4" fmla="*/ 86 w 298"/>
                  <a:gd name="T5" fmla="*/ 14 h 941"/>
                  <a:gd name="T6" fmla="*/ 89 w 298"/>
                  <a:gd name="T7" fmla="*/ 29 h 941"/>
                  <a:gd name="T8" fmla="*/ 95 w 298"/>
                  <a:gd name="T9" fmla="*/ 51 h 941"/>
                  <a:gd name="T10" fmla="*/ 103 w 298"/>
                  <a:gd name="T11" fmla="*/ 78 h 941"/>
                  <a:gd name="T12" fmla="*/ 113 w 298"/>
                  <a:gd name="T13" fmla="*/ 110 h 941"/>
                  <a:gd name="T14" fmla="*/ 122 w 298"/>
                  <a:gd name="T15" fmla="*/ 148 h 941"/>
                  <a:gd name="T16" fmla="*/ 127 w 298"/>
                  <a:gd name="T17" fmla="*/ 168 h 941"/>
                  <a:gd name="T18" fmla="*/ 132 w 298"/>
                  <a:gd name="T19" fmla="*/ 188 h 941"/>
                  <a:gd name="T20" fmla="*/ 144 w 298"/>
                  <a:gd name="T21" fmla="*/ 231 h 941"/>
                  <a:gd name="T22" fmla="*/ 155 w 298"/>
                  <a:gd name="T23" fmla="*/ 279 h 941"/>
                  <a:gd name="T24" fmla="*/ 170 w 298"/>
                  <a:gd name="T25" fmla="*/ 331 h 941"/>
                  <a:gd name="T26" fmla="*/ 185 w 298"/>
                  <a:gd name="T27" fmla="*/ 395 h 941"/>
                  <a:gd name="T28" fmla="*/ 203 w 298"/>
                  <a:gd name="T29" fmla="*/ 473 h 941"/>
                  <a:gd name="T30" fmla="*/ 223 w 298"/>
                  <a:gd name="T31" fmla="*/ 555 h 941"/>
                  <a:gd name="T32" fmla="*/ 240 w 298"/>
                  <a:gd name="T33" fmla="*/ 638 h 941"/>
                  <a:gd name="T34" fmla="*/ 263 w 298"/>
                  <a:gd name="T35" fmla="*/ 748 h 941"/>
                  <a:gd name="T36" fmla="*/ 285 w 298"/>
                  <a:gd name="T37" fmla="*/ 861 h 941"/>
                  <a:gd name="T38" fmla="*/ 295 w 298"/>
                  <a:gd name="T39" fmla="*/ 916 h 941"/>
                  <a:gd name="T40" fmla="*/ 296 w 298"/>
                  <a:gd name="T41" fmla="*/ 929 h 941"/>
                  <a:gd name="T42" fmla="*/ 298 w 298"/>
                  <a:gd name="T43" fmla="*/ 941 h 941"/>
                  <a:gd name="T44" fmla="*/ 220 w 298"/>
                  <a:gd name="T45" fmla="*/ 890 h 941"/>
                  <a:gd name="T46" fmla="*/ 144 w 298"/>
                  <a:gd name="T47" fmla="*/ 836 h 941"/>
                  <a:gd name="T48" fmla="*/ 71 w 298"/>
                  <a:gd name="T49" fmla="*/ 779 h 941"/>
                  <a:gd name="T50" fmla="*/ 0 w 298"/>
                  <a:gd name="T51" fmla="*/ 719 h 941"/>
                  <a:gd name="T52" fmla="*/ 7 w 298"/>
                  <a:gd name="T53" fmla="*/ 652 h 941"/>
                  <a:gd name="T54" fmla="*/ 15 w 298"/>
                  <a:gd name="T55" fmla="*/ 586 h 941"/>
                  <a:gd name="T56" fmla="*/ 22 w 298"/>
                  <a:gd name="T57" fmla="*/ 520 h 941"/>
                  <a:gd name="T58" fmla="*/ 28 w 298"/>
                  <a:gd name="T59" fmla="*/ 456 h 941"/>
                  <a:gd name="T60" fmla="*/ 36 w 298"/>
                  <a:gd name="T61" fmla="*/ 395 h 941"/>
                  <a:gd name="T62" fmla="*/ 43 w 298"/>
                  <a:gd name="T63" fmla="*/ 335 h 941"/>
                  <a:gd name="T64" fmla="*/ 49 w 298"/>
                  <a:gd name="T65" fmla="*/ 279 h 941"/>
                  <a:gd name="T66" fmla="*/ 55 w 298"/>
                  <a:gd name="T67" fmla="*/ 226 h 941"/>
                  <a:gd name="T68" fmla="*/ 60 w 298"/>
                  <a:gd name="T69" fmla="*/ 177 h 941"/>
                  <a:gd name="T70" fmla="*/ 66 w 298"/>
                  <a:gd name="T71" fmla="*/ 133 h 941"/>
                  <a:gd name="T72" fmla="*/ 70 w 298"/>
                  <a:gd name="T73" fmla="*/ 95 h 941"/>
                  <a:gd name="T74" fmla="*/ 73 w 298"/>
                  <a:gd name="T75" fmla="*/ 62 h 941"/>
                  <a:gd name="T76" fmla="*/ 77 w 298"/>
                  <a:gd name="T77" fmla="*/ 36 h 941"/>
                  <a:gd name="T78" fmla="*/ 80 w 298"/>
                  <a:gd name="T79" fmla="*/ 16 h 941"/>
                  <a:gd name="T80" fmla="*/ 81 w 298"/>
                  <a:gd name="T81" fmla="*/ 4 h 941"/>
                  <a:gd name="T82" fmla="*/ 82 w 298"/>
                  <a:gd name="T8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8" h="941">
                    <a:moveTo>
                      <a:pt x="82" y="0"/>
                    </a:moveTo>
                    <a:lnTo>
                      <a:pt x="82" y="3"/>
                    </a:lnTo>
                    <a:lnTo>
                      <a:pt x="86" y="14"/>
                    </a:lnTo>
                    <a:lnTo>
                      <a:pt x="89" y="29"/>
                    </a:lnTo>
                    <a:lnTo>
                      <a:pt x="95" y="51"/>
                    </a:lnTo>
                    <a:lnTo>
                      <a:pt x="103" y="78"/>
                    </a:lnTo>
                    <a:lnTo>
                      <a:pt x="113" y="110"/>
                    </a:lnTo>
                    <a:lnTo>
                      <a:pt x="122" y="148"/>
                    </a:lnTo>
                    <a:lnTo>
                      <a:pt x="127" y="168"/>
                    </a:lnTo>
                    <a:lnTo>
                      <a:pt x="132" y="188"/>
                    </a:lnTo>
                    <a:lnTo>
                      <a:pt x="144" y="231"/>
                    </a:lnTo>
                    <a:lnTo>
                      <a:pt x="155" y="279"/>
                    </a:lnTo>
                    <a:lnTo>
                      <a:pt x="170" y="331"/>
                    </a:lnTo>
                    <a:lnTo>
                      <a:pt x="185" y="395"/>
                    </a:lnTo>
                    <a:lnTo>
                      <a:pt x="203" y="473"/>
                    </a:lnTo>
                    <a:lnTo>
                      <a:pt x="223" y="555"/>
                    </a:lnTo>
                    <a:lnTo>
                      <a:pt x="240" y="638"/>
                    </a:lnTo>
                    <a:lnTo>
                      <a:pt x="263" y="748"/>
                    </a:lnTo>
                    <a:lnTo>
                      <a:pt x="285" y="861"/>
                    </a:lnTo>
                    <a:lnTo>
                      <a:pt x="295" y="916"/>
                    </a:lnTo>
                    <a:lnTo>
                      <a:pt x="296" y="929"/>
                    </a:lnTo>
                    <a:lnTo>
                      <a:pt x="298" y="941"/>
                    </a:lnTo>
                    <a:lnTo>
                      <a:pt x="220" y="890"/>
                    </a:lnTo>
                    <a:lnTo>
                      <a:pt x="144" y="836"/>
                    </a:lnTo>
                    <a:lnTo>
                      <a:pt x="71" y="779"/>
                    </a:lnTo>
                    <a:lnTo>
                      <a:pt x="0" y="719"/>
                    </a:lnTo>
                    <a:lnTo>
                      <a:pt x="7" y="652"/>
                    </a:lnTo>
                    <a:lnTo>
                      <a:pt x="15" y="586"/>
                    </a:lnTo>
                    <a:lnTo>
                      <a:pt x="22" y="520"/>
                    </a:lnTo>
                    <a:lnTo>
                      <a:pt x="28" y="456"/>
                    </a:lnTo>
                    <a:lnTo>
                      <a:pt x="36" y="395"/>
                    </a:lnTo>
                    <a:lnTo>
                      <a:pt x="43" y="335"/>
                    </a:lnTo>
                    <a:lnTo>
                      <a:pt x="49" y="279"/>
                    </a:lnTo>
                    <a:lnTo>
                      <a:pt x="55" y="226"/>
                    </a:lnTo>
                    <a:lnTo>
                      <a:pt x="60" y="177"/>
                    </a:lnTo>
                    <a:lnTo>
                      <a:pt x="66" y="133"/>
                    </a:lnTo>
                    <a:lnTo>
                      <a:pt x="70" y="95"/>
                    </a:lnTo>
                    <a:lnTo>
                      <a:pt x="73" y="62"/>
                    </a:lnTo>
                    <a:lnTo>
                      <a:pt x="77" y="36"/>
                    </a:lnTo>
                    <a:lnTo>
                      <a:pt x="80" y="16"/>
                    </a:lnTo>
                    <a:lnTo>
                      <a:pt x="81" y="4"/>
                    </a:lnTo>
                    <a:lnTo>
                      <a:pt x="8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1" name="Freeform 32"/>
              <p:cNvSpPr>
                <a:spLocks/>
              </p:cNvSpPr>
              <p:nvPr/>
            </p:nvSpPr>
            <p:spPr bwMode="auto">
              <a:xfrm>
                <a:off x="-9055100" y="-995363"/>
                <a:ext cx="2014538" cy="2503488"/>
              </a:xfrm>
              <a:custGeom>
                <a:avLst/>
                <a:gdLst>
                  <a:gd name="T0" fmla="*/ 889 w 1269"/>
                  <a:gd name="T1" fmla="*/ 31 h 1577"/>
                  <a:gd name="T2" fmla="*/ 916 w 1269"/>
                  <a:gd name="T3" fmla="*/ 136 h 1577"/>
                  <a:gd name="T4" fmla="*/ 948 w 1269"/>
                  <a:gd name="T5" fmla="*/ 245 h 1577"/>
                  <a:gd name="T6" fmla="*/ 954 w 1269"/>
                  <a:gd name="T7" fmla="*/ 262 h 1577"/>
                  <a:gd name="T8" fmla="*/ 1014 w 1269"/>
                  <a:gd name="T9" fmla="*/ 442 h 1577"/>
                  <a:gd name="T10" fmla="*/ 1081 w 1269"/>
                  <a:gd name="T11" fmla="*/ 621 h 1577"/>
                  <a:gd name="T12" fmla="*/ 1119 w 1269"/>
                  <a:gd name="T13" fmla="*/ 720 h 1577"/>
                  <a:gd name="T14" fmla="*/ 1151 w 1269"/>
                  <a:gd name="T15" fmla="*/ 801 h 1577"/>
                  <a:gd name="T16" fmla="*/ 1174 w 1269"/>
                  <a:gd name="T17" fmla="*/ 857 h 1577"/>
                  <a:gd name="T18" fmla="*/ 1214 w 1269"/>
                  <a:gd name="T19" fmla="*/ 954 h 1577"/>
                  <a:gd name="T20" fmla="*/ 1244 w 1269"/>
                  <a:gd name="T21" fmla="*/ 1023 h 1577"/>
                  <a:gd name="T22" fmla="*/ 1265 w 1269"/>
                  <a:gd name="T23" fmla="*/ 1069 h 1577"/>
                  <a:gd name="T24" fmla="*/ 1269 w 1269"/>
                  <a:gd name="T25" fmla="*/ 1083 h 1577"/>
                  <a:gd name="T26" fmla="*/ 1156 w 1269"/>
                  <a:gd name="T27" fmla="*/ 1573 h 1577"/>
                  <a:gd name="T28" fmla="*/ 931 w 1269"/>
                  <a:gd name="T29" fmla="*/ 1549 h 1577"/>
                  <a:gd name="T30" fmla="*/ 715 w 1269"/>
                  <a:gd name="T31" fmla="*/ 1500 h 1577"/>
                  <a:gd name="T32" fmla="*/ 508 w 1269"/>
                  <a:gd name="T33" fmla="*/ 1428 h 1577"/>
                  <a:gd name="T34" fmla="*/ 312 w 1269"/>
                  <a:gd name="T35" fmla="*/ 1335 h 1577"/>
                  <a:gd name="T36" fmla="*/ 213 w 1269"/>
                  <a:gd name="T37" fmla="*/ 1256 h 1577"/>
                  <a:gd name="T38" fmla="*/ 182 w 1269"/>
                  <a:gd name="T39" fmla="*/ 1088 h 1577"/>
                  <a:gd name="T40" fmla="*/ 140 w 1269"/>
                  <a:gd name="T41" fmla="*/ 895 h 1577"/>
                  <a:gd name="T42" fmla="*/ 103 w 1269"/>
                  <a:gd name="T43" fmla="*/ 735 h 1577"/>
                  <a:gd name="T44" fmla="*/ 81 w 1269"/>
                  <a:gd name="T45" fmla="*/ 644 h 1577"/>
                  <a:gd name="T46" fmla="*/ 62 w 1269"/>
                  <a:gd name="T47" fmla="*/ 571 h 1577"/>
                  <a:gd name="T48" fmla="*/ 41 w 1269"/>
                  <a:gd name="T49" fmla="*/ 488 h 1577"/>
                  <a:gd name="T50" fmla="*/ 22 w 1269"/>
                  <a:gd name="T51" fmla="*/ 418 h 1577"/>
                  <a:gd name="T52" fmla="*/ 8 w 1269"/>
                  <a:gd name="T53" fmla="*/ 369 h 1577"/>
                  <a:gd name="T54" fmla="*/ 1 w 1269"/>
                  <a:gd name="T55" fmla="*/ 343 h 1577"/>
                  <a:gd name="T56" fmla="*/ 106 w 1269"/>
                  <a:gd name="T57" fmla="*/ 285 h 1577"/>
                  <a:gd name="T58" fmla="*/ 326 w 1269"/>
                  <a:gd name="T59" fmla="*/ 187 h 1577"/>
                  <a:gd name="T60" fmla="*/ 521 w 1269"/>
                  <a:gd name="T61" fmla="*/ 114 h 1577"/>
                  <a:gd name="T62" fmla="*/ 688 w 1269"/>
                  <a:gd name="T63" fmla="*/ 58 h 1577"/>
                  <a:gd name="T64" fmla="*/ 847 w 1269"/>
                  <a:gd name="T65" fmla="*/ 11 h 1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69" h="1577">
                    <a:moveTo>
                      <a:pt x="883" y="0"/>
                    </a:moveTo>
                    <a:lnTo>
                      <a:pt x="889" y="31"/>
                    </a:lnTo>
                    <a:lnTo>
                      <a:pt x="902" y="82"/>
                    </a:lnTo>
                    <a:lnTo>
                      <a:pt x="916" y="136"/>
                    </a:lnTo>
                    <a:lnTo>
                      <a:pt x="928" y="180"/>
                    </a:lnTo>
                    <a:lnTo>
                      <a:pt x="948" y="245"/>
                    </a:lnTo>
                    <a:lnTo>
                      <a:pt x="950" y="253"/>
                    </a:lnTo>
                    <a:lnTo>
                      <a:pt x="954" y="262"/>
                    </a:lnTo>
                    <a:lnTo>
                      <a:pt x="972" y="318"/>
                    </a:lnTo>
                    <a:lnTo>
                      <a:pt x="1014" y="442"/>
                    </a:lnTo>
                    <a:lnTo>
                      <a:pt x="1047" y="532"/>
                    </a:lnTo>
                    <a:lnTo>
                      <a:pt x="1081" y="621"/>
                    </a:lnTo>
                    <a:lnTo>
                      <a:pt x="1102" y="676"/>
                    </a:lnTo>
                    <a:lnTo>
                      <a:pt x="1119" y="720"/>
                    </a:lnTo>
                    <a:lnTo>
                      <a:pt x="1134" y="758"/>
                    </a:lnTo>
                    <a:lnTo>
                      <a:pt x="1151" y="801"/>
                    </a:lnTo>
                    <a:lnTo>
                      <a:pt x="1163" y="829"/>
                    </a:lnTo>
                    <a:lnTo>
                      <a:pt x="1174" y="857"/>
                    </a:lnTo>
                    <a:lnTo>
                      <a:pt x="1195" y="908"/>
                    </a:lnTo>
                    <a:lnTo>
                      <a:pt x="1214" y="954"/>
                    </a:lnTo>
                    <a:lnTo>
                      <a:pt x="1232" y="994"/>
                    </a:lnTo>
                    <a:lnTo>
                      <a:pt x="1244" y="1023"/>
                    </a:lnTo>
                    <a:lnTo>
                      <a:pt x="1258" y="1054"/>
                    </a:lnTo>
                    <a:lnTo>
                      <a:pt x="1265" y="1069"/>
                    </a:lnTo>
                    <a:lnTo>
                      <a:pt x="1268" y="1078"/>
                    </a:lnTo>
                    <a:lnTo>
                      <a:pt x="1269" y="1083"/>
                    </a:lnTo>
                    <a:lnTo>
                      <a:pt x="1269" y="1577"/>
                    </a:lnTo>
                    <a:lnTo>
                      <a:pt x="1156" y="1573"/>
                    </a:lnTo>
                    <a:lnTo>
                      <a:pt x="1042" y="1565"/>
                    </a:lnTo>
                    <a:lnTo>
                      <a:pt x="931" y="1549"/>
                    </a:lnTo>
                    <a:lnTo>
                      <a:pt x="822" y="1527"/>
                    </a:lnTo>
                    <a:lnTo>
                      <a:pt x="715" y="1500"/>
                    </a:lnTo>
                    <a:lnTo>
                      <a:pt x="611" y="1466"/>
                    </a:lnTo>
                    <a:lnTo>
                      <a:pt x="508" y="1428"/>
                    </a:lnTo>
                    <a:lnTo>
                      <a:pt x="409" y="1384"/>
                    </a:lnTo>
                    <a:lnTo>
                      <a:pt x="312" y="1335"/>
                    </a:lnTo>
                    <a:lnTo>
                      <a:pt x="218" y="1281"/>
                    </a:lnTo>
                    <a:lnTo>
                      <a:pt x="213" y="1256"/>
                    </a:lnTo>
                    <a:lnTo>
                      <a:pt x="204" y="1201"/>
                    </a:lnTo>
                    <a:lnTo>
                      <a:pt x="182" y="1088"/>
                    </a:lnTo>
                    <a:lnTo>
                      <a:pt x="158" y="978"/>
                    </a:lnTo>
                    <a:lnTo>
                      <a:pt x="140" y="895"/>
                    </a:lnTo>
                    <a:lnTo>
                      <a:pt x="122" y="813"/>
                    </a:lnTo>
                    <a:lnTo>
                      <a:pt x="103" y="735"/>
                    </a:lnTo>
                    <a:lnTo>
                      <a:pt x="88" y="671"/>
                    </a:lnTo>
                    <a:lnTo>
                      <a:pt x="81" y="644"/>
                    </a:lnTo>
                    <a:lnTo>
                      <a:pt x="74" y="619"/>
                    </a:lnTo>
                    <a:lnTo>
                      <a:pt x="62" y="571"/>
                    </a:lnTo>
                    <a:lnTo>
                      <a:pt x="51" y="528"/>
                    </a:lnTo>
                    <a:lnTo>
                      <a:pt x="41" y="488"/>
                    </a:lnTo>
                    <a:lnTo>
                      <a:pt x="30" y="450"/>
                    </a:lnTo>
                    <a:lnTo>
                      <a:pt x="22" y="418"/>
                    </a:lnTo>
                    <a:lnTo>
                      <a:pt x="14" y="391"/>
                    </a:lnTo>
                    <a:lnTo>
                      <a:pt x="8" y="369"/>
                    </a:lnTo>
                    <a:lnTo>
                      <a:pt x="3" y="354"/>
                    </a:lnTo>
                    <a:lnTo>
                      <a:pt x="1" y="343"/>
                    </a:lnTo>
                    <a:lnTo>
                      <a:pt x="0" y="340"/>
                    </a:lnTo>
                    <a:lnTo>
                      <a:pt x="106" y="285"/>
                    </a:lnTo>
                    <a:lnTo>
                      <a:pt x="215" y="234"/>
                    </a:lnTo>
                    <a:lnTo>
                      <a:pt x="326" y="187"/>
                    </a:lnTo>
                    <a:lnTo>
                      <a:pt x="437" y="143"/>
                    </a:lnTo>
                    <a:lnTo>
                      <a:pt x="521" y="114"/>
                    </a:lnTo>
                    <a:lnTo>
                      <a:pt x="602" y="86"/>
                    </a:lnTo>
                    <a:lnTo>
                      <a:pt x="688" y="58"/>
                    </a:lnTo>
                    <a:lnTo>
                      <a:pt x="770" y="33"/>
                    </a:lnTo>
                    <a:lnTo>
                      <a:pt x="847" y="11"/>
                    </a:lnTo>
                    <a:lnTo>
                      <a:pt x="88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2" name="Freeform 33"/>
              <p:cNvSpPr>
                <a:spLocks/>
              </p:cNvSpPr>
              <p:nvPr/>
            </p:nvSpPr>
            <p:spPr bwMode="auto">
              <a:xfrm>
                <a:off x="-8224838" y="-1260475"/>
                <a:ext cx="1184275" cy="1984375"/>
              </a:xfrm>
              <a:custGeom>
                <a:avLst/>
                <a:gdLst>
                  <a:gd name="T0" fmla="*/ 339 w 746"/>
                  <a:gd name="T1" fmla="*/ 0 h 1250"/>
                  <a:gd name="T2" fmla="*/ 342 w 746"/>
                  <a:gd name="T3" fmla="*/ 38 h 1250"/>
                  <a:gd name="T4" fmla="*/ 346 w 746"/>
                  <a:gd name="T5" fmla="*/ 78 h 1250"/>
                  <a:gd name="T6" fmla="*/ 353 w 746"/>
                  <a:gd name="T7" fmla="*/ 122 h 1250"/>
                  <a:gd name="T8" fmla="*/ 361 w 746"/>
                  <a:gd name="T9" fmla="*/ 169 h 1250"/>
                  <a:gd name="T10" fmla="*/ 375 w 746"/>
                  <a:gd name="T11" fmla="*/ 230 h 1250"/>
                  <a:gd name="T12" fmla="*/ 392 w 746"/>
                  <a:gd name="T13" fmla="*/ 293 h 1250"/>
                  <a:gd name="T14" fmla="*/ 410 w 746"/>
                  <a:gd name="T15" fmla="*/ 360 h 1250"/>
                  <a:gd name="T16" fmla="*/ 432 w 746"/>
                  <a:gd name="T17" fmla="*/ 429 h 1250"/>
                  <a:gd name="T18" fmla="*/ 454 w 746"/>
                  <a:gd name="T19" fmla="*/ 500 h 1250"/>
                  <a:gd name="T20" fmla="*/ 479 w 746"/>
                  <a:gd name="T21" fmla="*/ 569 h 1250"/>
                  <a:gd name="T22" fmla="*/ 503 w 746"/>
                  <a:gd name="T23" fmla="*/ 640 h 1250"/>
                  <a:gd name="T24" fmla="*/ 529 w 746"/>
                  <a:gd name="T25" fmla="*/ 710 h 1250"/>
                  <a:gd name="T26" fmla="*/ 555 w 746"/>
                  <a:gd name="T27" fmla="*/ 778 h 1250"/>
                  <a:gd name="T28" fmla="*/ 580 w 746"/>
                  <a:gd name="T29" fmla="*/ 844 h 1250"/>
                  <a:gd name="T30" fmla="*/ 605 w 746"/>
                  <a:gd name="T31" fmla="*/ 908 h 1250"/>
                  <a:gd name="T32" fmla="*/ 629 w 746"/>
                  <a:gd name="T33" fmla="*/ 968 h 1250"/>
                  <a:gd name="T34" fmla="*/ 652 w 746"/>
                  <a:gd name="T35" fmla="*/ 1024 h 1250"/>
                  <a:gd name="T36" fmla="*/ 673 w 746"/>
                  <a:gd name="T37" fmla="*/ 1075 h 1250"/>
                  <a:gd name="T38" fmla="*/ 693 w 746"/>
                  <a:gd name="T39" fmla="*/ 1122 h 1250"/>
                  <a:gd name="T40" fmla="*/ 710 w 746"/>
                  <a:gd name="T41" fmla="*/ 1161 h 1250"/>
                  <a:gd name="T42" fmla="*/ 720 w 746"/>
                  <a:gd name="T43" fmla="*/ 1188 h 1250"/>
                  <a:gd name="T44" fmla="*/ 729 w 746"/>
                  <a:gd name="T45" fmla="*/ 1210 h 1250"/>
                  <a:gd name="T46" fmla="*/ 737 w 746"/>
                  <a:gd name="T47" fmla="*/ 1227 h 1250"/>
                  <a:gd name="T48" fmla="*/ 743 w 746"/>
                  <a:gd name="T49" fmla="*/ 1239 h 1250"/>
                  <a:gd name="T50" fmla="*/ 746 w 746"/>
                  <a:gd name="T51" fmla="*/ 1248 h 1250"/>
                  <a:gd name="T52" fmla="*/ 746 w 746"/>
                  <a:gd name="T53" fmla="*/ 1250 h 1250"/>
                  <a:gd name="T54" fmla="*/ 710 w 746"/>
                  <a:gd name="T55" fmla="*/ 1220 h 1250"/>
                  <a:gd name="T56" fmla="*/ 60 w 746"/>
                  <a:gd name="T57" fmla="*/ 699 h 1250"/>
                  <a:gd name="T58" fmla="*/ 170 w 746"/>
                  <a:gd name="T59" fmla="*/ 433 h 1250"/>
                  <a:gd name="T60" fmla="*/ 0 w 746"/>
                  <a:gd name="T61" fmla="*/ 345 h 1250"/>
                  <a:gd name="T62" fmla="*/ 16 w 746"/>
                  <a:gd name="T63" fmla="*/ 325 h 1250"/>
                  <a:gd name="T64" fmla="*/ 34 w 746"/>
                  <a:gd name="T65" fmla="*/ 303 h 1250"/>
                  <a:gd name="T66" fmla="*/ 56 w 746"/>
                  <a:gd name="T67" fmla="*/ 279 h 1250"/>
                  <a:gd name="T68" fmla="*/ 80 w 746"/>
                  <a:gd name="T69" fmla="*/ 253 h 1250"/>
                  <a:gd name="T70" fmla="*/ 104 w 746"/>
                  <a:gd name="T71" fmla="*/ 227 h 1250"/>
                  <a:gd name="T72" fmla="*/ 128 w 746"/>
                  <a:gd name="T73" fmla="*/ 203 h 1250"/>
                  <a:gd name="T74" fmla="*/ 154 w 746"/>
                  <a:gd name="T75" fmla="*/ 177 h 1250"/>
                  <a:gd name="T76" fmla="*/ 178 w 746"/>
                  <a:gd name="T77" fmla="*/ 153 h 1250"/>
                  <a:gd name="T78" fmla="*/ 204 w 746"/>
                  <a:gd name="T79" fmla="*/ 128 h 1250"/>
                  <a:gd name="T80" fmla="*/ 227 w 746"/>
                  <a:gd name="T81" fmla="*/ 105 h 1250"/>
                  <a:gd name="T82" fmla="*/ 250 w 746"/>
                  <a:gd name="T83" fmla="*/ 84 h 1250"/>
                  <a:gd name="T84" fmla="*/ 271 w 746"/>
                  <a:gd name="T85" fmla="*/ 63 h 1250"/>
                  <a:gd name="T86" fmla="*/ 291 w 746"/>
                  <a:gd name="T87" fmla="*/ 46 h 1250"/>
                  <a:gd name="T88" fmla="*/ 306 w 746"/>
                  <a:gd name="T89" fmla="*/ 30 h 1250"/>
                  <a:gd name="T90" fmla="*/ 321 w 746"/>
                  <a:gd name="T91" fmla="*/ 18 h 1250"/>
                  <a:gd name="T92" fmla="*/ 331 w 746"/>
                  <a:gd name="T93" fmla="*/ 8 h 1250"/>
                  <a:gd name="T94" fmla="*/ 337 w 746"/>
                  <a:gd name="T95" fmla="*/ 2 h 1250"/>
                  <a:gd name="T96" fmla="*/ 339 w 746"/>
                  <a:gd name="T9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6" h="1250">
                    <a:moveTo>
                      <a:pt x="339" y="0"/>
                    </a:moveTo>
                    <a:lnTo>
                      <a:pt x="342" y="38"/>
                    </a:lnTo>
                    <a:lnTo>
                      <a:pt x="346" y="78"/>
                    </a:lnTo>
                    <a:lnTo>
                      <a:pt x="353" y="122"/>
                    </a:lnTo>
                    <a:lnTo>
                      <a:pt x="361" y="169"/>
                    </a:lnTo>
                    <a:lnTo>
                      <a:pt x="375" y="230"/>
                    </a:lnTo>
                    <a:lnTo>
                      <a:pt x="392" y="293"/>
                    </a:lnTo>
                    <a:lnTo>
                      <a:pt x="410" y="360"/>
                    </a:lnTo>
                    <a:lnTo>
                      <a:pt x="432" y="429"/>
                    </a:lnTo>
                    <a:lnTo>
                      <a:pt x="454" y="500"/>
                    </a:lnTo>
                    <a:lnTo>
                      <a:pt x="479" y="569"/>
                    </a:lnTo>
                    <a:lnTo>
                      <a:pt x="503" y="640"/>
                    </a:lnTo>
                    <a:lnTo>
                      <a:pt x="529" y="710"/>
                    </a:lnTo>
                    <a:lnTo>
                      <a:pt x="555" y="778"/>
                    </a:lnTo>
                    <a:lnTo>
                      <a:pt x="580" y="844"/>
                    </a:lnTo>
                    <a:lnTo>
                      <a:pt x="605" y="908"/>
                    </a:lnTo>
                    <a:lnTo>
                      <a:pt x="629" y="968"/>
                    </a:lnTo>
                    <a:lnTo>
                      <a:pt x="652" y="1024"/>
                    </a:lnTo>
                    <a:lnTo>
                      <a:pt x="673" y="1075"/>
                    </a:lnTo>
                    <a:lnTo>
                      <a:pt x="693" y="1122"/>
                    </a:lnTo>
                    <a:lnTo>
                      <a:pt x="710" y="1161"/>
                    </a:lnTo>
                    <a:lnTo>
                      <a:pt x="720" y="1188"/>
                    </a:lnTo>
                    <a:lnTo>
                      <a:pt x="729" y="1210"/>
                    </a:lnTo>
                    <a:lnTo>
                      <a:pt x="737" y="1227"/>
                    </a:lnTo>
                    <a:lnTo>
                      <a:pt x="743" y="1239"/>
                    </a:lnTo>
                    <a:lnTo>
                      <a:pt x="746" y="1248"/>
                    </a:lnTo>
                    <a:lnTo>
                      <a:pt x="746" y="1250"/>
                    </a:lnTo>
                    <a:lnTo>
                      <a:pt x="710" y="1220"/>
                    </a:lnTo>
                    <a:lnTo>
                      <a:pt x="60" y="699"/>
                    </a:lnTo>
                    <a:lnTo>
                      <a:pt x="170" y="433"/>
                    </a:lnTo>
                    <a:lnTo>
                      <a:pt x="0" y="345"/>
                    </a:lnTo>
                    <a:lnTo>
                      <a:pt x="16" y="325"/>
                    </a:lnTo>
                    <a:lnTo>
                      <a:pt x="34" y="303"/>
                    </a:lnTo>
                    <a:lnTo>
                      <a:pt x="56" y="279"/>
                    </a:lnTo>
                    <a:lnTo>
                      <a:pt x="80" y="253"/>
                    </a:lnTo>
                    <a:lnTo>
                      <a:pt x="104" y="227"/>
                    </a:lnTo>
                    <a:lnTo>
                      <a:pt x="128" y="203"/>
                    </a:lnTo>
                    <a:lnTo>
                      <a:pt x="154" y="177"/>
                    </a:lnTo>
                    <a:lnTo>
                      <a:pt x="178" y="153"/>
                    </a:lnTo>
                    <a:lnTo>
                      <a:pt x="204" y="128"/>
                    </a:lnTo>
                    <a:lnTo>
                      <a:pt x="227" y="105"/>
                    </a:lnTo>
                    <a:lnTo>
                      <a:pt x="250" y="84"/>
                    </a:lnTo>
                    <a:lnTo>
                      <a:pt x="271" y="63"/>
                    </a:lnTo>
                    <a:lnTo>
                      <a:pt x="291" y="46"/>
                    </a:lnTo>
                    <a:lnTo>
                      <a:pt x="306" y="30"/>
                    </a:lnTo>
                    <a:lnTo>
                      <a:pt x="321" y="18"/>
                    </a:lnTo>
                    <a:lnTo>
                      <a:pt x="331" y="8"/>
                    </a:lnTo>
                    <a:lnTo>
                      <a:pt x="337" y="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8247B63-E85B-4180-815C-710A3F9CFDC7}"/>
              </a:ext>
            </a:extLst>
          </p:cNvPr>
          <p:cNvGrpSpPr/>
          <p:nvPr userDrawn="1"/>
        </p:nvGrpSpPr>
        <p:grpSpPr>
          <a:xfrm>
            <a:off x="3231068" y="4414955"/>
            <a:ext cx="1305752" cy="1160263"/>
            <a:chOff x="3547597" y="4267806"/>
            <a:chExt cx="1177418" cy="1177418"/>
          </a:xfrm>
        </p:grpSpPr>
        <p:sp>
          <p:nvSpPr>
            <p:cNvPr id="114" name="Oval 113"/>
            <p:cNvSpPr/>
            <p:nvPr/>
          </p:nvSpPr>
          <p:spPr>
            <a:xfrm>
              <a:off x="3547597" y="426780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5" name="Freeform 6"/>
            <p:cNvSpPr>
              <a:spLocks/>
            </p:cNvSpPr>
            <p:nvPr/>
          </p:nvSpPr>
          <p:spPr bwMode="auto">
            <a:xfrm>
              <a:off x="3635379" y="4354819"/>
              <a:ext cx="1001855" cy="1002043"/>
            </a:xfrm>
            <a:custGeom>
              <a:avLst/>
              <a:gdLst>
                <a:gd name="T0" fmla="*/ 2804 w 5285"/>
                <a:gd name="T1" fmla="*/ 5 h 5286"/>
                <a:gd name="T2" fmla="*/ 3118 w 5285"/>
                <a:gd name="T3" fmla="*/ 44 h 5286"/>
                <a:gd name="T4" fmla="*/ 3419 w 5285"/>
                <a:gd name="T5" fmla="*/ 116 h 5286"/>
                <a:gd name="T6" fmla="*/ 3706 w 5285"/>
                <a:gd name="T7" fmla="*/ 223 h 5286"/>
                <a:gd name="T8" fmla="*/ 3976 w 5285"/>
                <a:gd name="T9" fmla="*/ 361 h 5286"/>
                <a:gd name="T10" fmla="*/ 4228 w 5285"/>
                <a:gd name="T11" fmla="*/ 529 h 5286"/>
                <a:gd name="T12" fmla="*/ 4457 w 5285"/>
                <a:gd name="T13" fmla="*/ 723 h 5286"/>
                <a:gd name="T14" fmla="*/ 4663 w 5285"/>
                <a:gd name="T15" fmla="*/ 941 h 5286"/>
                <a:gd name="T16" fmla="*/ 4844 w 5285"/>
                <a:gd name="T17" fmla="*/ 1181 h 5286"/>
                <a:gd name="T18" fmla="*/ 4996 w 5285"/>
                <a:gd name="T19" fmla="*/ 1442 h 5286"/>
                <a:gd name="T20" fmla="*/ 5120 w 5285"/>
                <a:gd name="T21" fmla="*/ 1721 h 5286"/>
                <a:gd name="T22" fmla="*/ 5209 w 5285"/>
                <a:gd name="T23" fmla="*/ 2015 h 5286"/>
                <a:gd name="T24" fmla="*/ 5265 w 5285"/>
                <a:gd name="T25" fmla="*/ 2324 h 5286"/>
                <a:gd name="T26" fmla="*/ 5285 w 5285"/>
                <a:gd name="T27" fmla="*/ 2643 h 5286"/>
                <a:gd name="T28" fmla="*/ 5265 w 5285"/>
                <a:gd name="T29" fmla="*/ 2962 h 5286"/>
                <a:gd name="T30" fmla="*/ 5209 w 5285"/>
                <a:gd name="T31" fmla="*/ 3271 h 5286"/>
                <a:gd name="T32" fmla="*/ 5120 w 5285"/>
                <a:gd name="T33" fmla="*/ 3566 h 5286"/>
                <a:gd name="T34" fmla="*/ 4996 w 5285"/>
                <a:gd name="T35" fmla="*/ 3844 h 5286"/>
                <a:gd name="T36" fmla="*/ 4844 w 5285"/>
                <a:gd name="T37" fmla="*/ 4106 h 5286"/>
                <a:gd name="T38" fmla="*/ 4663 w 5285"/>
                <a:gd name="T39" fmla="*/ 4346 h 5286"/>
                <a:gd name="T40" fmla="*/ 4457 w 5285"/>
                <a:gd name="T41" fmla="*/ 4564 h 5286"/>
                <a:gd name="T42" fmla="*/ 4228 w 5285"/>
                <a:gd name="T43" fmla="*/ 4757 h 5286"/>
                <a:gd name="T44" fmla="*/ 3976 w 5285"/>
                <a:gd name="T45" fmla="*/ 4926 h 5286"/>
                <a:gd name="T46" fmla="*/ 3706 w 5285"/>
                <a:gd name="T47" fmla="*/ 5063 h 5286"/>
                <a:gd name="T48" fmla="*/ 3419 w 5285"/>
                <a:gd name="T49" fmla="*/ 5171 h 5286"/>
                <a:gd name="T50" fmla="*/ 3118 w 5285"/>
                <a:gd name="T51" fmla="*/ 5243 h 5286"/>
                <a:gd name="T52" fmla="*/ 2804 w 5285"/>
                <a:gd name="T53" fmla="*/ 5281 h 5286"/>
                <a:gd name="T54" fmla="*/ 2481 w 5285"/>
                <a:gd name="T55" fmla="*/ 5281 h 5286"/>
                <a:gd name="T56" fmla="*/ 2167 w 5285"/>
                <a:gd name="T57" fmla="*/ 5243 h 5286"/>
                <a:gd name="T58" fmla="*/ 1866 w 5285"/>
                <a:gd name="T59" fmla="*/ 5171 h 5286"/>
                <a:gd name="T60" fmla="*/ 1579 w 5285"/>
                <a:gd name="T61" fmla="*/ 5063 h 5286"/>
                <a:gd name="T62" fmla="*/ 1308 w 5285"/>
                <a:gd name="T63" fmla="*/ 4926 h 5286"/>
                <a:gd name="T64" fmla="*/ 1057 w 5285"/>
                <a:gd name="T65" fmla="*/ 4757 h 5286"/>
                <a:gd name="T66" fmla="*/ 828 w 5285"/>
                <a:gd name="T67" fmla="*/ 4564 h 5286"/>
                <a:gd name="T68" fmla="*/ 621 w 5285"/>
                <a:gd name="T69" fmla="*/ 4346 h 5286"/>
                <a:gd name="T70" fmla="*/ 440 w 5285"/>
                <a:gd name="T71" fmla="*/ 4106 h 5286"/>
                <a:gd name="T72" fmla="*/ 288 w 5285"/>
                <a:gd name="T73" fmla="*/ 3844 h 5286"/>
                <a:gd name="T74" fmla="*/ 165 w 5285"/>
                <a:gd name="T75" fmla="*/ 3566 h 5286"/>
                <a:gd name="T76" fmla="*/ 75 w 5285"/>
                <a:gd name="T77" fmla="*/ 3271 h 5286"/>
                <a:gd name="T78" fmla="*/ 19 w 5285"/>
                <a:gd name="T79" fmla="*/ 2962 h 5286"/>
                <a:gd name="T80" fmla="*/ 0 w 5285"/>
                <a:gd name="T81" fmla="*/ 2643 h 5286"/>
                <a:gd name="T82" fmla="*/ 19 w 5285"/>
                <a:gd name="T83" fmla="*/ 2324 h 5286"/>
                <a:gd name="T84" fmla="*/ 75 w 5285"/>
                <a:gd name="T85" fmla="*/ 2015 h 5286"/>
                <a:gd name="T86" fmla="*/ 165 w 5285"/>
                <a:gd name="T87" fmla="*/ 1721 h 5286"/>
                <a:gd name="T88" fmla="*/ 288 w 5285"/>
                <a:gd name="T89" fmla="*/ 1442 h 5286"/>
                <a:gd name="T90" fmla="*/ 440 w 5285"/>
                <a:gd name="T91" fmla="*/ 1181 h 5286"/>
                <a:gd name="T92" fmla="*/ 621 w 5285"/>
                <a:gd name="T93" fmla="*/ 941 h 5286"/>
                <a:gd name="T94" fmla="*/ 828 w 5285"/>
                <a:gd name="T95" fmla="*/ 723 h 5286"/>
                <a:gd name="T96" fmla="*/ 1057 w 5285"/>
                <a:gd name="T97" fmla="*/ 529 h 5286"/>
                <a:gd name="T98" fmla="*/ 1308 w 5285"/>
                <a:gd name="T99" fmla="*/ 361 h 5286"/>
                <a:gd name="T100" fmla="*/ 1579 w 5285"/>
                <a:gd name="T101" fmla="*/ 223 h 5286"/>
                <a:gd name="T102" fmla="*/ 1866 w 5285"/>
                <a:gd name="T103" fmla="*/ 116 h 5286"/>
                <a:gd name="T104" fmla="*/ 2167 w 5285"/>
                <a:gd name="T105" fmla="*/ 44 h 5286"/>
                <a:gd name="T106" fmla="*/ 2481 w 5285"/>
                <a:gd name="T107" fmla="*/ 5 h 5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85" h="5286">
                  <a:moveTo>
                    <a:pt x="2641" y="0"/>
                  </a:moveTo>
                  <a:lnTo>
                    <a:pt x="2804" y="5"/>
                  </a:lnTo>
                  <a:lnTo>
                    <a:pt x="2961" y="20"/>
                  </a:lnTo>
                  <a:lnTo>
                    <a:pt x="3118" y="44"/>
                  </a:lnTo>
                  <a:lnTo>
                    <a:pt x="3270" y="76"/>
                  </a:lnTo>
                  <a:lnTo>
                    <a:pt x="3419" y="116"/>
                  </a:lnTo>
                  <a:lnTo>
                    <a:pt x="3565" y="165"/>
                  </a:lnTo>
                  <a:lnTo>
                    <a:pt x="3706" y="223"/>
                  </a:lnTo>
                  <a:lnTo>
                    <a:pt x="3843" y="289"/>
                  </a:lnTo>
                  <a:lnTo>
                    <a:pt x="3976" y="361"/>
                  </a:lnTo>
                  <a:lnTo>
                    <a:pt x="4104" y="441"/>
                  </a:lnTo>
                  <a:lnTo>
                    <a:pt x="4228" y="529"/>
                  </a:lnTo>
                  <a:lnTo>
                    <a:pt x="4345" y="622"/>
                  </a:lnTo>
                  <a:lnTo>
                    <a:pt x="4457" y="723"/>
                  </a:lnTo>
                  <a:lnTo>
                    <a:pt x="4562" y="828"/>
                  </a:lnTo>
                  <a:lnTo>
                    <a:pt x="4663" y="941"/>
                  </a:lnTo>
                  <a:lnTo>
                    <a:pt x="4756" y="1058"/>
                  </a:lnTo>
                  <a:lnTo>
                    <a:pt x="4844" y="1181"/>
                  </a:lnTo>
                  <a:lnTo>
                    <a:pt x="4924" y="1309"/>
                  </a:lnTo>
                  <a:lnTo>
                    <a:pt x="4996" y="1442"/>
                  </a:lnTo>
                  <a:lnTo>
                    <a:pt x="5062" y="1580"/>
                  </a:lnTo>
                  <a:lnTo>
                    <a:pt x="5120" y="1721"/>
                  </a:lnTo>
                  <a:lnTo>
                    <a:pt x="5169" y="1866"/>
                  </a:lnTo>
                  <a:lnTo>
                    <a:pt x="5209" y="2015"/>
                  </a:lnTo>
                  <a:lnTo>
                    <a:pt x="5241" y="2167"/>
                  </a:lnTo>
                  <a:lnTo>
                    <a:pt x="5265" y="2324"/>
                  </a:lnTo>
                  <a:lnTo>
                    <a:pt x="5280" y="2481"/>
                  </a:lnTo>
                  <a:lnTo>
                    <a:pt x="5285" y="2643"/>
                  </a:lnTo>
                  <a:lnTo>
                    <a:pt x="5280" y="2805"/>
                  </a:lnTo>
                  <a:lnTo>
                    <a:pt x="5265" y="2962"/>
                  </a:lnTo>
                  <a:lnTo>
                    <a:pt x="5241" y="3119"/>
                  </a:lnTo>
                  <a:lnTo>
                    <a:pt x="5209" y="3271"/>
                  </a:lnTo>
                  <a:lnTo>
                    <a:pt x="5169" y="3420"/>
                  </a:lnTo>
                  <a:lnTo>
                    <a:pt x="5120" y="3566"/>
                  </a:lnTo>
                  <a:lnTo>
                    <a:pt x="5062" y="3707"/>
                  </a:lnTo>
                  <a:lnTo>
                    <a:pt x="4996" y="3844"/>
                  </a:lnTo>
                  <a:lnTo>
                    <a:pt x="4924" y="3977"/>
                  </a:lnTo>
                  <a:lnTo>
                    <a:pt x="4844" y="4106"/>
                  </a:lnTo>
                  <a:lnTo>
                    <a:pt x="4756" y="4229"/>
                  </a:lnTo>
                  <a:lnTo>
                    <a:pt x="4663" y="4346"/>
                  </a:lnTo>
                  <a:lnTo>
                    <a:pt x="4562" y="4458"/>
                  </a:lnTo>
                  <a:lnTo>
                    <a:pt x="4457" y="4564"/>
                  </a:lnTo>
                  <a:lnTo>
                    <a:pt x="4345" y="4665"/>
                  </a:lnTo>
                  <a:lnTo>
                    <a:pt x="4228" y="4757"/>
                  </a:lnTo>
                  <a:lnTo>
                    <a:pt x="4104" y="4846"/>
                  </a:lnTo>
                  <a:lnTo>
                    <a:pt x="3976" y="4926"/>
                  </a:lnTo>
                  <a:lnTo>
                    <a:pt x="3843" y="4998"/>
                  </a:lnTo>
                  <a:lnTo>
                    <a:pt x="3706" y="5063"/>
                  </a:lnTo>
                  <a:lnTo>
                    <a:pt x="3565" y="5121"/>
                  </a:lnTo>
                  <a:lnTo>
                    <a:pt x="3419" y="5171"/>
                  </a:lnTo>
                  <a:lnTo>
                    <a:pt x="3270" y="5211"/>
                  </a:lnTo>
                  <a:lnTo>
                    <a:pt x="3118" y="5243"/>
                  </a:lnTo>
                  <a:lnTo>
                    <a:pt x="2961" y="5267"/>
                  </a:lnTo>
                  <a:lnTo>
                    <a:pt x="2804" y="5281"/>
                  </a:lnTo>
                  <a:lnTo>
                    <a:pt x="2641" y="5286"/>
                  </a:lnTo>
                  <a:lnTo>
                    <a:pt x="2481" y="5281"/>
                  </a:lnTo>
                  <a:lnTo>
                    <a:pt x="2324" y="5267"/>
                  </a:lnTo>
                  <a:lnTo>
                    <a:pt x="2167" y="5243"/>
                  </a:lnTo>
                  <a:lnTo>
                    <a:pt x="2015" y="5211"/>
                  </a:lnTo>
                  <a:lnTo>
                    <a:pt x="1866" y="5171"/>
                  </a:lnTo>
                  <a:lnTo>
                    <a:pt x="1720" y="5121"/>
                  </a:lnTo>
                  <a:lnTo>
                    <a:pt x="1579" y="5063"/>
                  </a:lnTo>
                  <a:lnTo>
                    <a:pt x="1441" y="4998"/>
                  </a:lnTo>
                  <a:lnTo>
                    <a:pt x="1308" y="4926"/>
                  </a:lnTo>
                  <a:lnTo>
                    <a:pt x="1180" y="4846"/>
                  </a:lnTo>
                  <a:lnTo>
                    <a:pt x="1057" y="4757"/>
                  </a:lnTo>
                  <a:lnTo>
                    <a:pt x="940" y="4665"/>
                  </a:lnTo>
                  <a:lnTo>
                    <a:pt x="828" y="4564"/>
                  </a:lnTo>
                  <a:lnTo>
                    <a:pt x="722" y="4458"/>
                  </a:lnTo>
                  <a:lnTo>
                    <a:pt x="621" y="4346"/>
                  </a:lnTo>
                  <a:lnTo>
                    <a:pt x="528" y="4229"/>
                  </a:lnTo>
                  <a:lnTo>
                    <a:pt x="440" y="4106"/>
                  </a:lnTo>
                  <a:lnTo>
                    <a:pt x="360" y="3977"/>
                  </a:lnTo>
                  <a:lnTo>
                    <a:pt x="288" y="3844"/>
                  </a:lnTo>
                  <a:lnTo>
                    <a:pt x="223" y="3707"/>
                  </a:lnTo>
                  <a:lnTo>
                    <a:pt x="165" y="3566"/>
                  </a:lnTo>
                  <a:lnTo>
                    <a:pt x="115" y="3420"/>
                  </a:lnTo>
                  <a:lnTo>
                    <a:pt x="75" y="3271"/>
                  </a:lnTo>
                  <a:lnTo>
                    <a:pt x="43" y="3119"/>
                  </a:lnTo>
                  <a:lnTo>
                    <a:pt x="19" y="2962"/>
                  </a:lnTo>
                  <a:lnTo>
                    <a:pt x="5" y="2805"/>
                  </a:lnTo>
                  <a:lnTo>
                    <a:pt x="0" y="2643"/>
                  </a:lnTo>
                  <a:lnTo>
                    <a:pt x="5" y="2481"/>
                  </a:lnTo>
                  <a:lnTo>
                    <a:pt x="19" y="2324"/>
                  </a:lnTo>
                  <a:lnTo>
                    <a:pt x="43" y="2167"/>
                  </a:lnTo>
                  <a:lnTo>
                    <a:pt x="75" y="2015"/>
                  </a:lnTo>
                  <a:lnTo>
                    <a:pt x="115" y="1866"/>
                  </a:lnTo>
                  <a:lnTo>
                    <a:pt x="165" y="1721"/>
                  </a:lnTo>
                  <a:lnTo>
                    <a:pt x="223" y="1580"/>
                  </a:lnTo>
                  <a:lnTo>
                    <a:pt x="288" y="1442"/>
                  </a:lnTo>
                  <a:lnTo>
                    <a:pt x="360" y="1309"/>
                  </a:lnTo>
                  <a:lnTo>
                    <a:pt x="440" y="1181"/>
                  </a:lnTo>
                  <a:lnTo>
                    <a:pt x="528" y="1058"/>
                  </a:lnTo>
                  <a:lnTo>
                    <a:pt x="621" y="941"/>
                  </a:lnTo>
                  <a:lnTo>
                    <a:pt x="722" y="828"/>
                  </a:lnTo>
                  <a:lnTo>
                    <a:pt x="828" y="723"/>
                  </a:lnTo>
                  <a:lnTo>
                    <a:pt x="940" y="622"/>
                  </a:lnTo>
                  <a:lnTo>
                    <a:pt x="1057" y="529"/>
                  </a:lnTo>
                  <a:lnTo>
                    <a:pt x="1180" y="441"/>
                  </a:lnTo>
                  <a:lnTo>
                    <a:pt x="1308" y="361"/>
                  </a:lnTo>
                  <a:lnTo>
                    <a:pt x="1441" y="289"/>
                  </a:lnTo>
                  <a:lnTo>
                    <a:pt x="1579" y="223"/>
                  </a:lnTo>
                  <a:lnTo>
                    <a:pt x="1720" y="165"/>
                  </a:lnTo>
                  <a:lnTo>
                    <a:pt x="1866" y="116"/>
                  </a:lnTo>
                  <a:lnTo>
                    <a:pt x="2015" y="76"/>
                  </a:lnTo>
                  <a:lnTo>
                    <a:pt x="2167" y="44"/>
                  </a:lnTo>
                  <a:lnTo>
                    <a:pt x="2324" y="20"/>
                  </a:lnTo>
                  <a:lnTo>
                    <a:pt x="2481" y="5"/>
                  </a:lnTo>
                  <a:lnTo>
                    <a:pt x="264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6" name="Freeform 7"/>
            <p:cNvSpPr>
              <a:spLocks/>
            </p:cNvSpPr>
            <p:nvPr/>
          </p:nvSpPr>
          <p:spPr bwMode="auto">
            <a:xfrm>
              <a:off x="4132231" y="5073883"/>
              <a:ext cx="6445" cy="948"/>
            </a:xfrm>
            <a:custGeom>
              <a:avLst/>
              <a:gdLst>
                <a:gd name="T0" fmla="*/ 0 w 34"/>
                <a:gd name="T1" fmla="*/ 0 h 5"/>
                <a:gd name="T2" fmla="*/ 34 w 34"/>
                <a:gd name="T3" fmla="*/ 0 h 5"/>
                <a:gd name="T4" fmla="*/ 31 w 34"/>
                <a:gd name="T5" fmla="*/ 1 h 5"/>
                <a:gd name="T6" fmla="*/ 28 w 34"/>
                <a:gd name="T7" fmla="*/ 3 h 5"/>
                <a:gd name="T8" fmla="*/ 23 w 34"/>
                <a:gd name="T9" fmla="*/ 5 h 5"/>
                <a:gd name="T10" fmla="*/ 16 w 34"/>
                <a:gd name="T11" fmla="*/ 5 h 5"/>
                <a:gd name="T12" fmla="*/ 13 w 34"/>
                <a:gd name="T13" fmla="*/ 5 h 5"/>
                <a:gd name="T14" fmla="*/ 10 w 34"/>
                <a:gd name="T15" fmla="*/ 3 h 5"/>
                <a:gd name="T16" fmla="*/ 5 w 34"/>
                <a:gd name="T17" fmla="*/ 1 h 5"/>
                <a:gd name="T18" fmla="*/ 0 w 3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">
                  <a:moveTo>
                    <a:pt x="0" y="0"/>
                  </a:moveTo>
                  <a:lnTo>
                    <a:pt x="34" y="0"/>
                  </a:lnTo>
                  <a:lnTo>
                    <a:pt x="31" y="1"/>
                  </a:lnTo>
                  <a:lnTo>
                    <a:pt x="28" y="3"/>
                  </a:lnTo>
                  <a:lnTo>
                    <a:pt x="23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0" y="3"/>
                  </a:lnTo>
                  <a:lnTo>
                    <a:pt x="5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7" name="Freeform 8"/>
            <p:cNvSpPr>
              <a:spLocks/>
            </p:cNvSpPr>
            <p:nvPr/>
          </p:nvSpPr>
          <p:spPr bwMode="auto">
            <a:xfrm>
              <a:off x="3731678" y="5016613"/>
              <a:ext cx="807740" cy="341597"/>
            </a:xfrm>
            <a:custGeom>
              <a:avLst/>
              <a:gdLst>
                <a:gd name="T0" fmla="*/ 1300 w 4261"/>
                <a:gd name="T1" fmla="*/ 111 h 1802"/>
                <a:gd name="T2" fmla="*/ 1314 w 4261"/>
                <a:gd name="T3" fmla="*/ 282 h 1802"/>
                <a:gd name="T4" fmla="*/ 1346 w 4261"/>
                <a:gd name="T5" fmla="*/ 444 h 1802"/>
                <a:gd name="T6" fmla="*/ 1385 w 4261"/>
                <a:gd name="T7" fmla="*/ 578 h 1802"/>
                <a:gd name="T8" fmla="*/ 1417 w 4261"/>
                <a:gd name="T9" fmla="*/ 670 h 1802"/>
                <a:gd name="T10" fmla="*/ 1431 w 4261"/>
                <a:gd name="T11" fmla="*/ 698 h 1802"/>
                <a:gd name="T12" fmla="*/ 1531 w 4261"/>
                <a:gd name="T13" fmla="*/ 549 h 1802"/>
                <a:gd name="T14" fmla="*/ 1665 w 4261"/>
                <a:gd name="T15" fmla="*/ 442 h 1802"/>
                <a:gd name="T16" fmla="*/ 1814 w 4261"/>
                <a:gd name="T17" fmla="*/ 372 h 1802"/>
                <a:gd name="T18" fmla="*/ 1953 w 4261"/>
                <a:gd name="T19" fmla="*/ 328 h 1802"/>
                <a:gd name="T20" fmla="*/ 2064 w 4261"/>
                <a:gd name="T21" fmla="*/ 306 h 1802"/>
                <a:gd name="T22" fmla="*/ 2121 w 4261"/>
                <a:gd name="T23" fmla="*/ 300 h 1802"/>
                <a:gd name="T24" fmla="*/ 2142 w 4261"/>
                <a:gd name="T25" fmla="*/ 301 h 1802"/>
                <a:gd name="T26" fmla="*/ 2221 w 4261"/>
                <a:gd name="T27" fmla="*/ 311 h 1802"/>
                <a:gd name="T28" fmla="*/ 2344 w 4261"/>
                <a:gd name="T29" fmla="*/ 338 h 1802"/>
                <a:gd name="T30" fmla="*/ 2488 w 4261"/>
                <a:gd name="T31" fmla="*/ 389 h 1802"/>
                <a:gd name="T32" fmla="*/ 2636 w 4261"/>
                <a:gd name="T33" fmla="*/ 473 h 1802"/>
                <a:gd name="T34" fmla="*/ 2762 w 4261"/>
                <a:gd name="T35" fmla="*/ 593 h 1802"/>
                <a:gd name="T36" fmla="*/ 2828 w 4261"/>
                <a:gd name="T37" fmla="*/ 697 h 1802"/>
                <a:gd name="T38" fmla="*/ 2849 w 4261"/>
                <a:gd name="T39" fmla="*/ 644 h 1802"/>
                <a:gd name="T40" fmla="*/ 2884 w 4261"/>
                <a:gd name="T41" fmla="*/ 535 h 1802"/>
                <a:gd name="T42" fmla="*/ 2921 w 4261"/>
                <a:gd name="T43" fmla="*/ 391 h 1802"/>
                <a:gd name="T44" fmla="*/ 2948 w 4261"/>
                <a:gd name="T45" fmla="*/ 224 h 1802"/>
                <a:gd name="T46" fmla="*/ 2954 w 4261"/>
                <a:gd name="T47" fmla="*/ 55 h 1802"/>
                <a:gd name="T48" fmla="*/ 3153 w 4261"/>
                <a:gd name="T49" fmla="*/ 58 h 1802"/>
                <a:gd name="T50" fmla="*/ 3467 w 4261"/>
                <a:gd name="T51" fmla="*/ 176 h 1802"/>
                <a:gd name="T52" fmla="*/ 3782 w 4261"/>
                <a:gd name="T53" fmla="*/ 338 h 1802"/>
                <a:gd name="T54" fmla="*/ 4078 w 4261"/>
                <a:gd name="T55" fmla="*/ 548 h 1802"/>
                <a:gd name="T56" fmla="*/ 4168 w 4261"/>
                <a:gd name="T57" fmla="*/ 839 h 1802"/>
                <a:gd name="T58" fmla="*/ 3849 w 4261"/>
                <a:gd name="T59" fmla="*/ 1165 h 1802"/>
                <a:gd name="T60" fmla="*/ 3478 w 4261"/>
                <a:gd name="T61" fmla="*/ 1432 h 1802"/>
                <a:gd name="T62" fmla="*/ 3062 w 4261"/>
                <a:gd name="T63" fmla="*/ 1632 h 1802"/>
                <a:gd name="T64" fmla="*/ 2610 w 4261"/>
                <a:gd name="T65" fmla="*/ 1759 h 1802"/>
                <a:gd name="T66" fmla="*/ 2129 w 4261"/>
                <a:gd name="T67" fmla="*/ 1802 h 1802"/>
                <a:gd name="T68" fmla="*/ 1651 w 4261"/>
                <a:gd name="T69" fmla="*/ 1759 h 1802"/>
                <a:gd name="T70" fmla="*/ 1199 w 4261"/>
                <a:gd name="T71" fmla="*/ 1632 h 1802"/>
                <a:gd name="T72" fmla="*/ 784 w 4261"/>
                <a:gd name="T73" fmla="*/ 1434 h 1802"/>
                <a:gd name="T74" fmla="*/ 413 w 4261"/>
                <a:gd name="T75" fmla="*/ 1166 h 1802"/>
                <a:gd name="T76" fmla="*/ 94 w 4261"/>
                <a:gd name="T77" fmla="*/ 841 h 1802"/>
                <a:gd name="T78" fmla="*/ 181 w 4261"/>
                <a:gd name="T79" fmla="*/ 548 h 1802"/>
                <a:gd name="T80" fmla="*/ 478 w 4261"/>
                <a:gd name="T81" fmla="*/ 338 h 1802"/>
                <a:gd name="T82" fmla="*/ 792 w 4261"/>
                <a:gd name="T83" fmla="*/ 176 h 1802"/>
                <a:gd name="T84" fmla="*/ 1105 w 4261"/>
                <a:gd name="T85" fmla="*/ 58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1" h="1802">
                  <a:moveTo>
                    <a:pt x="1306" y="0"/>
                  </a:moveTo>
                  <a:lnTo>
                    <a:pt x="1302" y="55"/>
                  </a:lnTo>
                  <a:lnTo>
                    <a:pt x="1300" y="111"/>
                  </a:lnTo>
                  <a:lnTo>
                    <a:pt x="1303" y="168"/>
                  </a:lnTo>
                  <a:lnTo>
                    <a:pt x="1308" y="224"/>
                  </a:lnTo>
                  <a:lnTo>
                    <a:pt x="1314" y="282"/>
                  </a:lnTo>
                  <a:lnTo>
                    <a:pt x="1324" y="338"/>
                  </a:lnTo>
                  <a:lnTo>
                    <a:pt x="1335" y="391"/>
                  </a:lnTo>
                  <a:lnTo>
                    <a:pt x="1346" y="444"/>
                  </a:lnTo>
                  <a:lnTo>
                    <a:pt x="1359" y="492"/>
                  </a:lnTo>
                  <a:lnTo>
                    <a:pt x="1372" y="537"/>
                  </a:lnTo>
                  <a:lnTo>
                    <a:pt x="1385" y="578"/>
                  </a:lnTo>
                  <a:lnTo>
                    <a:pt x="1396" y="615"/>
                  </a:lnTo>
                  <a:lnTo>
                    <a:pt x="1407" y="646"/>
                  </a:lnTo>
                  <a:lnTo>
                    <a:pt x="1417" y="670"/>
                  </a:lnTo>
                  <a:lnTo>
                    <a:pt x="1423" y="687"/>
                  </a:lnTo>
                  <a:lnTo>
                    <a:pt x="1428" y="697"/>
                  </a:lnTo>
                  <a:lnTo>
                    <a:pt x="1431" y="698"/>
                  </a:lnTo>
                  <a:lnTo>
                    <a:pt x="1459" y="644"/>
                  </a:lnTo>
                  <a:lnTo>
                    <a:pt x="1492" y="594"/>
                  </a:lnTo>
                  <a:lnTo>
                    <a:pt x="1531" y="549"/>
                  </a:lnTo>
                  <a:lnTo>
                    <a:pt x="1572" y="509"/>
                  </a:lnTo>
                  <a:lnTo>
                    <a:pt x="1619" y="474"/>
                  </a:lnTo>
                  <a:lnTo>
                    <a:pt x="1665" y="442"/>
                  </a:lnTo>
                  <a:lnTo>
                    <a:pt x="1715" y="415"/>
                  </a:lnTo>
                  <a:lnTo>
                    <a:pt x="1764" y="391"/>
                  </a:lnTo>
                  <a:lnTo>
                    <a:pt x="1814" y="372"/>
                  </a:lnTo>
                  <a:lnTo>
                    <a:pt x="1862" y="354"/>
                  </a:lnTo>
                  <a:lnTo>
                    <a:pt x="1909" y="340"/>
                  </a:lnTo>
                  <a:lnTo>
                    <a:pt x="1953" y="328"/>
                  </a:lnTo>
                  <a:lnTo>
                    <a:pt x="1995" y="319"/>
                  </a:lnTo>
                  <a:lnTo>
                    <a:pt x="2032" y="312"/>
                  </a:lnTo>
                  <a:lnTo>
                    <a:pt x="2064" y="306"/>
                  </a:lnTo>
                  <a:lnTo>
                    <a:pt x="2089" y="303"/>
                  </a:lnTo>
                  <a:lnTo>
                    <a:pt x="2109" y="301"/>
                  </a:lnTo>
                  <a:lnTo>
                    <a:pt x="2121" y="300"/>
                  </a:lnTo>
                  <a:lnTo>
                    <a:pt x="2126" y="300"/>
                  </a:lnTo>
                  <a:lnTo>
                    <a:pt x="2131" y="300"/>
                  </a:lnTo>
                  <a:lnTo>
                    <a:pt x="2142" y="301"/>
                  </a:lnTo>
                  <a:lnTo>
                    <a:pt x="2163" y="303"/>
                  </a:lnTo>
                  <a:lnTo>
                    <a:pt x="2189" y="306"/>
                  </a:lnTo>
                  <a:lnTo>
                    <a:pt x="2221" y="311"/>
                  </a:lnTo>
                  <a:lnTo>
                    <a:pt x="2258" y="319"/>
                  </a:lnTo>
                  <a:lnTo>
                    <a:pt x="2299" y="327"/>
                  </a:lnTo>
                  <a:lnTo>
                    <a:pt x="2344" y="338"/>
                  </a:lnTo>
                  <a:lnTo>
                    <a:pt x="2391" y="352"/>
                  </a:lnTo>
                  <a:lnTo>
                    <a:pt x="2439" y="368"/>
                  </a:lnTo>
                  <a:lnTo>
                    <a:pt x="2488" y="389"/>
                  </a:lnTo>
                  <a:lnTo>
                    <a:pt x="2539" y="413"/>
                  </a:lnTo>
                  <a:lnTo>
                    <a:pt x="2587" y="441"/>
                  </a:lnTo>
                  <a:lnTo>
                    <a:pt x="2636" y="473"/>
                  </a:lnTo>
                  <a:lnTo>
                    <a:pt x="2682" y="508"/>
                  </a:lnTo>
                  <a:lnTo>
                    <a:pt x="2724" y="548"/>
                  </a:lnTo>
                  <a:lnTo>
                    <a:pt x="2762" y="593"/>
                  </a:lnTo>
                  <a:lnTo>
                    <a:pt x="2796" y="644"/>
                  </a:lnTo>
                  <a:lnTo>
                    <a:pt x="2825" y="698"/>
                  </a:lnTo>
                  <a:lnTo>
                    <a:pt x="2828" y="697"/>
                  </a:lnTo>
                  <a:lnTo>
                    <a:pt x="2833" y="686"/>
                  </a:lnTo>
                  <a:lnTo>
                    <a:pt x="2839" y="668"/>
                  </a:lnTo>
                  <a:lnTo>
                    <a:pt x="2849" y="644"/>
                  </a:lnTo>
                  <a:lnTo>
                    <a:pt x="2860" y="612"/>
                  </a:lnTo>
                  <a:lnTo>
                    <a:pt x="2871" y="577"/>
                  </a:lnTo>
                  <a:lnTo>
                    <a:pt x="2884" y="535"/>
                  </a:lnTo>
                  <a:lnTo>
                    <a:pt x="2897" y="490"/>
                  </a:lnTo>
                  <a:lnTo>
                    <a:pt x="2909" y="442"/>
                  </a:lnTo>
                  <a:lnTo>
                    <a:pt x="2921" y="391"/>
                  </a:lnTo>
                  <a:lnTo>
                    <a:pt x="2932" y="336"/>
                  </a:lnTo>
                  <a:lnTo>
                    <a:pt x="2941" y="280"/>
                  </a:lnTo>
                  <a:lnTo>
                    <a:pt x="2948" y="224"/>
                  </a:lnTo>
                  <a:lnTo>
                    <a:pt x="2953" y="167"/>
                  </a:lnTo>
                  <a:lnTo>
                    <a:pt x="2956" y="111"/>
                  </a:lnTo>
                  <a:lnTo>
                    <a:pt x="2954" y="55"/>
                  </a:lnTo>
                  <a:lnTo>
                    <a:pt x="2949" y="0"/>
                  </a:lnTo>
                  <a:lnTo>
                    <a:pt x="3050" y="27"/>
                  </a:lnTo>
                  <a:lnTo>
                    <a:pt x="3153" y="58"/>
                  </a:lnTo>
                  <a:lnTo>
                    <a:pt x="3257" y="93"/>
                  </a:lnTo>
                  <a:lnTo>
                    <a:pt x="3363" y="131"/>
                  </a:lnTo>
                  <a:lnTo>
                    <a:pt x="3467" y="176"/>
                  </a:lnTo>
                  <a:lnTo>
                    <a:pt x="3572" y="224"/>
                  </a:lnTo>
                  <a:lnTo>
                    <a:pt x="3678" y="279"/>
                  </a:lnTo>
                  <a:lnTo>
                    <a:pt x="3782" y="338"/>
                  </a:lnTo>
                  <a:lnTo>
                    <a:pt x="3883" y="402"/>
                  </a:lnTo>
                  <a:lnTo>
                    <a:pt x="3982" y="473"/>
                  </a:lnTo>
                  <a:lnTo>
                    <a:pt x="4078" y="548"/>
                  </a:lnTo>
                  <a:lnTo>
                    <a:pt x="4171" y="631"/>
                  </a:lnTo>
                  <a:lnTo>
                    <a:pt x="4261" y="719"/>
                  </a:lnTo>
                  <a:lnTo>
                    <a:pt x="4168" y="839"/>
                  </a:lnTo>
                  <a:lnTo>
                    <a:pt x="4067" y="955"/>
                  </a:lnTo>
                  <a:lnTo>
                    <a:pt x="3961" y="1062"/>
                  </a:lnTo>
                  <a:lnTo>
                    <a:pt x="3849" y="1165"/>
                  </a:lnTo>
                  <a:lnTo>
                    <a:pt x="3731" y="1261"/>
                  </a:lnTo>
                  <a:lnTo>
                    <a:pt x="3606" y="1349"/>
                  </a:lnTo>
                  <a:lnTo>
                    <a:pt x="3478" y="1432"/>
                  </a:lnTo>
                  <a:lnTo>
                    <a:pt x="3343" y="1506"/>
                  </a:lnTo>
                  <a:lnTo>
                    <a:pt x="3206" y="1573"/>
                  </a:lnTo>
                  <a:lnTo>
                    <a:pt x="3062" y="1632"/>
                  </a:lnTo>
                  <a:lnTo>
                    <a:pt x="2916" y="1682"/>
                  </a:lnTo>
                  <a:lnTo>
                    <a:pt x="2764" y="1725"/>
                  </a:lnTo>
                  <a:lnTo>
                    <a:pt x="2610" y="1759"/>
                  </a:lnTo>
                  <a:lnTo>
                    <a:pt x="2453" y="1783"/>
                  </a:lnTo>
                  <a:lnTo>
                    <a:pt x="2293" y="1797"/>
                  </a:lnTo>
                  <a:lnTo>
                    <a:pt x="2129" y="1802"/>
                  </a:lnTo>
                  <a:lnTo>
                    <a:pt x="1968" y="1797"/>
                  </a:lnTo>
                  <a:lnTo>
                    <a:pt x="1808" y="1783"/>
                  </a:lnTo>
                  <a:lnTo>
                    <a:pt x="1651" y="1759"/>
                  </a:lnTo>
                  <a:lnTo>
                    <a:pt x="1497" y="1725"/>
                  </a:lnTo>
                  <a:lnTo>
                    <a:pt x="1346" y="1683"/>
                  </a:lnTo>
                  <a:lnTo>
                    <a:pt x="1199" y="1632"/>
                  </a:lnTo>
                  <a:lnTo>
                    <a:pt x="1057" y="1575"/>
                  </a:lnTo>
                  <a:lnTo>
                    <a:pt x="919" y="1507"/>
                  </a:lnTo>
                  <a:lnTo>
                    <a:pt x="784" y="1434"/>
                  </a:lnTo>
                  <a:lnTo>
                    <a:pt x="656" y="1352"/>
                  </a:lnTo>
                  <a:lnTo>
                    <a:pt x="531" y="1262"/>
                  </a:lnTo>
                  <a:lnTo>
                    <a:pt x="413" y="1166"/>
                  </a:lnTo>
                  <a:lnTo>
                    <a:pt x="301" y="1064"/>
                  </a:lnTo>
                  <a:lnTo>
                    <a:pt x="193" y="955"/>
                  </a:lnTo>
                  <a:lnTo>
                    <a:pt x="94" y="841"/>
                  </a:lnTo>
                  <a:lnTo>
                    <a:pt x="0" y="719"/>
                  </a:lnTo>
                  <a:lnTo>
                    <a:pt x="88" y="631"/>
                  </a:lnTo>
                  <a:lnTo>
                    <a:pt x="181" y="548"/>
                  </a:lnTo>
                  <a:lnTo>
                    <a:pt x="278" y="473"/>
                  </a:lnTo>
                  <a:lnTo>
                    <a:pt x="378" y="402"/>
                  </a:lnTo>
                  <a:lnTo>
                    <a:pt x="478" y="338"/>
                  </a:lnTo>
                  <a:lnTo>
                    <a:pt x="583" y="279"/>
                  </a:lnTo>
                  <a:lnTo>
                    <a:pt x="687" y="224"/>
                  </a:lnTo>
                  <a:lnTo>
                    <a:pt x="792" y="176"/>
                  </a:lnTo>
                  <a:lnTo>
                    <a:pt x="896" y="131"/>
                  </a:lnTo>
                  <a:lnTo>
                    <a:pt x="1002" y="93"/>
                  </a:lnTo>
                  <a:lnTo>
                    <a:pt x="1105" y="58"/>
                  </a:lnTo>
                  <a:lnTo>
                    <a:pt x="1207" y="27"/>
                  </a:lnTo>
                  <a:lnTo>
                    <a:pt x="13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8" name="Freeform 9"/>
            <p:cNvSpPr>
              <a:spLocks/>
            </p:cNvSpPr>
            <p:nvPr/>
          </p:nvSpPr>
          <p:spPr bwMode="auto">
            <a:xfrm>
              <a:off x="4010909" y="4904980"/>
              <a:ext cx="249279" cy="168903"/>
            </a:xfrm>
            <a:custGeom>
              <a:avLst/>
              <a:gdLst>
                <a:gd name="T0" fmla="*/ 75 w 1315"/>
                <a:gd name="T1" fmla="*/ 0 h 891"/>
                <a:gd name="T2" fmla="*/ 131 w 1315"/>
                <a:gd name="T3" fmla="*/ 61 h 891"/>
                <a:gd name="T4" fmla="*/ 190 w 1315"/>
                <a:gd name="T5" fmla="*/ 116 h 891"/>
                <a:gd name="T6" fmla="*/ 251 w 1315"/>
                <a:gd name="T7" fmla="*/ 165 h 891"/>
                <a:gd name="T8" fmla="*/ 315 w 1315"/>
                <a:gd name="T9" fmla="*/ 208 h 891"/>
                <a:gd name="T10" fmla="*/ 379 w 1315"/>
                <a:gd name="T11" fmla="*/ 244 h 891"/>
                <a:gd name="T12" fmla="*/ 447 w 1315"/>
                <a:gd name="T13" fmla="*/ 274 h 891"/>
                <a:gd name="T14" fmla="*/ 516 w 1315"/>
                <a:gd name="T15" fmla="*/ 295 h 891"/>
                <a:gd name="T16" fmla="*/ 586 w 1315"/>
                <a:gd name="T17" fmla="*/ 308 h 891"/>
                <a:gd name="T18" fmla="*/ 656 w 1315"/>
                <a:gd name="T19" fmla="*/ 313 h 891"/>
                <a:gd name="T20" fmla="*/ 737 w 1315"/>
                <a:gd name="T21" fmla="*/ 308 h 891"/>
                <a:gd name="T22" fmla="*/ 815 w 1315"/>
                <a:gd name="T23" fmla="*/ 292 h 891"/>
                <a:gd name="T24" fmla="*/ 890 w 1315"/>
                <a:gd name="T25" fmla="*/ 265 h 891"/>
                <a:gd name="T26" fmla="*/ 966 w 1315"/>
                <a:gd name="T27" fmla="*/ 229 h 891"/>
                <a:gd name="T28" fmla="*/ 1038 w 1315"/>
                <a:gd name="T29" fmla="*/ 183 h 891"/>
                <a:gd name="T30" fmla="*/ 1108 w 1315"/>
                <a:gd name="T31" fmla="*/ 130 h 891"/>
                <a:gd name="T32" fmla="*/ 1175 w 1315"/>
                <a:gd name="T33" fmla="*/ 69 h 891"/>
                <a:gd name="T34" fmla="*/ 1239 w 1315"/>
                <a:gd name="T35" fmla="*/ 0 h 891"/>
                <a:gd name="T36" fmla="*/ 1271 w 1315"/>
                <a:gd name="T37" fmla="*/ 77 h 891"/>
                <a:gd name="T38" fmla="*/ 1294 w 1315"/>
                <a:gd name="T39" fmla="*/ 156 h 891"/>
                <a:gd name="T40" fmla="*/ 1310 w 1315"/>
                <a:gd name="T41" fmla="*/ 236 h 891"/>
                <a:gd name="T42" fmla="*/ 1315 w 1315"/>
                <a:gd name="T43" fmla="*/ 317 h 891"/>
                <a:gd name="T44" fmla="*/ 1315 w 1315"/>
                <a:gd name="T45" fmla="*/ 329 h 891"/>
                <a:gd name="T46" fmla="*/ 1313 w 1315"/>
                <a:gd name="T47" fmla="*/ 343 h 891"/>
                <a:gd name="T48" fmla="*/ 1310 w 1315"/>
                <a:gd name="T49" fmla="*/ 362 h 891"/>
                <a:gd name="T50" fmla="*/ 1303 w 1315"/>
                <a:gd name="T51" fmla="*/ 385 h 891"/>
                <a:gd name="T52" fmla="*/ 1295 w 1315"/>
                <a:gd name="T53" fmla="*/ 410 h 891"/>
                <a:gd name="T54" fmla="*/ 1284 w 1315"/>
                <a:gd name="T55" fmla="*/ 438 h 891"/>
                <a:gd name="T56" fmla="*/ 1268 w 1315"/>
                <a:gd name="T57" fmla="*/ 470 h 891"/>
                <a:gd name="T58" fmla="*/ 1247 w 1315"/>
                <a:gd name="T59" fmla="*/ 502 h 891"/>
                <a:gd name="T60" fmla="*/ 1222 w 1315"/>
                <a:gd name="T61" fmla="*/ 537 h 891"/>
                <a:gd name="T62" fmla="*/ 1191 w 1315"/>
                <a:gd name="T63" fmla="*/ 574 h 891"/>
                <a:gd name="T64" fmla="*/ 1155 w 1315"/>
                <a:gd name="T65" fmla="*/ 612 h 891"/>
                <a:gd name="T66" fmla="*/ 1110 w 1315"/>
                <a:gd name="T67" fmla="*/ 651 h 891"/>
                <a:gd name="T68" fmla="*/ 1058 w 1315"/>
                <a:gd name="T69" fmla="*/ 691 h 891"/>
                <a:gd name="T70" fmla="*/ 999 w 1315"/>
                <a:gd name="T71" fmla="*/ 731 h 891"/>
                <a:gd name="T72" fmla="*/ 932 w 1315"/>
                <a:gd name="T73" fmla="*/ 772 h 891"/>
                <a:gd name="T74" fmla="*/ 855 w 1315"/>
                <a:gd name="T75" fmla="*/ 812 h 891"/>
                <a:gd name="T76" fmla="*/ 770 w 1315"/>
                <a:gd name="T77" fmla="*/ 852 h 891"/>
                <a:gd name="T78" fmla="*/ 674 w 1315"/>
                <a:gd name="T79" fmla="*/ 891 h 891"/>
                <a:gd name="T80" fmla="*/ 640 w 1315"/>
                <a:gd name="T81" fmla="*/ 891 h 891"/>
                <a:gd name="T82" fmla="*/ 544 w 1315"/>
                <a:gd name="T83" fmla="*/ 852 h 891"/>
                <a:gd name="T84" fmla="*/ 458 w 1315"/>
                <a:gd name="T85" fmla="*/ 812 h 891"/>
                <a:gd name="T86" fmla="*/ 383 w 1315"/>
                <a:gd name="T87" fmla="*/ 772 h 891"/>
                <a:gd name="T88" fmla="*/ 315 w 1315"/>
                <a:gd name="T89" fmla="*/ 731 h 891"/>
                <a:gd name="T90" fmla="*/ 256 w 1315"/>
                <a:gd name="T91" fmla="*/ 691 h 891"/>
                <a:gd name="T92" fmla="*/ 205 w 1315"/>
                <a:gd name="T93" fmla="*/ 651 h 891"/>
                <a:gd name="T94" fmla="*/ 160 w 1315"/>
                <a:gd name="T95" fmla="*/ 612 h 891"/>
                <a:gd name="T96" fmla="*/ 123 w 1315"/>
                <a:gd name="T97" fmla="*/ 574 h 891"/>
                <a:gd name="T98" fmla="*/ 93 w 1315"/>
                <a:gd name="T99" fmla="*/ 537 h 891"/>
                <a:gd name="T100" fmla="*/ 67 w 1315"/>
                <a:gd name="T101" fmla="*/ 502 h 891"/>
                <a:gd name="T102" fmla="*/ 46 w 1315"/>
                <a:gd name="T103" fmla="*/ 470 h 891"/>
                <a:gd name="T104" fmla="*/ 30 w 1315"/>
                <a:gd name="T105" fmla="*/ 438 h 891"/>
                <a:gd name="T106" fmla="*/ 19 w 1315"/>
                <a:gd name="T107" fmla="*/ 410 h 891"/>
                <a:gd name="T108" fmla="*/ 11 w 1315"/>
                <a:gd name="T109" fmla="*/ 385 h 891"/>
                <a:gd name="T110" fmla="*/ 5 w 1315"/>
                <a:gd name="T111" fmla="*/ 362 h 891"/>
                <a:gd name="T112" fmla="*/ 2 w 1315"/>
                <a:gd name="T113" fmla="*/ 343 h 891"/>
                <a:gd name="T114" fmla="*/ 0 w 1315"/>
                <a:gd name="T115" fmla="*/ 329 h 891"/>
                <a:gd name="T116" fmla="*/ 0 w 1315"/>
                <a:gd name="T117" fmla="*/ 317 h 891"/>
                <a:gd name="T118" fmla="*/ 6 w 1315"/>
                <a:gd name="T119" fmla="*/ 236 h 891"/>
                <a:gd name="T120" fmla="*/ 21 w 1315"/>
                <a:gd name="T121" fmla="*/ 156 h 891"/>
                <a:gd name="T122" fmla="*/ 45 w 1315"/>
                <a:gd name="T123" fmla="*/ 77 h 891"/>
                <a:gd name="T124" fmla="*/ 75 w 1315"/>
                <a:gd name="T125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891">
                  <a:moveTo>
                    <a:pt x="75" y="0"/>
                  </a:moveTo>
                  <a:lnTo>
                    <a:pt x="131" y="61"/>
                  </a:lnTo>
                  <a:lnTo>
                    <a:pt x="190" y="116"/>
                  </a:lnTo>
                  <a:lnTo>
                    <a:pt x="251" y="165"/>
                  </a:lnTo>
                  <a:lnTo>
                    <a:pt x="315" y="208"/>
                  </a:lnTo>
                  <a:lnTo>
                    <a:pt x="379" y="244"/>
                  </a:lnTo>
                  <a:lnTo>
                    <a:pt x="447" y="274"/>
                  </a:lnTo>
                  <a:lnTo>
                    <a:pt x="516" y="295"/>
                  </a:lnTo>
                  <a:lnTo>
                    <a:pt x="586" y="308"/>
                  </a:lnTo>
                  <a:lnTo>
                    <a:pt x="656" y="313"/>
                  </a:lnTo>
                  <a:lnTo>
                    <a:pt x="737" y="308"/>
                  </a:lnTo>
                  <a:lnTo>
                    <a:pt x="815" y="292"/>
                  </a:lnTo>
                  <a:lnTo>
                    <a:pt x="890" y="265"/>
                  </a:lnTo>
                  <a:lnTo>
                    <a:pt x="966" y="229"/>
                  </a:lnTo>
                  <a:lnTo>
                    <a:pt x="1038" y="183"/>
                  </a:lnTo>
                  <a:lnTo>
                    <a:pt x="1108" y="130"/>
                  </a:lnTo>
                  <a:lnTo>
                    <a:pt x="1175" y="69"/>
                  </a:lnTo>
                  <a:lnTo>
                    <a:pt x="1239" y="0"/>
                  </a:lnTo>
                  <a:lnTo>
                    <a:pt x="1271" y="77"/>
                  </a:lnTo>
                  <a:lnTo>
                    <a:pt x="1294" y="156"/>
                  </a:lnTo>
                  <a:lnTo>
                    <a:pt x="1310" y="236"/>
                  </a:lnTo>
                  <a:lnTo>
                    <a:pt x="1315" y="317"/>
                  </a:lnTo>
                  <a:lnTo>
                    <a:pt x="1315" y="329"/>
                  </a:lnTo>
                  <a:lnTo>
                    <a:pt x="1313" y="343"/>
                  </a:lnTo>
                  <a:lnTo>
                    <a:pt x="1310" y="362"/>
                  </a:lnTo>
                  <a:lnTo>
                    <a:pt x="1303" y="385"/>
                  </a:lnTo>
                  <a:lnTo>
                    <a:pt x="1295" y="410"/>
                  </a:lnTo>
                  <a:lnTo>
                    <a:pt x="1284" y="438"/>
                  </a:lnTo>
                  <a:lnTo>
                    <a:pt x="1268" y="470"/>
                  </a:lnTo>
                  <a:lnTo>
                    <a:pt x="1247" y="502"/>
                  </a:lnTo>
                  <a:lnTo>
                    <a:pt x="1222" y="537"/>
                  </a:lnTo>
                  <a:lnTo>
                    <a:pt x="1191" y="574"/>
                  </a:lnTo>
                  <a:lnTo>
                    <a:pt x="1155" y="612"/>
                  </a:lnTo>
                  <a:lnTo>
                    <a:pt x="1110" y="651"/>
                  </a:lnTo>
                  <a:lnTo>
                    <a:pt x="1058" y="691"/>
                  </a:lnTo>
                  <a:lnTo>
                    <a:pt x="999" y="731"/>
                  </a:lnTo>
                  <a:lnTo>
                    <a:pt x="932" y="772"/>
                  </a:lnTo>
                  <a:lnTo>
                    <a:pt x="855" y="812"/>
                  </a:lnTo>
                  <a:lnTo>
                    <a:pt x="770" y="852"/>
                  </a:lnTo>
                  <a:lnTo>
                    <a:pt x="674" y="891"/>
                  </a:lnTo>
                  <a:lnTo>
                    <a:pt x="640" y="891"/>
                  </a:lnTo>
                  <a:lnTo>
                    <a:pt x="544" y="852"/>
                  </a:lnTo>
                  <a:lnTo>
                    <a:pt x="458" y="812"/>
                  </a:lnTo>
                  <a:lnTo>
                    <a:pt x="383" y="772"/>
                  </a:lnTo>
                  <a:lnTo>
                    <a:pt x="315" y="731"/>
                  </a:lnTo>
                  <a:lnTo>
                    <a:pt x="256" y="691"/>
                  </a:lnTo>
                  <a:lnTo>
                    <a:pt x="205" y="651"/>
                  </a:lnTo>
                  <a:lnTo>
                    <a:pt x="160" y="612"/>
                  </a:lnTo>
                  <a:lnTo>
                    <a:pt x="123" y="574"/>
                  </a:lnTo>
                  <a:lnTo>
                    <a:pt x="93" y="537"/>
                  </a:lnTo>
                  <a:lnTo>
                    <a:pt x="67" y="502"/>
                  </a:lnTo>
                  <a:lnTo>
                    <a:pt x="46" y="470"/>
                  </a:lnTo>
                  <a:lnTo>
                    <a:pt x="30" y="438"/>
                  </a:lnTo>
                  <a:lnTo>
                    <a:pt x="19" y="410"/>
                  </a:lnTo>
                  <a:lnTo>
                    <a:pt x="11" y="385"/>
                  </a:lnTo>
                  <a:lnTo>
                    <a:pt x="5" y="362"/>
                  </a:lnTo>
                  <a:lnTo>
                    <a:pt x="2" y="343"/>
                  </a:lnTo>
                  <a:lnTo>
                    <a:pt x="0" y="329"/>
                  </a:lnTo>
                  <a:lnTo>
                    <a:pt x="0" y="317"/>
                  </a:lnTo>
                  <a:lnTo>
                    <a:pt x="6" y="236"/>
                  </a:lnTo>
                  <a:lnTo>
                    <a:pt x="21" y="156"/>
                  </a:lnTo>
                  <a:lnTo>
                    <a:pt x="45" y="7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9" name="Freeform 10"/>
            <p:cNvSpPr>
              <a:spLocks/>
            </p:cNvSpPr>
            <p:nvPr/>
          </p:nvSpPr>
          <p:spPr bwMode="auto">
            <a:xfrm>
              <a:off x="4066831" y="5074831"/>
              <a:ext cx="137056" cy="67675"/>
            </a:xfrm>
            <a:custGeom>
              <a:avLst/>
              <a:gdLst>
                <a:gd name="T0" fmla="*/ 361 w 723"/>
                <a:gd name="T1" fmla="*/ 0 h 357"/>
                <a:gd name="T2" fmla="*/ 368 w 723"/>
                <a:gd name="T3" fmla="*/ 0 h 357"/>
                <a:gd name="T4" fmla="*/ 382 w 723"/>
                <a:gd name="T5" fmla="*/ 1 h 357"/>
                <a:gd name="T6" fmla="*/ 406 w 723"/>
                <a:gd name="T7" fmla="*/ 4 h 357"/>
                <a:gd name="T8" fmla="*/ 438 w 723"/>
                <a:gd name="T9" fmla="*/ 9 h 357"/>
                <a:gd name="T10" fmla="*/ 477 w 723"/>
                <a:gd name="T11" fmla="*/ 16 h 357"/>
                <a:gd name="T12" fmla="*/ 520 w 723"/>
                <a:gd name="T13" fmla="*/ 25 h 357"/>
                <a:gd name="T14" fmla="*/ 566 w 723"/>
                <a:gd name="T15" fmla="*/ 36 h 357"/>
                <a:gd name="T16" fmla="*/ 618 w 723"/>
                <a:gd name="T17" fmla="*/ 51 h 357"/>
                <a:gd name="T18" fmla="*/ 671 w 723"/>
                <a:gd name="T19" fmla="*/ 70 h 357"/>
                <a:gd name="T20" fmla="*/ 723 w 723"/>
                <a:gd name="T21" fmla="*/ 91 h 357"/>
                <a:gd name="T22" fmla="*/ 590 w 723"/>
                <a:gd name="T23" fmla="*/ 357 h 357"/>
                <a:gd name="T24" fmla="*/ 132 w 723"/>
                <a:gd name="T25" fmla="*/ 357 h 357"/>
                <a:gd name="T26" fmla="*/ 0 w 723"/>
                <a:gd name="T27" fmla="*/ 91 h 357"/>
                <a:gd name="T28" fmla="*/ 54 w 723"/>
                <a:gd name="T29" fmla="*/ 70 h 357"/>
                <a:gd name="T30" fmla="*/ 108 w 723"/>
                <a:gd name="T31" fmla="*/ 51 h 357"/>
                <a:gd name="T32" fmla="*/ 160 w 723"/>
                <a:gd name="T33" fmla="*/ 36 h 357"/>
                <a:gd name="T34" fmla="*/ 206 w 723"/>
                <a:gd name="T35" fmla="*/ 25 h 357"/>
                <a:gd name="T36" fmla="*/ 249 w 723"/>
                <a:gd name="T37" fmla="*/ 16 h 357"/>
                <a:gd name="T38" fmla="*/ 288 w 723"/>
                <a:gd name="T39" fmla="*/ 9 h 357"/>
                <a:gd name="T40" fmla="*/ 318 w 723"/>
                <a:gd name="T41" fmla="*/ 4 h 357"/>
                <a:gd name="T42" fmla="*/ 342 w 723"/>
                <a:gd name="T43" fmla="*/ 1 h 357"/>
                <a:gd name="T44" fmla="*/ 357 w 723"/>
                <a:gd name="T45" fmla="*/ 0 h 357"/>
                <a:gd name="T46" fmla="*/ 361 w 723"/>
                <a:gd name="T4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3" h="357">
                  <a:moveTo>
                    <a:pt x="361" y="0"/>
                  </a:moveTo>
                  <a:lnTo>
                    <a:pt x="368" y="0"/>
                  </a:lnTo>
                  <a:lnTo>
                    <a:pt x="382" y="1"/>
                  </a:lnTo>
                  <a:lnTo>
                    <a:pt x="406" y="4"/>
                  </a:lnTo>
                  <a:lnTo>
                    <a:pt x="438" y="9"/>
                  </a:lnTo>
                  <a:lnTo>
                    <a:pt x="477" y="16"/>
                  </a:lnTo>
                  <a:lnTo>
                    <a:pt x="520" y="25"/>
                  </a:lnTo>
                  <a:lnTo>
                    <a:pt x="566" y="36"/>
                  </a:lnTo>
                  <a:lnTo>
                    <a:pt x="618" y="51"/>
                  </a:lnTo>
                  <a:lnTo>
                    <a:pt x="671" y="70"/>
                  </a:lnTo>
                  <a:lnTo>
                    <a:pt x="723" y="91"/>
                  </a:lnTo>
                  <a:lnTo>
                    <a:pt x="590" y="357"/>
                  </a:lnTo>
                  <a:lnTo>
                    <a:pt x="132" y="357"/>
                  </a:lnTo>
                  <a:lnTo>
                    <a:pt x="0" y="91"/>
                  </a:lnTo>
                  <a:lnTo>
                    <a:pt x="54" y="70"/>
                  </a:lnTo>
                  <a:lnTo>
                    <a:pt x="108" y="51"/>
                  </a:lnTo>
                  <a:lnTo>
                    <a:pt x="160" y="36"/>
                  </a:lnTo>
                  <a:lnTo>
                    <a:pt x="206" y="25"/>
                  </a:lnTo>
                  <a:lnTo>
                    <a:pt x="249" y="16"/>
                  </a:lnTo>
                  <a:lnTo>
                    <a:pt x="288" y="9"/>
                  </a:lnTo>
                  <a:lnTo>
                    <a:pt x="318" y="4"/>
                  </a:lnTo>
                  <a:lnTo>
                    <a:pt x="342" y="1"/>
                  </a:lnTo>
                  <a:lnTo>
                    <a:pt x="357" y="0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0" name="Freeform 11"/>
            <p:cNvSpPr>
              <a:spLocks/>
            </p:cNvSpPr>
            <p:nvPr/>
          </p:nvSpPr>
          <p:spPr bwMode="auto">
            <a:xfrm>
              <a:off x="4063966" y="5140757"/>
              <a:ext cx="141985" cy="216105"/>
            </a:xfrm>
            <a:custGeom>
              <a:avLst/>
              <a:gdLst>
                <a:gd name="T0" fmla="*/ 145 w 749"/>
                <a:gd name="T1" fmla="*/ 0 h 1140"/>
                <a:gd name="T2" fmla="*/ 603 w 749"/>
                <a:gd name="T3" fmla="*/ 0 h 1140"/>
                <a:gd name="T4" fmla="*/ 749 w 749"/>
                <a:gd name="T5" fmla="*/ 1114 h 1140"/>
                <a:gd name="T6" fmla="*/ 562 w 749"/>
                <a:gd name="T7" fmla="*/ 1134 h 1140"/>
                <a:gd name="T8" fmla="*/ 373 w 749"/>
                <a:gd name="T9" fmla="*/ 1140 h 1140"/>
                <a:gd name="T10" fmla="*/ 246 w 749"/>
                <a:gd name="T11" fmla="*/ 1137 h 1140"/>
                <a:gd name="T12" fmla="*/ 121 w 749"/>
                <a:gd name="T13" fmla="*/ 1129 h 1140"/>
                <a:gd name="T14" fmla="*/ 0 w 749"/>
                <a:gd name="T15" fmla="*/ 1114 h 1140"/>
                <a:gd name="T16" fmla="*/ 145 w 749"/>
                <a:gd name="T17" fmla="*/ 0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9" h="1140">
                  <a:moveTo>
                    <a:pt x="145" y="0"/>
                  </a:moveTo>
                  <a:lnTo>
                    <a:pt x="603" y="0"/>
                  </a:lnTo>
                  <a:lnTo>
                    <a:pt x="749" y="1114"/>
                  </a:lnTo>
                  <a:lnTo>
                    <a:pt x="562" y="1134"/>
                  </a:lnTo>
                  <a:lnTo>
                    <a:pt x="373" y="1140"/>
                  </a:lnTo>
                  <a:lnTo>
                    <a:pt x="246" y="1137"/>
                  </a:lnTo>
                  <a:lnTo>
                    <a:pt x="121" y="1129"/>
                  </a:lnTo>
                  <a:lnTo>
                    <a:pt x="0" y="1114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1" name="Freeform 12"/>
            <p:cNvSpPr>
              <a:spLocks/>
            </p:cNvSpPr>
            <p:nvPr/>
          </p:nvSpPr>
          <p:spPr bwMode="auto">
            <a:xfrm>
              <a:off x="4135264" y="4963556"/>
              <a:ext cx="157340" cy="186722"/>
            </a:xfrm>
            <a:custGeom>
              <a:avLst/>
              <a:gdLst>
                <a:gd name="T0" fmla="*/ 699 w 830"/>
                <a:gd name="T1" fmla="*/ 26 h 985"/>
                <a:gd name="T2" fmla="*/ 760 w 830"/>
                <a:gd name="T3" fmla="*/ 95 h 985"/>
                <a:gd name="T4" fmla="*/ 801 w 830"/>
                <a:gd name="T5" fmla="*/ 180 h 985"/>
                <a:gd name="T6" fmla="*/ 824 w 830"/>
                <a:gd name="T7" fmla="*/ 276 h 985"/>
                <a:gd name="T8" fmla="*/ 830 w 830"/>
                <a:gd name="T9" fmla="*/ 382 h 985"/>
                <a:gd name="T10" fmla="*/ 825 w 830"/>
                <a:gd name="T11" fmla="*/ 491 h 985"/>
                <a:gd name="T12" fmla="*/ 811 w 830"/>
                <a:gd name="T13" fmla="*/ 599 h 985"/>
                <a:gd name="T14" fmla="*/ 790 w 830"/>
                <a:gd name="T15" fmla="*/ 702 h 985"/>
                <a:gd name="T16" fmla="*/ 766 w 830"/>
                <a:gd name="T17" fmla="*/ 796 h 985"/>
                <a:gd name="T18" fmla="*/ 744 w 830"/>
                <a:gd name="T19" fmla="*/ 875 h 985"/>
                <a:gd name="T20" fmla="*/ 721 w 830"/>
                <a:gd name="T21" fmla="*/ 937 h 985"/>
                <a:gd name="T22" fmla="*/ 707 w 830"/>
                <a:gd name="T23" fmla="*/ 974 h 985"/>
                <a:gd name="T24" fmla="*/ 700 w 830"/>
                <a:gd name="T25" fmla="*/ 985 h 985"/>
                <a:gd name="T26" fmla="*/ 638 w 830"/>
                <a:gd name="T27" fmla="*/ 880 h 985"/>
                <a:gd name="T28" fmla="*/ 556 w 830"/>
                <a:gd name="T29" fmla="*/ 795 h 985"/>
                <a:gd name="T30" fmla="*/ 463 w 830"/>
                <a:gd name="T31" fmla="*/ 728 h 985"/>
                <a:gd name="T32" fmla="*/ 364 w 830"/>
                <a:gd name="T33" fmla="*/ 676 h 985"/>
                <a:gd name="T34" fmla="*/ 266 w 830"/>
                <a:gd name="T35" fmla="*/ 639 h 985"/>
                <a:gd name="T36" fmla="*/ 173 w 830"/>
                <a:gd name="T37" fmla="*/ 614 h 985"/>
                <a:gd name="T38" fmla="*/ 97 w 830"/>
                <a:gd name="T39" fmla="*/ 598 h 985"/>
                <a:gd name="T40" fmla="*/ 37 w 830"/>
                <a:gd name="T41" fmla="*/ 590 h 985"/>
                <a:gd name="T42" fmla="*/ 5 w 830"/>
                <a:gd name="T43" fmla="*/ 587 h 985"/>
                <a:gd name="T44" fmla="*/ 98 w 830"/>
                <a:gd name="T45" fmla="*/ 548 h 985"/>
                <a:gd name="T46" fmla="*/ 265 w 830"/>
                <a:gd name="T47" fmla="*/ 468 h 985"/>
                <a:gd name="T48" fmla="*/ 393 w 830"/>
                <a:gd name="T49" fmla="*/ 388 h 985"/>
                <a:gd name="T50" fmla="*/ 491 w 830"/>
                <a:gd name="T51" fmla="*/ 308 h 985"/>
                <a:gd name="T52" fmla="*/ 561 w 830"/>
                <a:gd name="T53" fmla="*/ 233 h 985"/>
                <a:gd name="T54" fmla="*/ 609 w 830"/>
                <a:gd name="T55" fmla="*/ 164 h 985"/>
                <a:gd name="T56" fmla="*/ 638 w 830"/>
                <a:gd name="T57" fmla="*/ 104 h 985"/>
                <a:gd name="T58" fmla="*/ 652 w 830"/>
                <a:gd name="T59" fmla="*/ 56 h 985"/>
                <a:gd name="T60" fmla="*/ 659 w 830"/>
                <a:gd name="T61" fmla="*/ 21 h 985"/>
                <a:gd name="T62" fmla="*/ 659 w 830"/>
                <a:gd name="T63" fmla="*/ 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659" y="0"/>
                  </a:moveTo>
                  <a:lnTo>
                    <a:pt x="699" y="26"/>
                  </a:lnTo>
                  <a:lnTo>
                    <a:pt x="732" y="58"/>
                  </a:lnTo>
                  <a:lnTo>
                    <a:pt x="760" y="95"/>
                  </a:lnTo>
                  <a:lnTo>
                    <a:pt x="784" y="135"/>
                  </a:lnTo>
                  <a:lnTo>
                    <a:pt x="801" y="180"/>
                  </a:lnTo>
                  <a:lnTo>
                    <a:pt x="814" y="226"/>
                  </a:lnTo>
                  <a:lnTo>
                    <a:pt x="824" y="276"/>
                  </a:lnTo>
                  <a:lnTo>
                    <a:pt x="828" y="329"/>
                  </a:lnTo>
                  <a:lnTo>
                    <a:pt x="830" y="382"/>
                  </a:lnTo>
                  <a:lnTo>
                    <a:pt x="828" y="436"/>
                  </a:lnTo>
                  <a:lnTo>
                    <a:pt x="825" y="491"/>
                  </a:lnTo>
                  <a:lnTo>
                    <a:pt x="819" y="545"/>
                  </a:lnTo>
                  <a:lnTo>
                    <a:pt x="811" y="599"/>
                  </a:lnTo>
                  <a:lnTo>
                    <a:pt x="801" y="652"/>
                  </a:lnTo>
                  <a:lnTo>
                    <a:pt x="790" y="702"/>
                  </a:lnTo>
                  <a:lnTo>
                    <a:pt x="779" y="750"/>
                  </a:lnTo>
                  <a:lnTo>
                    <a:pt x="766" y="796"/>
                  </a:lnTo>
                  <a:lnTo>
                    <a:pt x="755" y="838"/>
                  </a:lnTo>
                  <a:lnTo>
                    <a:pt x="744" y="875"/>
                  </a:lnTo>
                  <a:lnTo>
                    <a:pt x="732" y="909"/>
                  </a:lnTo>
                  <a:lnTo>
                    <a:pt x="721" y="937"/>
                  </a:lnTo>
                  <a:lnTo>
                    <a:pt x="713" y="958"/>
                  </a:lnTo>
                  <a:lnTo>
                    <a:pt x="707" y="974"/>
                  </a:lnTo>
                  <a:lnTo>
                    <a:pt x="702" y="984"/>
                  </a:lnTo>
                  <a:lnTo>
                    <a:pt x="700" y="985"/>
                  </a:lnTo>
                  <a:lnTo>
                    <a:pt x="671" y="931"/>
                  </a:lnTo>
                  <a:lnTo>
                    <a:pt x="638" y="880"/>
                  </a:lnTo>
                  <a:lnTo>
                    <a:pt x="599" y="835"/>
                  </a:lnTo>
                  <a:lnTo>
                    <a:pt x="556" y="795"/>
                  </a:lnTo>
                  <a:lnTo>
                    <a:pt x="511" y="760"/>
                  </a:lnTo>
                  <a:lnTo>
                    <a:pt x="463" y="728"/>
                  </a:lnTo>
                  <a:lnTo>
                    <a:pt x="414" y="700"/>
                  </a:lnTo>
                  <a:lnTo>
                    <a:pt x="364" y="676"/>
                  </a:lnTo>
                  <a:lnTo>
                    <a:pt x="314" y="655"/>
                  </a:lnTo>
                  <a:lnTo>
                    <a:pt x="266" y="639"/>
                  </a:lnTo>
                  <a:lnTo>
                    <a:pt x="218" y="625"/>
                  </a:lnTo>
                  <a:lnTo>
                    <a:pt x="173" y="614"/>
                  </a:lnTo>
                  <a:lnTo>
                    <a:pt x="133" y="606"/>
                  </a:lnTo>
                  <a:lnTo>
                    <a:pt x="97" y="598"/>
                  </a:lnTo>
                  <a:lnTo>
                    <a:pt x="65" y="593"/>
                  </a:lnTo>
                  <a:lnTo>
                    <a:pt x="37" y="590"/>
                  </a:lnTo>
                  <a:lnTo>
                    <a:pt x="18" y="588"/>
                  </a:lnTo>
                  <a:lnTo>
                    <a:pt x="5" y="587"/>
                  </a:lnTo>
                  <a:lnTo>
                    <a:pt x="0" y="587"/>
                  </a:lnTo>
                  <a:lnTo>
                    <a:pt x="98" y="548"/>
                  </a:lnTo>
                  <a:lnTo>
                    <a:pt x="186" y="508"/>
                  </a:lnTo>
                  <a:lnTo>
                    <a:pt x="265" y="468"/>
                  </a:lnTo>
                  <a:lnTo>
                    <a:pt x="334" y="428"/>
                  </a:lnTo>
                  <a:lnTo>
                    <a:pt x="393" y="388"/>
                  </a:lnTo>
                  <a:lnTo>
                    <a:pt x="446" y="348"/>
                  </a:lnTo>
                  <a:lnTo>
                    <a:pt x="491" y="308"/>
                  </a:lnTo>
                  <a:lnTo>
                    <a:pt x="529" y="271"/>
                  </a:lnTo>
                  <a:lnTo>
                    <a:pt x="561" y="233"/>
                  </a:lnTo>
                  <a:lnTo>
                    <a:pt x="587" y="197"/>
                  </a:lnTo>
                  <a:lnTo>
                    <a:pt x="609" y="164"/>
                  </a:lnTo>
                  <a:lnTo>
                    <a:pt x="625" y="133"/>
                  </a:lnTo>
                  <a:lnTo>
                    <a:pt x="638" y="104"/>
                  </a:lnTo>
                  <a:lnTo>
                    <a:pt x="646" y="79"/>
                  </a:lnTo>
                  <a:lnTo>
                    <a:pt x="652" y="56"/>
                  </a:lnTo>
                  <a:lnTo>
                    <a:pt x="655" y="36"/>
                  </a:lnTo>
                  <a:lnTo>
                    <a:pt x="659" y="21"/>
                  </a:lnTo>
                  <a:lnTo>
                    <a:pt x="659" y="10"/>
                  </a:lnTo>
                  <a:lnTo>
                    <a:pt x="659" y="2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2" name="Freeform 13"/>
            <p:cNvSpPr>
              <a:spLocks/>
            </p:cNvSpPr>
            <p:nvPr/>
          </p:nvSpPr>
          <p:spPr bwMode="auto">
            <a:xfrm>
              <a:off x="3978683" y="4963556"/>
              <a:ext cx="157340" cy="186722"/>
            </a:xfrm>
            <a:custGeom>
              <a:avLst/>
              <a:gdLst>
                <a:gd name="T0" fmla="*/ 170 w 830"/>
                <a:gd name="T1" fmla="*/ 2 h 985"/>
                <a:gd name="T2" fmla="*/ 170 w 830"/>
                <a:gd name="T3" fmla="*/ 21 h 985"/>
                <a:gd name="T4" fmla="*/ 176 w 830"/>
                <a:gd name="T5" fmla="*/ 56 h 985"/>
                <a:gd name="T6" fmla="*/ 191 w 830"/>
                <a:gd name="T7" fmla="*/ 104 h 985"/>
                <a:gd name="T8" fmla="*/ 220 w 830"/>
                <a:gd name="T9" fmla="*/ 164 h 985"/>
                <a:gd name="T10" fmla="*/ 268 w 830"/>
                <a:gd name="T11" fmla="*/ 233 h 985"/>
                <a:gd name="T12" fmla="*/ 338 w 830"/>
                <a:gd name="T13" fmla="*/ 308 h 985"/>
                <a:gd name="T14" fmla="*/ 436 w 830"/>
                <a:gd name="T15" fmla="*/ 388 h 985"/>
                <a:gd name="T16" fmla="*/ 567 w 830"/>
                <a:gd name="T17" fmla="*/ 468 h 985"/>
                <a:gd name="T18" fmla="*/ 734 w 830"/>
                <a:gd name="T19" fmla="*/ 548 h 985"/>
                <a:gd name="T20" fmla="*/ 826 w 830"/>
                <a:gd name="T21" fmla="*/ 587 h 985"/>
                <a:gd name="T22" fmla="*/ 794 w 830"/>
                <a:gd name="T23" fmla="*/ 590 h 985"/>
                <a:gd name="T24" fmla="*/ 735 w 830"/>
                <a:gd name="T25" fmla="*/ 599 h 985"/>
                <a:gd name="T26" fmla="*/ 657 w 830"/>
                <a:gd name="T27" fmla="*/ 615 h 985"/>
                <a:gd name="T28" fmla="*/ 565 w 830"/>
                <a:gd name="T29" fmla="*/ 641 h 985"/>
                <a:gd name="T30" fmla="*/ 466 w 830"/>
                <a:gd name="T31" fmla="*/ 678 h 985"/>
                <a:gd name="T32" fmla="*/ 367 w 830"/>
                <a:gd name="T33" fmla="*/ 729 h 985"/>
                <a:gd name="T34" fmla="*/ 274 w 830"/>
                <a:gd name="T35" fmla="*/ 796 h 985"/>
                <a:gd name="T36" fmla="*/ 194 w 830"/>
                <a:gd name="T37" fmla="*/ 881 h 985"/>
                <a:gd name="T38" fmla="*/ 131 w 830"/>
                <a:gd name="T39" fmla="*/ 985 h 985"/>
                <a:gd name="T40" fmla="*/ 125 w 830"/>
                <a:gd name="T41" fmla="*/ 974 h 985"/>
                <a:gd name="T42" fmla="*/ 109 w 830"/>
                <a:gd name="T43" fmla="*/ 936 h 985"/>
                <a:gd name="T44" fmla="*/ 88 w 830"/>
                <a:gd name="T45" fmla="*/ 873 h 985"/>
                <a:gd name="T46" fmla="*/ 64 w 830"/>
                <a:gd name="T47" fmla="*/ 795 h 985"/>
                <a:gd name="T48" fmla="*/ 40 w 830"/>
                <a:gd name="T49" fmla="*/ 700 h 985"/>
                <a:gd name="T50" fmla="*/ 19 w 830"/>
                <a:gd name="T51" fmla="*/ 598 h 985"/>
                <a:gd name="T52" fmla="*/ 5 w 830"/>
                <a:gd name="T53" fmla="*/ 489 h 985"/>
                <a:gd name="T54" fmla="*/ 0 w 830"/>
                <a:gd name="T55" fmla="*/ 382 h 985"/>
                <a:gd name="T56" fmla="*/ 7 w 830"/>
                <a:gd name="T57" fmla="*/ 276 h 985"/>
                <a:gd name="T58" fmla="*/ 29 w 830"/>
                <a:gd name="T59" fmla="*/ 178 h 985"/>
                <a:gd name="T60" fmla="*/ 69 w 830"/>
                <a:gd name="T61" fmla="*/ 93 h 985"/>
                <a:gd name="T62" fmla="*/ 130 w 830"/>
                <a:gd name="T63" fmla="*/ 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170" y="0"/>
                  </a:moveTo>
                  <a:lnTo>
                    <a:pt x="170" y="2"/>
                  </a:lnTo>
                  <a:lnTo>
                    <a:pt x="170" y="10"/>
                  </a:lnTo>
                  <a:lnTo>
                    <a:pt x="170" y="21"/>
                  </a:lnTo>
                  <a:lnTo>
                    <a:pt x="172" y="36"/>
                  </a:lnTo>
                  <a:lnTo>
                    <a:pt x="176" y="56"/>
                  </a:lnTo>
                  <a:lnTo>
                    <a:pt x="183" y="79"/>
                  </a:lnTo>
                  <a:lnTo>
                    <a:pt x="191" y="104"/>
                  </a:lnTo>
                  <a:lnTo>
                    <a:pt x="204" y="133"/>
                  </a:lnTo>
                  <a:lnTo>
                    <a:pt x="220" y="164"/>
                  </a:lnTo>
                  <a:lnTo>
                    <a:pt x="242" y="197"/>
                  </a:lnTo>
                  <a:lnTo>
                    <a:pt x="268" y="233"/>
                  </a:lnTo>
                  <a:lnTo>
                    <a:pt x="300" y="271"/>
                  </a:lnTo>
                  <a:lnTo>
                    <a:pt x="338" y="308"/>
                  </a:lnTo>
                  <a:lnTo>
                    <a:pt x="385" y="348"/>
                  </a:lnTo>
                  <a:lnTo>
                    <a:pt x="436" y="388"/>
                  </a:lnTo>
                  <a:lnTo>
                    <a:pt x="497" y="428"/>
                  </a:lnTo>
                  <a:lnTo>
                    <a:pt x="567" y="468"/>
                  </a:lnTo>
                  <a:lnTo>
                    <a:pt x="646" y="508"/>
                  </a:lnTo>
                  <a:lnTo>
                    <a:pt x="734" y="548"/>
                  </a:lnTo>
                  <a:lnTo>
                    <a:pt x="830" y="587"/>
                  </a:lnTo>
                  <a:lnTo>
                    <a:pt x="826" y="587"/>
                  </a:lnTo>
                  <a:lnTo>
                    <a:pt x="814" y="588"/>
                  </a:lnTo>
                  <a:lnTo>
                    <a:pt x="794" y="590"/>
                  </a:lnTo>
                  <a:lnTo>
                    <a:pt x="767" y="593"/>
                  </a:lnTo>
                  <a:lnTo>
                    <a:pt x="735" y="599"/>
                  </a:lnTo>
                  <a:lnTo>
                    <a:pt x="698" y="606"/>
                  </a:lnTo>
                  <a:lnTo>
                    <a:pt x="657" y="615"/>
                  </a:lnTo>
                  <a:lnTo>
                    <a:pt x="612" y="627"/>
                  </a:lnTo>
                  <a:lnTo>
                    <a:pt x="565" y="641"/>
                  </a:lnTo>
                  <a:lnTo>
                    <a:pt x="516" y="659"/>
                  </a:lnTo>
                  <a:lnTo>
                    <a:pt x="466" y="678"/>
                  </a:lnTo>
                  <a:lnTo>
                    <a:pt x="417" y="702"/>
                  </a:lnTo>
                  <a:lnTo>
                    <a:pt x="367" y="729"/>
                  </a:lnTo>
                  <a:lnTo>
                    <a:pt x="320" y="761"/>
                  </a:lnTo>
                  <a:lnTo>
                    <a:pt x="274" y="796"/>
                  </a:lnTo>
                  <a:lnTo>
                    <a:pt x="232" y="836"/>
                  </a:lnTo>
                  <a:lnTo>
                    <a:pt x="194" y="881"/>
                  </a:lnTo>
                  <a:lnTo>
                    <a:pt x="160" y="931"/>
                  </a:lnTo>
                  <a:lnTo>
                    <a:pt x="131" y="985"/>
                  </a:lnTo>
                  <a:lnTo>
                    <a:pt x="130" y="984"/>
                  </a:lnTo>
                  <a:lnTo>
                    <a:pt x="125" y="974"/>
                  </a:lnTo>
                  <a:lnTo>
                    <a:pt x="119" y="958"/>
                  </a:lnTo>
                  <a:lnTo>
                    <a:pt x="109" y="936"/>
                  </a:lnTo>
                  <a:lnTo>
                    <a:pt x="99" y="907"/>
                  </a:lnTo>
                  <a:lnTo>
                    <a:pt x="88" y="873"/>
                  </a:lnTo>
                  <a:lnTo>
                    <a:pt x="75" y="836"/>
                  </a:lnTo>
                  <a:lnTo>
                    <a:pt x="64" y="795"/>
                  </a:lnTo>
                  <a:lnTo>
                    <a:pt x="51" y="748"/>
                  </a:lnTo>
                  <a:lnTo>
                    <a:pt x="40" y="700"/>
                  </a:lnTo>
                  <a:lnTo>
                    <a:pt x="29" y="651"/>
                  </a:lnTo>
                  <a:lnTo>
                    <a:pt x="19" y="598"/>
                  </a:lnTo>
                  <a:lnTo>
                    <a:pt x="11" y="543"/>
                  </a:lnTo>
                  <a:lnTo>
                    <a:pt x="5" y="489"/>
                  </a:lnTo>
                  <a:lnTo>
                    <a:pt x="2" y="434"/>
                  </a:lnTo>
                  <a:lnTo>
                    <a:pt x="0" y="382"/>
                  </a:lnTo>
                  <a:lnTo>
                    <a:pt x="2" y="327"/>
                  </a:lnTo>
                  <a:lnTo>
                    <a:pt x="7" y="276"/>
                  </a:lnTo>
                  <a:lnTo>
                    <a:pt x="16" y="226"/>
                  </a:lnTo>
                  <a:lnTo>
                    <a:pt x="29" y="178"/>
                  </a:lnTo>
                  <a:lnTo>
                    <a:pt x="47" y="135"/>
                  </a:lnTo>
                  <a:lnTo>
                    <a:pt x="69" y="93"/>
                  </a:lnTo>
                  <a:lnTo>
                    <a:pt x="96" y="58"/>
                  </a:lnTo>
                  <a:lnTo>
                    <a:pt x="130" y="26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3" name="Freeform 14"/>
            <p:cNvSpPr>
              <a:spLocks/>
            </p:cNvSpPr>
            <p:nvPr/>
          </p:nvSpPr>
          <p:spPr bwMode="auto">
            <a:xfrm>
              <a:off x="4018870" y="4904980"/>
              <a:ext cx="233355" cy="74499"/>
            </a:xfrm>
            <a:custGeom>
              <a:avLst/>
              <a:gdLst>
                <a:gd name="T0" fmla="*/ 33 w 1231"/>
                <a:gd name="T1" fmla="*/ 0 h 393"/>
                <a:gd name="T2" fmla="*/ 89 w 1231"/>
                <a:gd name="T3" fmla="*/ 61 h 393"/>
                <a:gd name="T4" fmla="*/ 148 w 1231"/>
                <a:gd name="T5" fmla="*/ 116 h 393"/>
                <a:gd name="T6" fmla="*/ 209 w 1231"/>
                <a:gd name="T7" fmla="*/ 165 h 393"/>
                <a:gd name="T8" fmla="*/ 273 w 1231"/>
                <a:gd name="T9" fmla="*/ 208 h 393"/>
                <a:gd name="T10" fmla="*/ 337 w 1231"/>
                <a:gd name="T11" fmla="*/ 244 h 393"/>
                <a:gd name="T12" fmla="*/ 405 w 1231"/>
                <a:gd name="T13" fmla="*/ 274 h 393"/>
                <a:gd name="T14" fmla="*/ 474 w 1231"/>
                <a:gd name="T15" fmla="*/ 295 h 393"/>
                <a:gd name="T16" fmla="*/ 544 w 1231"/>
                <a:gd name="T17" fmla="*/ 308 h 393"/>
                <a:gd name="T18" fmla="*/ 614 w 1231"/>
                <a:gd name="T19" fmla="*/ 313 h 393"/>
                <a:gd name="T20" fmla="*/ 687 w 1231"/>
                <a:gd name="T21" fmla="*/ 308 h 393"/>
                <a:gd name="T22" fmla="*/ 757 w 1231"/>
                <a:gd name="T23" fmla="*/ 295 h 393"/>
                <a:gd name="T24" fmla="*/ 826 w 1231"/>
                <a:gd name="T25" fmla="*/ 274 h 393"/>
                <a:gd name="T26" fmla="*/ 892 w 1231"/>
                <a:gd name="T27" fmla="*/ 245 h 393"/>
                <a:gd name="T28" fmla="*/ 957 w 1231"/>
                <a:gd name="T29" fmla="*/ 210 h 393"/>
                <a:gd name="T30" fmla="*/ 1021 w 1231"/>
                <a:gd name="T31" fmla="*/ 167 h 393"/>
                <a:gd name="T32" fmla="*/ 1082 w 1231"/>
                <a:gd name="T33" fmla="*/ 117 h 393"/>
                <a:gd name="T34" fmla="*/ 1141 w 1231"/>
                <a:gd name="T35" fmla="*/ 61 h 393"/>
                <a:gd name="T36" fmla="*/ 1197 w 1231"/>
                <a:gd name="T37" fmla="*/ 0 h 393"/>
                <a:gd name="T38" fmla="*/ 1217 w 1231"/>
                <a:gd name="T39" fmla="*/ 40 h 393"/>
                <a:gd name="T40" fmla="*/ 1231 w 1231"/>
                <a:gd name="T41" fmla="*/ 84 h 393"/>
                <a:gd name="T42" fmla="*/ 1172 w 1231"/>
                <a:gd name="T43" fmla="*/ 144 h 393"/>
                <a:gd name="T44" fmla="*/ 1109 w 1231"/>
                <a:gd name="T45" fmla="*/ 199 h 393"/>
                <a:gd name="T46" fmla="*/ 1045 w 1231"/>
                <a:gd name="T47" fmla="*/ 247 h 393"/>
                <a:gd name="T48" fmla="*/ 980 w 1231"/>
                <a:gd name="T49" fmla="*/ 290 h 393"/>
                <a:gd name="T50" fmla="*/ 911 w 1231"/>
                <a:gd name="T51" fmla="*/ 325 h 393"/>
                <a:gd name="T52" fmla="*/ 840 w 1231"/>
                <a:gd name="T53" fmla="*/ 354 h 393"/>
                <a:gd name="T54" fmla="*/ 767 w 1231"/>
                <a:gd name="T55" fmla="*/ 375 h 393"/>
                <a:gd name="T56" fmla="*/ 691 w 1231"/>
                <a:gd name="T57" fmla="*/ 388 h 393"/>
                <a:gd name="T58" fmla="*/ 614 w 1231"/>
                <a:gd name="T59" fmla="*/ 393 h 393"/>
                <a:gd name="T60" fmla="*/ 538 w 1231"/>
                <a:gd name="T61" fmla="*/ 388 h 393"/>
                <a:gd name="T62" fmla="*/ 464 w 1231"/>
                <a:gd name="T63" fmla="*/ 375 h 393"/>
                <a:gd name="T64" fmla="*/ 390 w 1231"/>
                <a:gd name="T65" fmla="*/ 354 h 393"/>
                <a:gd name="T66" fmla="*/ 320 w 1231"/>
                <a:gd name="T67" fmla="*/ 325 h 393"/>
                <a:gd name="T68" fmla="*/ 251 w 1231"/>
                <a:gd name="T69" fmla="*/ 290 h 393"/>
                <a:gd name="T70" fmla="*/ 185 w 1231"/>
                <a:gd name="T71" fmla="*/ 247 h 393"/>
                <a:gd name="T72" fmla="*/ 121 w 1231"/>
                <a:gd name="T73" fmla="*/ 199 h 393"/>
                <a:gd name="T74" fmla="*/ 59 w 1231"/>
                <a:gd name="T75" fmla="*/ 144 h 393"/>
                <a:gd name="T76" fmla="*/ 0 w 1231"/>
                <a:gd name="T77" fmla="*/ 84 h 393"/>
                <a:gd name="T78" fmla="*/ 14 w 1231"/>
                <a:gd name="T79" fmla="*/ 40 h 393"/>
                <a:gd name="T80" fmla="*/ 33 w 1231"/>
                <a:gd name="T81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1" h="393">
                  <a:moveTo>
                    <a:pt x="33" y="0"/>
                  </a:moveTo>
                  <a:lnTo>
                    <a:pt x="89" y="61"/>
                  </a:lnTo>
                  <a:lnTo>
                    <a:pt x="148" y="116"/>
                  </a:lnTo>
                  <a:lnTo>
                    <a:pt x="209" y="165"/>
                  </a:lnTo>
                  <a:lnTo>
                    <a:pt x="273" y="208"/>
                  </a:lnTo>
                  <a:lnTo>
                    <a:pt x="337" y="244"/>
                  </a:lnTo>
                  <a:lnTo>
                    <a:pt x="405" y="274"/>
                  </a:lnTo>
                  <a:lnTo>
                    <a:pt x="474" y="295"/>
                  </a:lnTo>
                  <a:lnTo>
                    <a:pt x="544" y="308"/>
                  </a:lnTo>
                  <a:lnTo>
                    <a:pt x="614" y="313"/>
                  </a:lnTo>
                  <a:lnTo>
                    <a:pt x="687" y="308"/>
                  </a:lnTo>
                  <a:lnTo>
                    <a:pt x="757" y="295"/>
                  </a:lnTo>
                  <a:lnTo>
                    <a:pt x="826" y="274"/>
                  </a:lnTo>
                  <a:lnTo>
                    <a:pt x="892" y="245"/>
                  </a:lnTo>
                  <a:lnTo>
                    <a:pt x="957" y="210"/>
                  </a:lnTo>
                  <a:lnTo>
                    <a:pt x="1021" y="167"/>
                  </a:lnTo>
                  <a:lnTo>
                    <a:pt x="1082" y="117"/>
                  </a:lnTo>
                  <a:lnTo>
                    <a:pt x="1141" y="61"/>
                  </a:lnTo>
                  <a:lnTo>
                    <a:pt x="1197" y="0"/>
                  </a:lnTo>
                  <a:lnTo>
                    <a:pt x="1217" y="40"/>
                  </a:lnTo>
                  <a:lnTo>
                    <a:pt x="1231" y="84"/>
                  </a:lnTo>
                  <a:lnTo>
                    <a:pt x="1172" y="144"/>
                  </a:lnTo>
                  <a:lnTo>
                    <a:pt x="1109" y="199"/>
                  </a:lnTo>
                  <a:lnTo>
                    <a:pt x="1045" y="247"/>
                  </a:lnTo>
                  <a:lnTo>
                    <a:pt x="980" y="290"/>
                  </a:lnTo>
                  <a:lnTo>
                    <a:pt x="911" y="325"/>
                  </a:lnTo>
                  <a:lnTo>
                    <a:pt x="840" y="354"/>
                  </a:lnTo>
                  <a:lnTo>
                    <a:pt x="767" y="375"/>
                  </a:lnTo>
                  <a:lnTo>
                    <a:pt x="691" y="388"/>
                  </a:lnTo>
                  <a:lnTo>
                    <a:pt x="614" y="393"/>
                  </a:lnTo>
                  <a:lnTo>
                    <a:pt x="538" y="388"/>
                  </a:lnTo>
                  <a:lnTo>
                    <a:pt x="464" y="375"/>
                  </a:lnTo>
                  <a:lnTo>
                    <a:pt x="390" y="354"/>
                  </a:lnTo>
                  <a:lnTo>
                    <a:pt x="320" y="325"/>
                  </a:lnTo>
                  <a:lnTo>
                    <a:pt x="251" y="290"/>
                  </a:lnTo>
                  <a:lnTo>
                    <a:pt x="185" y="247"/>
                  </a:lnTo>
                  <a:lnTo>
                    <a:pt x="121" y="199"/>
                  </a:lnTo>
                  <a:lnTo>
                    <a:pt x="59" y="144"/>
                  </a:lnTo>
                  <a:lnTo>
                    <a:pt x="0" y="84"/>
                  </a:lnTo>
                  <a:lnTo>
                    <a:pt x="14" y="4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6D1A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4" name="Freeform 15"/>
            <p:cNvSpPr>
              <a:spLocks/>
            </p:cNvSpPr>
            <p:nvPr/>
          </p:nvSpPr>
          <p:spPr bwMode="auto">
            <a:xfrm>
              <a:off x="3904942" y="4561867"/>
              <a:ext cx="460834" cy="401689"/>
            </a:xfrm>
            <a:custGeom>
              <a:avLst/>
              <a:gdLst>
                <a:gd name="T0" fmla="*/ 543 w 2431"/>
                <a:gd name="T1" fmla="*/ 10 h 2119"/>
                <a:gd name="T2" fmla="*/ 567 w 2431"/>
                <a:gd name="T3" fmla="*/ 50 h 2119"/>
                <a:gd name="T4" fmla="*/ 613 w 2431"/>
                <a:gd name="T5" fmla="*/ 112 h 2119"/>
                <a:gd name="T6" fmla="*/ 685 w 2431"/>
                <a:gd name="T7" fmla="*/ 181 h 2119"/>
                <a:gd name="T8" fmla="*/ 785 w 2431"/>
                <a:gd name="T9" fmla="*/ 244 h 2119"/>
                <a:gd name="T10" fmla="*/ 913 w 2431"/>
                <a:gd name="T11" fmla="*/ 287 h 2119"/>
                <a:gd name="T12" fmla="*/ 1070 w 2431"/>
                <a:gd name="T13" fmla="*/ 298 h 2119"/>
                <a:gd name="T14" fmla="*/ 1262 w 2431"/>
                <a:gd name="T15" fmla="*/ 260 h 2119"/>
                <a:gd name="T16" fmla="*/ 1486 w 2431"/>
                <a:gd name="T17" fmla="*/ 162 h 2119"/>
                <a:gd name="T18" fmla="*/ 1584 w 2431"/>
                <a:gd name="T19" fmla="*/ 242 h 2119"/>
                <a:gd name="T20" fmla="*/ 1770 w 2431"/>
                <a:gd name="T21" fmla="*/ 247 h 2119"/>
                <a:gd name="T22" fmla="*/ 1911 w 2431"/>
                <a:gd name="T23" fmla="*/ 297 h 2119"/>
                <a:gd name="T24" fmla="*/ 2011 w 2431"/>
                <a:gd name="T25" fmla="*/ 378 h 2119"/>
                <a:gd name="T26" fmla="*/ 2080 w 2431"/>
                <a:gd name="T27" fmla="*/ 487 h 2119"/>
                <a:gd name="T28" fmla="*/ 2119 w 2431"/>
                <a:gd name="T29" fmla="*/ 612 h 2119"/>
                <a:gd name="T30" fmla="*/ 2135 w 2431"/>
                <a:gd name="T31" fmla="*/ 745 h 2119"/>
                <a:gd name="T32" fmla="*/ 2135 w 2431"/>
                <a:gd name="T33" fmla="*/ 878 h 2119"/>
                <a:gd name="T34" fmla="*/ 2123 w 2431"/>
                <a:gd name="T35" fmla="*/ 1000 h 2119"/>
                <a:gd name="T36" fmla="*/ 2107 w 2431"/>
                <a:gd name="T37" fmla="*/ 1106 h 2119"/>
                <a:gd name="T38" fmla="*/ 2090 w 2431"/>
                <a:gd name="T39" fmla="*/ 1184 h 2119"/>
                <a:gd name="T40" fmla="*/ 2079 w 2431"/>
                <a:gd name="T41" fmla="*/ 1227 h 2119"/>
                <a:gd name="T42" fmla="*/ 2192 w 2431"/>
                <a:gd name="T43" fmla="*/ 1064 h 2119"/>
                <a:gd name="T44" fmla="*/ 2303 w 2431"/>
                <a:gd name="T45" fmla="*/ 820 h 2119"/>
                <a:gd name="T46" fmla="*/ 2352 w 2431"/>
                <a:gd name="T47" fmla="*/ 836 h 2119"/>
                <a:gd name="T48" fmla="*/ 2417 w 2431"/>
                <a:gd name="T49" fmla="*/ 912 h 2119"/>
                <a:gd name="T50" fmla="*/ 2431 w 2431"/>
                <a:gd name="T51" fmla="*/ 1025 h 2119"/>
                <a:gd name="T52" fmla="*/ 2399 w 2431"/>
                <a:gd name="T53" fmla="*/ 1163 h 2119"/>
                <a:gd name="T54" fmla="*/ 2322 w 2431"/>
                <a:gd name="T55" fmla="*/ 1304 h 2119"/>
                <a:gd name="T56" fmla="*/ 2215 w 2431"/>
                <a:gd name="T57" fmla="*/ 1413 h 2119"/>
                <a:gd name="T58" fmla="*/ 2103 w 2431"/>
                <a:gd name="T59" fmla="*/ 1469 h 2119"/>
                <a:gd name="T60" fmla="*/ 1984 w 2431"/>
                <a:gd name="T61" fmla="*/ 1557 h 2119"/>
                <a:gd name="T62" fmla="*/ 1822 w 2431"/>
                <a:gd name="T63" fmla="*/ 1783 h 2119"/>
                <a:gd name="T64" fmla="*/ 1638 w 2431"/>
                <a:gd name="T65" fmla="*/ 1961 h 2119"/>
                <a:gd name="T66" fmla="*/ 1435 w 2431"/>
                <a:gd name="T67" fmla="*/ 2078 h 2119"/>
                <a:gd name="T68" fmla="*/ 1215 w 2431"/>
                <a:gd name="T69" fmla="*/ 2119 h 2119"/>
                <a:gd name="T70" fmla="*/ 998 w 2431"/>
                <a:gd name="T71" fmla="*/ 2076 h 2119"/>
                <a:gd name="T72" fmla="*/ 794 w 2431"/>
                <a:gd name="T73" fmla="*/ 1959 h 2119"/>
                <a:gd name="T74" fmla="*/ 609 w 2431"/>
                <a:gd name="T75" fmla="*/ 1781 h 2119"/>
                <a:gd name="T76" fmla="*/ 448 w 2431"/>
                <a:gd name="T77" fmla="*/ 1557 h 2119"/>
                <a:gd name="T78" fmla="*/ 320 w 2431"/>
                <a:gd name="T79" fmla="*/ 1466 h 2119"/>
                <a:gd name="T80" fmla="*/ 194 w 2431"/>
                <a:gd name="T81" fmla="*/ 1392 h 2119"/>
                <a:gd name="T82" fmla="*/ 80 w 2431"/>
                <a:gd name="T83" fmla="*/ 1258 h 2119"/>
                <a:gd name="T84" fmla="*/ 18 w 2431"/>
                <a:gd name="T85" fmla="*/ 1117 h 2119"/>
                <a:gd name="T86" fmla="*/ 0 w 2431"/>
                <a:gd name="T87" fmla="*/ 985 h 2119"/>
                <a:gd name="T88" fmla="*/ 27 w 2431"/>
                <a:gd name="T89" fmla="*/ 883 h 2119"/>
                <a:gd name="T90" fmla="*/ 98 w 2431"/>
                <a:gd name="T91" fmla="*/ 827 h 2119"/>
                <a:gd name="T92" fmla="*/ 171 w 2431"/>
                <a:gd name="T93" fmla="*/ 870 h 2119"/>
                <a:gd name="T94" fmla="*/ 235 w 2431"/>
                <a:gd name="T95" fmla="*/ 990 h 2119"/>
                <a:gd name="T96" fmla="*/ 287 w 2431"/>
                <a:gd name="T97" fmla="*/ 1067 h 2119"/>
                <a:gd name="T98" fmla="*/ 309 w 2431"/>
                <a:gd name="T99" fmla="*/ 1094 h 2119"/>
                <a:gd name="T100" fmla="*/ 295 w 2431"/>
                <a:gd name="T101" fmla="*/ 902 h 2119"/>
                <a:gd name="T102" fmla="*/ 320 w 2431"/>
                <a:gd name="T103" fmla="*/ 748 h 2119"/>
                <a:gd name="T104" fmla="*/ 372 w 2431"/>
                <a:gd name="T105" fmla="*/ 619 h 2119"/>
                <a:gd name="T106" fmla="*/ 434 w 2431"/>
                <a:gd name="T107" fmla="*/ 500 h 2119"/>
                <a:gd name="T108" fmla="*/ 493 w 2431"/>
                <a:gd name="T109" fmla="*/ 378 h 2119"/>
                <a:gd name="T110" fmla="*/ 535 w 2431"/>
                <a:gd name="T111" fmla="*/ 239 h 2119"/>
                <a:gd name="T112" fmla="*/ 545 w 2431"/>
                <a:gd name="T113" fmla="*/ 68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31" h="2119">
                  <a:moveTo>
                    <a:pt x="538" y="0"/>
                  </a:moveTo>
                  <a:lnTo>
                    <a:pt x="540" y="2"/>
                  </a:lnTo>
                  <a:lnTo>
                    <a:pt x="543" y="10"/>
                  </a:lnTo>
                  <a:lnTo>
                    <a:pt x="548" y="20"/>
                  </a:lnTo>
                  <a:lnTo>
                    <a:pt x="556" y="34"/>
                  </a:lnTo>
                  <a:lnTo>
                    <a:pt x="567" y="50"/>
                  </a:lnTo>
                  <a:lnTo>
                    <a:pt x="580" y="69"/>
                  </a:lnTo>
                  <a:lnTo>
                    <a:pt x="596" y="90"/>
                  </a:lnTo>
                  <a:lnTo>
                    <a:pt x="613" y="112"/>
                  </a:lnTo>
                  <a:lnTo>
                    <a:pt x="634" y="135"/>
                  </a:lnTo>
                  <a:lnTo>
                    <a:pt x="658" y="159"/>
                  </a:lnTo>
                  <a:lnTo>
                    <a:pt x="685" y="181"/>
                  </a:lnTo>
                  <a:lnTo>
                    <a:pt x="716" y="204"/>
                  </a:lnTo>
                  <a:lnTo>
                    <a:pt x="748" y="225"/>
                  </a:lnTo>
                  <a:lnTo>
                    <a:pt x="785" y="244"/>
                  </a:lnTo>
                  <a:lnTo>
                    <a:pt x="823" y="261"/>
                  </a:lnTo>
                  <a:lnTo>
                    <a:pt x="866" y="276"/>
                  </a:lnTo>
                  <a:lnTo>
                    <a:pt x="913" y="287"/>
                  </a:lnTo>
                  <a:lnTo>
                    <a:pt x="961" y="295"/>
                  </a:lnTo>
                  <a:lnTo>
                    <a:pt x="1014" y="298"/>
                  </a:lnTo>
                  <a:lnTo>
                    <a:pt x="1070" y="298"/>
                  </a:lnTo>
                  <a:lnTo>
                    <a:pt x="1131" y="292"/>
                  </a:lnTo>
                  <a:lnTo>
                    <a:pt x="1193" y="279"/>
                  </a:lnTo>
                  <a:lnTo>
                    <a:pt x="1262" y="260"/>
                  </a:lnTo>
                  <a:lnTo>
                    <a:pt x="1332" y="236"/>
                  </a:lnTo>
                  <a:lnTo>
                    <a:pt x="1408" y="202"/>
                  </a:lnTo>
                  <a:lnTo>
                    <a:pt x="1486" y="162"/>
                  </a:lnTo>
                  <a:lnTo>
                    <a:pt x="1433" y="266"/>
                  </a:lnTo>
                  <a:lnTo>
                    <a:pt x="1512" y="252"/>
                  </a:lnTo>
                  <a:lnTo>
                    <a:pt x="1584" y="242"/>
                  </a:lnTo>
                  <a:lnTo>
                    <a:pt x="1651" y="239"/>
                  </a:lnTo>
                  <a:lnTo>
                    <a:pt x="1714" y="241"/>
                  </a:lnTo>
                  <a:lnTo>
                    <a:pt x="1770" y="247"/>
                  </a:lnTo>
                  <a:lnTo>
                    <a:pt x="1822" y="260"/>
                  </a:lnTo>
                  <a:lnTo>
                    <a:pt x="1869" y="276"/>
                  </a:lnTo>
                  <a:lnTo>
                    <a:pt x="1911" y="297"/>
                  </a:lnTo>
                  <a:lnTo>
                    <a:pt x="1949" y="321"/>
                  </a:lnTo>
                  <a:lnTo>
                    <a:pt x="1983" y="348"/>
                  </a:lnTo>
                  <a:lnTo>
                    <a:pt x="2011" y="378"/>
                  </a:lnTo>
                  <a:lnTo>
                    <a:pt x="2039" y="412"/>
                  </a:lnTo>
                  <a:lnTo>
                    <a:pt x="2061" y="449"/>
                  </a:lnTo>
                  <a:lnTo>
                    <a:pt x="2080" y="487"/>
                  </a:lnTo>
                  <a:lnTo>
                    <a:pt x="2095" y="527"/>
                  </a:lnTo>
                  <a:lnTo>
                    <a:pt x="2109" y="569"/>
                  </a:lnTo>
                  <a:lnTo>
                    <a:pt x="2119" y="612"/>
                  </a:lnTo>
                  <a:lnTo>
                    <a:pt x="2127" y="655"/>
                  </a:lnTo>
                  <a:lnTo>
                    <a:pt x="2131" y="700"/>
                  </a:lnTo>
                  <a:lnTo>
                    <a:pt x="2135" y="745"/>
                  </a:lnTo>
                  <a:lnTo>
                    <a:pt x="2136" y="790"/>
                  </a:lnTo>
                  <a:lnTo>
                    <a:pt x="2136" y="833"/>
                  </a:lnTo>
                  <a:lnTo>
                    <a:pt x="2135" y="878"/>
                  </a:lnTo>
                  <a:lnTo>
                    <a:pt x="2131" y="920"/>
                  </a:lnTo>
                  <a:lnTo>
                    <a:pt x="2128" y="961"/>
                  </a:lnTo>
                  <a:lnTo>
                    <a:pt x="2123" y="1000"/>
                  </a:lnTo>
                  <a:lnTo>
                    <a:pt x="2119" y="1038"/>
                  </a:lnTo>
                  <a:lnTo>
                    <a:pt x="2112" y="1073"/>
                  </a:lnTo>
                  <a:lnTo>
                    <a:pt x="2107" y="1106"/>
                  </a:lnTo>
                  <a:lnTo>
                    <a:pt x="2101" y="1136"/>
                  </a:lnTo>
                  <a:lnTo>
                    <a:pt x="2095" y="1162"/>
                  </a:lnTo>
                  <a:lnTo>
                    <a:pt x="2090" y="1184"/>
                  </a:lnTo>
                  <a:lnTo>
                    <a:pt x="2085" y="1203"/>
                  </a:lnTo>
                  <a:lnTo>
                    <a:pt x="2082" y="1218"/>
                  </a:lnTo>
                  <a:lnTo>
                    <a:pt x="2079" y="1227"/>
                  </a:lnTo>
                  <a:lnTo>
                    <a:pt x="2077" y="1232"/>
                  </a:lnTo>
                  <a:lnTo>
                    <a:pt x="2140" y="1147"/>
                  </a:lnTo>
                  <a:lnTo>
                    <a:pt x="2192" y="1064"/>
                  </a:lnTo>
                  <a:lnTo>
                    <a:pt x="2237" y="981"/>
                  </a:lnTo>
                  <a:lnTo>
                    <a:pt x="2274" y="899"/>
                  </a:lnTo>
                  <a:lnTo>
                    <a:pt x="2303" y="820"/>
                  </a:lnTo>
                  <a:lnTo>
                    <a:pt x="2320" y="822"/>
                  </a:lnTo>
                  <a:lnTo>
                    <a:pt x="2338" y="828"/>
                  </a:lnTo>
                  <a:lnTo>
                    <a:pt x="2352" y="836"/>
                  </a:lnTo>
                  <a:lnTo>
                    <a:pt x="2378" y="856"/>
                  </a:lnTo>
                  <a:lnTo>
                    <a:pt x="2401" y="881"/>
                  </a:lnTo>
                  <a:lnTo>
                    <a:pt x="2417" y="912"/>
                  </a:lnTo>
                  <a:lnTo>
                    <a:pt x="2426" y="945"/>
                  </a:lnTo>
                  <a:lnTo>
                    <a:pt x="2431" y="984"/>
                  </a:lnTo>
                  <a:lnTo>
                    <a:pt x="2431" y="1025"/>
                  </a:lnTo>
                  <a:lnTo>
                    <a:pt x="2426" y="1070"/>
                  </a:lnTo>
                  <a:lnTo>
                    <a:pt x="2415" y="1117"/>
                  </a:lnTo>
                  <a:lnTo>
                    <a:pt x="2399" y="1163"/>
                  </a:lnTo>
                  <a:lnTo>
                    <a:pt x="2378" y="1210"/>
                  </a:lnTo>
                  <a:lnTo>
                    <a:pt x="2352" y="1258"/>
                  </a:lnTo>
                  <a:lnTo>
                    <a:pt x="2322" y="1304"/>
                  </a:lnTo>
                  <a:lnTo>
                    <a:pt x="2288" y="1346"/>
                  </a:lnTo>
                  <a:lnTo>
                    <a:pt x="2253" y="1381"/>
                  </a:lnTo>
                  <a:lnTo>
                    <a:pt x="2215" y="1413"/>
                  </a:lnTo>
                  <a:lnTo>
                    <a:pt x="2178" y="1439"/>
                  </a:lnTo>
                  <a:lnTo>
                    <a:pt x="2140" y="1458"/>
                  </a:lnTo>
                  <a:lnTo>
                    <a:pt x="2103" y="1469"/>
                  </a:lnTo>
                  <a:lnTo>
                    <a:pt x="2066" y="1476"/>
                  </a:lnTo>
                  <a:lnTo>
                    <a:pt x="2032" y="1474"/>
                  </a:lnTo>
                  <a:lnTo>
                    <a:pt x="1984" y="1557"/>
                  </a:lnTo>
                  <a:lnTo>
                    <a:pt x="1933" y="1637"/>
                  </a:lnTo>
                  <a:lnTo>
                    <a:pt x="1880" y="1713"/>
                  </a:lnTo>
                  <a:lnTo>
                    <a:pt x="1822" y="1783"/>
                  </a:lnTo>
                  <a:lnTo>
                    <a:pt x="1763" y="1849"/>
                  </a:lnTo>
                  <a:lnTo>
                    <a:pt x="1702" y="1908"/>
                  </a:lnTo>
                  <a:lnTo>
                    <a:pt x="1638" y="1961"/>
                  </a:lnTo>
                  <a:lnTo>
                    <a:pt x="1573" y="2007"/>
                  </a:lnTo>
                  <a:lnTo>
                    <a:pt x="1505" y="2046"/>
                  </a:lnTo>
                  <a:lnTo>
                    <a:pt x="1435" y="2078"/>
                  </a:lnTo>
                  <a:lnTo>
                    <a:pt x="1363" y="2100"/>
                  </a:lnTo>
                  <a:lnTo>
                    <a:pt x="1291" y="2115"/>
                  </a:lnTo>
                  <a:lnTo>
                    <a:pt x="1215" y="2119"/>
                  </a:lnTo>
                  <a:lnTo>
                    <a:pt x="1142" y="2115"/>
                  </a:lnTo>
                  <a:lnTo>
                    <a:pt x="1068" y="2100"/>
                  </a:lnTo>
                  <a:lnTo>
                    <a:pt x="998" y="2076"/>
                  </a:lnTo>
                  <a:lnTo>
                    <a:pt x="927" y="2046"/>
                  </a:lnTo>
                  <a:lnTo>
                    <a:pt x="860" y="2006"/>
                  </a:lnTo>
                  <a:lnTo>
                    <a:pt x="794" y="1959"/>
                  </a:lnTo>
                  <a:lnTo>
                    <a:pt x="730" y="1906"/>
                  </a:lnTo>
                  <a:lnTo>
                    <a:pt x="668" y="1847"/>
                  </a:lnTo>
                  <a:lnTo>
                    <a:pt x="609" y="1781"/>
                  </a:lnTo>
                  <a:lnTo>
                    <a:pt x="553" y="1711"/>
                  </a:lnTo>
                  <a:lnTo>
                    <a:pt x="500" y="1636"/>
                  </a:lnTo>
                  <a:lnTo>
                    <a:pt x="448" y="1557"/>
                  </a:lnTo>
                  <a:lnTo>
                    <a:pt x="400" y="1474"/>
                  </a:lnTo>
                  <a:lnTo>
                    <a:pt x="362" y="1474"/>
                  </a:lnTo>
                  <a:lnTo>
                    <a:pt x="320" y="1466"/>
                  </a:lnTo>
                  <a:lnTo>
                    <a:pt x="279" y="1448"/>
                  </a:lnTo>
                  <a:lnTo>
                    <a:pt x="235" y="1424"/>
                  </a:lnTo>
                  <a:lnTo>
                    <a:pt x="194" y="1392"/>
                  </a:lnTo>
                  <a:lnTo>
                    <a:pt x="154" y="1354"/>
                  </a:lnTo>
                  <a:lnTo>
                    <a:pt x="115" y="1309"/>
                  </a:lnTo>
                  <a:lnTo>
                    <a:pt x="80" y="1258"/>
                  </a:lnTo>
                  <a:lnTo>
                    <a:pt x="54" y="1210"/>
                  </a:lnTo>
                  <a:lnTo>
                    <a:pt x="34" y="1163"/>
                  </a:lnTo>
                  <a:lnTo>
                    <a:pt x="18" y="1117"/>
                  </a:lnTo>
                  <a:lnTo>
                    <a:pt x="6" y="1072"/>
                  </a:lnTo>
                  <a:lnTo>
                    <a:pt x="0" y="1027"/>
                  </a:lnTo>
                  <a:lnTo>
                    <a:pt x="0" y="985"/>
                  </a:lnTo>
                  <a:lnTo>
                    <a:pt x="3" y="947"/>
                  </a:lnTo>
                  <a:lnTo>
                    <a:pt x="13" y="913"/>
                  </a:lnTo>
                  <a:lnTo>
                    <a:pt x="27" y="883"/>
                  </a:lnTo>
                  <a:lnTo>
                    <a:pt x="46" y="857"/>
                  </a:lnTo>
                  <a:lnTo>
                    <a:pt x="72" y="836"/>
                  </a:lnTo>
                  <a:lnTo>
                    <a:pt x="98" y="827"/>
                  </a:lnTo>
                  <a:lnTo>
                    <a:pt x="123" y="820"/>
                  </a:lnTo>
                  <a:lnTo>
                    <a:pt x="151" y="820"/>
                  </a:lnTo>
                  <a:lnTo>
                    <a:pt x="171" y="870"/>
                  </a:lnTo>
                  <a:lnTo>
                    <a:pt x="192" y="915"/>
                  </a:lnTo>
                  <a:lnTo>
                    <a:pt x="215" y="955"/>
                  </a:lnTo>
                  <a:lnTo>
                    <a:pt x="235" y="990"/>
                  </a:lnTo>
                  <a:lnTo>
                    <a:pt x="255" y="1022"/>
                  </a:lnTo>
                  <a:lnTo>
                    <a:pt x="272" y="1048"/>
                  </a:lnTo>
                  <a:lnTo>
                    <a:pt x="287" y="1067"/>
                  </a:lnTo>
                  <a:lnTo>
                    <a:pt x="299" y="1083"/>
                  </a:lnTo>
                  <a:lnTo>
                    <a:pt x="306" y="1091"/>
                  </a:lnTo>
                  <a:lnTo>
                    <a:pt x="309" y="1094"/>
                  </a:lnTo>
                  <a:lnTo>
                    <a:pt x="299" y="1025"/>
                  </a:lnTo>
                  <a:lnTo>
                    <a:pt x="295" y="961"/>
                  </a:lnTo>
                  <a:lnTo>
                    <a:pt x="295" y="902"/>
                  </a:lnTo>
                  <a:lnTo>
                    <a:pt x="299" y="848"/>
                  </a:lnTo>
                  <a:lnTo>
                    <a:pt x="308" y="796"/>
                  </a:lnTo>
                  <a:lnTo>
                    <a:pt x="320" y="748"/>
                  </a:lnTo>
                  <a:lnTo>
                    <a:pt x="335" y="703"/>
                  </a:lnTo>
                  <a:lnTo>
                    <a:pt x="352" y="660"/>
                  </a:lnTo>
                  <a:lnTo>
                    <a:pt x="372" y="619"/>
                  </a:lnTo>
                  <a:lnTo>
                    <a:pt x="391" y="579"/>
                  </a:lnTo>
                  <a:lnTo>
                    <a:pt x="413" y="540"/>
                  </a:lnTo>
                  <a:lnTo>
                    <a:pt x="434" y="500"/>
                  </a:lnTo>
                  <a:lnTo>
                    <a:pt x="455" y="460"/>
                  </a:lnTo>
                  <a:lnTo>
                    <a:pt x="474" y="420"/>
                  </a:lnTo>
                  <a:lnTo>
                    <a:pt x="493" y="378"/>
                  </a:lnTo>
                  <a:lnTo>
                    <a:pt x="509" y="333"/>
                  </a:lnTo>
                  <a:lnTo>
                    <a:pt x="524" y="287"/>
                  </a:lnTo>
                  <a:lnTo>
                    <a:pt x="535" y="239"/>
                  </a:lnTo>
                  <a:lnTo>
                    <a:pt x="541" y="185"/>
                  </a:lnTo>
                  <a:lnTo>
                    <a:pt x="546" y="128"/>
                  </a:lnTo>
                  <a:lnTo>
                    <a:pt x="545" y="68"/>
                  </a:lnTo>
                  <a:lnTo>
                    <a:pt x="538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5" name="Freeform 16"/>
            <p:cNvSpPr>
              <a:spLocks/>
            </p:cNvSpPr>
            <p:nvPr/>
          </p:nvSpPr>
          <p:spPr bwMode="auto">
            <a:xfrm>
              <a:off x="3905889" y="4409835"/>
              <a:ext cx="460455" cy="385576"/>
            </a:xfrm>
            <a:custGeom>
              <a:avLst/>
              <a:gdLst>
                <a:gd name="T0" fmla="*/ 1419 w 2429"/>
                <a:gd name="T1" fmla="*/ 19 h 2034"/>
                <a:gd name="T2" fmla="*/ 1268 w 2429"/>
                <a:gd name="T3" fmla="*/ 45 h 2034"/>
                <a:gd name="T4" fmla="*/ 1057 w 2429"/>
                <a:gd name="T5" fmla="*/ 168 h 2034"/>
                <a:gd name="T6" fmla="*/ 1175 w 2429"/>
                <a:gd name="T7" fmla="*/ 128 h 2034"/>
                <a:gd name="T8" fmla="*/ 1414 w 2429"/>
                <a:gd name="T9" fmla="*/ 90 h 2034"/>
                <a:gd name="T10" fmla="*/ 1705 w 2429"/>
                <a:gd name="T11" fmla="*/ 126 h 2034"/>
                <a:gd name="T12" fmla="*/ 1986 w 2429"/>
                <a:gd name="T13" fmla="*/ 315 h 2034"/>
                <a:gd name="T14" fmla="*/ 1910 w 2429"/>
                <a:gd name="T15" fmla="*/ 282 h 2034"/>
                <a:gd name="T16" fmla="*/ 1777 w 2429"/>
                <a:gd name="T17" fmla="*/ 253 h 2034"/>
                <a:gd name="T18" fmla="*/ 1854 w 2429"/>
                <a:gd name="T19" fmla="*/ 288 h 2034"/>
                <a:gd name="T20" fmla="*/ 2035 w 2429"/>
                <a:gd name="T21" fmla="*/ 402 h 2034"/>
                <a:gd name="T22" fmla="*/ 2240 w 2429"/>
                <a:gd name="T23" fmla="*/ 601 h 2034"/>
                <a:gd name="T24" fmla="*/ 2394 w 2429"/>
                <a:gd name="T25" fmla="*/ 894 h 2034"/>
                <a:gd name="T26" fmla="*/ 2418 w 2429"/>
                <a:gd name="T27" fmla="*/ 1289 h 2034"/>
                <a:gd name="T28" fmla="*/ 2380 w 2429"/>
                <a:gd name="T29" fmla="*/ 1203 h 2034"/>
                <a:gd name="T30" fmla="*/ 2346 w 2429"/>
                <a:gd name="T31" fmla="*/ 1477 h 2034"/>
                <a:gd name="T32" fmla="*/ 2191 w 2429"/>
                <a:gd name="T33" fmla="*/ 1866 h 2034"/>
                <a:gd name="T34" fmla="*/ 2083 w 2429"/>
                <a:gd name="T35" fmla="*/ 2012 h 2034"/>
                <a:gd name="T36" fmla="*/ 2110 w 2429"/>
                <a:gd name="T37" fmla="*/ 1887 h 2034"/>
                <a:gd name="T38" fmla="*/ 2133 w 2429"/>
                <a:gd name="T39" fmla="*/ 1690 h 2034"/>
                <a:gd name="T40" fmla="*/ 2126 w 2429"/>
                <a:gd name="T41" fmla="*/ 1465 h 2034"/>
                <a:gd name="T42" fmla="*/ 2062 w 2429"/>
                <a:gd name="T43" fmla="*/ 1252 h 2034"/>
                <a:gd name="T44" fmla="*/ 1914 w 2429"/>
                <a:gd name="T45" fmla="*/ 1097 h 2034"/>
                <a:gd name="T46" fmla="*/ 1654 w 2429"/>
                <a:gd name="T47" fmla="*/ 1036 h 2034"/>
                <a:gd name="T48" fmla="*/ 1406 w 2429"/>
                <a:gd name="T49" fmla="*/ 1001 h 2034"/>
                <a:gd name="T50" fmla="*/ 1070 w 2429"/>
                <a:gd name="T51" fmla="*/ 1095 h 2034"/>
                <a:gd name="T52" fmla="*/ 823 w 2429"/>
                <a:gd name="T53" fmla="*/ 1060 h 2034"/>
                <a:gd name="T54" fmla="*/ 658 w 2429"/>
                <a:gd name="T55" fmla="*/ 956 h 2034"/>
                <a:gd name="T56" fmla="*/ 565 w 2429"/>
                <a:gd name="T57" fmla="*/ 849 h 2034"/>
                <a:gd name="T58" fmla="*/ 536 w 2429"/>
                <a:gd name="T59" fmla="*/ 798 h 2034"/>
                <a:gd name="T60" fmla="*/ 522 w 2429"/>
                <a:gd name="T61" fmla="*/ 1086 h 2034"/>
                <a:gd name="T62" fmla="*/ 432 w 2429"/>
                <a:gd name="T63" fmla="*/ 1299 h 2034"/>
                <a:gd name="T64" fmla="*/ 335 w 2429"/>
                <a:gd name="T65" fmla="*/ 1501 h 2034"/>
                <a:gd name="T66" fmla="*/ 293 w 2429"/>
                <a:gd name="T67" fmla="*/ 1760 h 2034"/>
                <a:gd name="T68" fmla="*/ 286 w 2429"/>
                <a:gd name="T69" fmla="*/ 1866 h 2034"/>
                <a:gd name="T70" fmla="*/ 192 w 2429"/>
                <a:gd name="T71" fmla="*/ 1709 h 2034"/>
                <a:gd name="T72" fmla="*/ 99 w 2429"/>
                <a:gd name="T73" fmla="*/ 1441 h 2034"/>
                <a:gd name="T74" fmla="*/ 91 w 2429"/>
                <a:gd name="T75" fmla="*/ 1092 h 2034"/>
                <a:gd name="T76" fmla="*/ 1 w 2429"/>
                <a:gd name="T77" fmla="*/ 1111 h 2034"/>
                <a:gd name="T78" fmla="*/ 6 w 2429"/>
                <a:gd name="T79" fmla="*/ 969 h 2034"/>
                <a:gd name="T80" fmla="*/ 70 w 2429"/>
                <a:gd name="T81" fmla="*/ 769 h 2034"/>
                <a:gd name="T82" fmla="*/ 250 w 2429"/>
                <a:gd name="T83" fmla="*/ 580 h 2034"/>
                <a:gd name="T84" fmla="*/ 357 w 2429"/>
                <a:gd name="T85" fmla="*/ 503 h 2034"/>
                <a:gd name="T86" fmla="*/ 275 w 2429"/>
                <a:gd name="T87" fmla="*/ 424 h 2034"/>
                <a:gd name="T88" fmla="*/ 176 w 2429"/>
                <a:gd name="T89" fmla="*/ 384 h 2034"/>
                <a:gd name="T90" fmla="*/ 285 w 2429"/>
                <a:gd name="T91" fmla="*/ 396 h 2034"/>
                <a:gd name="T92" fmla="*/ 408 w 2429"/>
                <a:gd name="T93" fmla="*/ 476 h 2034"/>
                <a:gd name="T94" fmla="*/ 411 w 2429"/>
                <a:gd name="T95" fmla="*/ 452 h 2034"/>
                <a:gd name="T96" fmla="*/ 397 w 2429"/>
                <a:gd name="T97" fmla="*/ 296 h 2034"/>
                <a:gd name="T98" fmla="*/ 419 w 2429"/>
                <a:gd name="T99" fmla="*/ 261 h 2034"/>
                <a:gd name="T100" fmla="*/ 455 w 2429"/>
                <a:gd name="T101" fmla="*/ 388 h 2034"/>
                <a:gd name="T102" fmla="*/ 485 w 2429"/>
                <a:gd name="T103" fmla="*/ 320 h 2034"/>
                <a:gd name="T104" fmla="*/ 583 w 2429"/>
                <a:gd name="T105" fmla="*/ 197 h 2034"/>
                <a:gd name="T106" fmla="*/ 770 w 2429"/>
                <a:gd name="T107" fmla="*/ 74 h 2034"/>
                <a:gd name="T108" fmla="*/ 1076 w 2429"/>
                <a:gd name="T109" fmla="*/ 3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29" h="2034">
                  <a:moveTo>
                    <a:pt x="1154" y="0"/>
                  </a:moveTo>
                  <a:lnTo>
                    <a:pt x="1238" y="1"/>
                  </a:lnTo>
                  <a:lnTo>
                    <a:pt x="1327" y="8"/>
                  </a:lnTo>
                  <a:lnTo>
                    <a:pt x="1423" y="19"/>
                  </a:lnTo>
                  <a:lnTo>
                    <a:pt x="1419" y="19"/>
                  </a:lnTo>
                  <a:lnTo>
                    <a:pt x="1404" y="19"/>
                  </a:lnTo>
                  <a:lnTo>
                    <a:pt x="1380" y="21"/>
                  </a:lnTo>
                  <a:lnTo>
                    <a:pt x="1350" y="24"/>
                  </a:lnTo>
                  <a:lnTo>
                    <a:pt x="1311" y="32"/>
                  </a:lnTo>
                  <a:lnTo>
                    <a:pt x="1268" y="45"/>
                  </a:lnTo>
                  <a:lnTo>
                    <a:pt x="1219" y="64"/>
                  </a:lnTo>
                  <a:lnTo>
                    <a:pt x="1167" y="90"/>
                  </a:lnTo>
                  <a:lnTo>
                    <a:pt x="1111" y="125"/>
                  </a:lnTo>
                  <a:lnTo>
                    <a:pt x="1054" y="170"/>
                  </a:lnTo>
                  <a:lnTo>
                    <a:pt x="1057" y="168"/>
                  </a:lnTo>
                  <a:lnTo>
                    <a:pt x="1068" y="163"/>
                  </a:lnTo>
                  <a:lnTo>
                    <a:pt x="1086" y="157"/>
                  </a:lnTo>
                  <a:lnTo>
                    <a:pt x="1111" y="147"/>
                  </a:lnTo>
                  <a:lnTo>
                    <a:pt x="1140" y="138"/>
                  </a:lnTo>
                  <a:lnTo>
                    <a:pt x="1175" y="128"/>
                  </a:lnTo>
                  <a:lnTo>
                    <a:pt x="1215" y="118"/>
                  </a:lnTo>
                  <a:lnTo>
                    <a:pt x="1260" y="109"/>
                  </a:lnTo>
                  <a:lnTo>
                    <a:pt x="1308" y="99"/>
                  </a:lnTo>
                  <a:lnTo>
                    <a:pt x="1359" y="93"/>
                  </a:lnTo>
                  <a:lnTo>
                    <a:pt x="1414" y="90"/>
                  </a:lnTo>
                  <a:lnTo>
                    <a:pt x="1470" y="88"/>
                  </a:lnTo>
                  <a:lnTo>
                    <a:pt x="1528" y="91"/>
                  </a:lnTo>
                  <a:lnTo>
                    <a:pt x="1587" y="98"/>
                  </a:lnTo>
                  <a:lnTo>
                    <a:pt x="1646" y="110"/>
                  </a:lnTo>
                  <a:lnTo>
                    <a:pt x="1705" y="126"/>
                  </a:lnTo>
                  <a:lnTo>
                    <a:pt x="1765" y="150"/>
                  </a:lnTo>
                  <a:lnTo>
                    <a:pt x="1822" y="181"/>
                  </a:lnTo>
                  <a:lnTo>
                    <a:pt x="1878" y="218"/>
                  </a:lnTo>
                  <a:lnTo>
                    <a:pt x="1933" y="263"/>
                  </a:lnTo>
                  <a:lnTo>
                    <a:pt x="1986" y="315"/>
                  </a:lnTo>
                  <a:lnTo>
                    <a:pt x="1981" y="314"/>
                  </a:lnTo>
                  <a:lnTo>
                    <a:pt x="1971" y="307"/>
                  </a:lnTo>
                  <a:lnTo>
                    <a:pt x="1955" y="301"/>
                  </a:lnTo>
                  <a:lnTo>
                    <a:pt x="1934" y="291"/>
                  </a:lnTo>
                  <a:lnTo>
                    <a:pt x="1910" y="282"/>
                  </a:lnTo>
                  <a:lnTo>
                    <a:pt x="1885" y="271"/>
                  </a:lnTo>
                  <a:lnTo>
                    <a:pt x="1857" y="263"/>
                  </a:lnTo>
                  <a:lnTo>
                    <a:pt x="1829" y="256"/>
                  </a:lnTo>
                  <a:lnTo>
                    <a:pt x="1801" y="253"/>
                  </a:lnTo>
                  <a:lnTo>
                    <a:pt x="1777" y="253"/>
                  </a:lnTo>
                  <a:lnTo>
                    <a:pt x="1781" y="255"/>
                  </a:lnTo>
                  <a:lnTo>
                    <a:pt x="1790" y="258"/>
                  </a:lnTo>
                  <a:lnTo>
                    <a:pt x="1806" y="266"/>
                  </a:lnTo>
                  <a:lnTo>
                    <a:pt x="1829" y="275"/>
                  </a:lnTo>
                  <a:lnTo>
                    <a:pt x="1854" y="288"/>
                  </a:lnTo>
                  <a:lnTo>
                    <a:pt x="1885" y="304"/>
                  </a:lnTo>
                  <a:lnTo>
                    <a:pt x="1918" y="325"/>
                  </a:lnTo>
                  <a:lnTo>
                    <a:pt x="1955" y="347"/>
                  </a:lnTo>
                  <a:lnTo>
                    <a:pt x="1994" y="373"/>
                  </a:lnTo>
                  <a:lnTo>
                    <a:pt x="2035" y="402"/>
                  </a:lnTo>
                  <a:lnTo>
                    <a:pt x="2077" y="434"/>
                  </a:lnTo>
                  <a:lnTo>
                    <a:pt x="2118" y="471"/>
                  </a:lnTo>
                  <a:lnTo>
                    <a:pt x="2160" y="511"/>
                  </a:lnTo>
                  <a:lnTo>
                    <a:pt x="2202" y="554"/>
                  </a:lnTo>
                  <a:lnTo>
                    <a:pt x="2240" y="601"/>
                  </a:lnTo>
                  <a:lnTo>
                    <a:pt x="2279" y="652"/>
                  </a:lnTo>
                  <a:lnTo>
                    <a:pt x="2312" y="706"/>
                  </a:lnTo>
                  <a:lnTo>
                    <a:pt x="2344" y="766"/>
                  </a:lnTo>
                  <a:lnTo>
                    <a:pt x="2372" y="828"/>
                  </a:lnTo>
                  <a:lnTo>
                    <a:pt x="2394" y="894"/>
                  </a:lnTo>
                  <a:lnTo>
                    <a:pt x="2412" y="964"/>
                  </a:lnTo>
                  <a:lnTo>
                    <a:pt x="2424" y="1039"/>
                  </a:lnTo>
                  <a:lnTo>
                    <a:pt x="2429" y="1118"/>
                  </a:lnTo>
                  <a:lnTo>
                    <a:pt x="2428" y="1201"/>
                  </a:lnTo>
                  <a:lnTo>
                    <a:pt x="2418" y="1289"/>
                  </a:lnTo>
                  <a:lnTo>
                    <a:pt x="2376" y="1123"/>
                  </a:lnTo>
                  <a:lnTo>
                    <a:pt x="2376" y="1127"/>
                  </a:lnTo>
                  <a:lnTo>
                    <a:pt x="2378" y="1144"/>
                  </a:lnTo>
                  <a:lnTo>
                    <a:pt x="2380" y="1169"/>
                  </a:lnTo>
                  <a:lnTo>
                    <a:pt x="2380" y="1203"/>
                  </a:lnTo>
                  <a:lnTo>
                    <a:pt x="2378" y="1244"/>
                  </a:lnTo>
                  <a:lnTo>
                    <a:pt x="2375" y="1292"/>
                  </a:lnTo>
                  <a:lnTo>
                    <a:pt x="2368" y="1349"/>
                  </a:lnTo>
                  <a:lnTo>
                    <a:pt x="2359" y="1409"/>
                  </a:lnTo>
                  <a:lnTo>
                    <a:pt x="2346" y="1477"/>
                  </a:lnTo>
                  <a:lnTo>
                    <a:pt x="2327" y="1549"/>
                  </a:lnTo>
                  <a:lnTo>
                    <a:pt x="2303" y="1624"/>
                  </a:lnTo>
                  <a:lnTo>
                    <a:pt x="2272" y="1702"/>
                  </a:lnTo>
                  <a:lnTo>
                    <a:pt x="2235" y="1783"/>
                  </a:lnTo>
                  <a:lnTo>
                    <a:pt x="2191" y="1866"/>
                  </a:lnTo>
                  <a:lnTo>
                    <a:pt x="2138" y="1949"/>
                  </a:lnTo>
                  <a:lnTo>
                    <a:pt x="2077" y="2034"/>
                  </a:lnTo>
                  <a:lnTo>
                    <a:pt x="2077" y="2031"/>
                  </a:lnTo>
                  <a:lnTo>
                    <a:pt x="2080" y="2024"/>
                  </a:lnTo>
                  <a:lnTo>
                    <a:pt x="2083" y="2012"/>
                  </a:lnTo>
                  <a:lnTo>
                    <a:pt x="2088" y="1994"/>
                  </a:lnTo>
                  <a:lnTo>
                    <a:pt x="2093" y="1972"/>
                  </a:lnTo>
                  <a:lnTo>
                    <a:pt x="2098" y="1948"/>
                  </a:lnTo>
                  <a:lnTo>
                    <a:pt x="2104" y="1919"/>
                  </a:lnTo>
                  <a:lnTo>
                    <a:pt x="2110" y="1887"/>
                  </a:lnTo>
                  <a:lnTo>
                    <a:pt x="2115" y="1851"/>
                  </a:lnTo>
                  <a:lnTo>
                    <a:pt x="2122" y="1813"/>
                  </a:lnTo>
                  <a:lnTo>
                    <a:pt x="2126" y="1775"/>
                  </a:lnTo>
                  <a:lnTo>
                    <a:pt x="2130" y="1733"/>
                  </a:lnTo>
                  <a:lnTo>
                    <a:pt x="2133" y="1690"/>
                  </a:lnTo>
                  <a:lnTo>
                    <a:pt x="2136" y="1646"/>
                  </a:lnTo>
                  <a:lnTo>
                    <a:pt x="2136" y="1602"/>
                  </a:lnTo>
                  <a:lnTo>
                    <a:pt x="2135" y="1555"/>
                  </a:lnTo>
                  <a:lnTo>
                    <a:pt x="2133" y="1510"/>
                  </a:lnTo>
                  <a:lnTo>
                    <a:pt x="2126" y="1465"/>
                  </a:lnTo>
                  <a:lnTo>
                    <a:pt x="2120" y="1421"/>
                  </a:lnTo>
                  <a:lnTo>
                    <a:pt x="2110" y="1376"/>
                  </a:lnTo>
                  <a:lnTo>
                    <a:pt x="2098" y="1334"/>
                  </a:lnTo>
                  <a:lnTo>
                    <a:pt x="2082" y="1292"/>
                  </a:lnTo>
                  <a:lnTo>
                    <a:pt x="2062" y="1252"/>
                  </a:lnTo>
                  <a:lnTo>
                    <a:pt x="2042" y="1216"/>
                  </a:lnTo>
                  <a:lnTo>
                    <a:pt x="2014" y="1182"/>
                  </a:lnTo>
                  <a:lnTo>
                    <a:pt x="1986" y="1150"/>
                  </a:lnTo>
                  <a:lnTo>
                    <a:pt x="1952" y="1121"/>
                  </a:lnTo>
                  <a:lnTo>
                    <a:pt x="1914" y="1097"/>
                  </a:lnTo>
                  <a:lnTo>
                    <a:pt x="1872" y="1075"/>
                  </a:lnTo>
                  <a:lnTo>
                    <a:pt x="1825" y="1059"/>
                  </a:lnTo>
                  <a:lnTo>
                    <a:pt x="1773" y="1046"/>
                  </a:lnTo>
                  <a:lnTo>
                    <a:pt x="1715" y="1039"/>
                  </a:lnTo>
                  <a:lnTo>
                    <a:pt x="1654" y="1036"/>
                  </a:lnTo>
                  <a:lnTo>
                    <a:pt x="1585" y="1039"/>
                  </a:lnTo>
                  <a:lnTo>
                    <a:pt x="1512" y="1049"/>
                  </a:lnTo>
                  <a:lnTo>
                    <a:pt x="1431" y="1065"/>
                  </a:lnTo>
                  <a:lnTo>
                    <a:pt x="1486" y="961"/>
                  </a:lnTo>
                  <a:lnTo>
                    <a:pt x="1406" y="1001"/>
                  </a:lnTo>
                  <a:lnTo>
                    <a:pt x="1332" y="1033"/>
                  </a:lnTo>
                  <a:lnTo>
                    <a:pt x="1260" y="1059"/>
                  </a:lnTo>
                  <a:lnTo>
                    <a:pt x="1193" y="1076"/>
                  </a:lnTo>
                  <a:lnTo>
                    <a:pt x="1129" y="1089"/>
                  </a:lnTo>
                  <a:lnTo>
                    <a:pt x="1070" y="1095"/>
                  </a:lnTo>
                  <a:lnTo>
                    <a:pt x="1014" y="1097"/>
                  </a:lnTo>
                  <a:lnTo>
                    <a:pt x="961" y="1094"/>
                  </a:lnTo>
                  <a:lnTo>
                    <a:pt x="911" y="1086"/>
                  </a:lnTo>
                  <a:lnTo>
                    <a:pt x="866" y="1075"/>
                  </a:lnTo>
                  <a:lnTo>
                    <a:pt x="823" y="1060"/>
                  </a:lnTo>
                  <a:lnTo>
                    <a:pt x="783" y="1043"/>
                  </a:lnTo>
                  <a:lnTo>
                    <a:pt x="748" y="1023"/>
                  </a:lnTo>
                  <a:lnTo>
                    <a:pt x="714" y="1001"/>
                  </a:lnTo>
                  <a:lnTo>
                    <a:pt x="685" y="980"/>
                  </a:lnTo>
                  <a:lnTo>
                    <a:pt x="658" y="956"/>
                  </a:lnTo>
                  <a:lnTo>
                    <a:pt x="634" y="934"/>
                  </a:lnTo>
                  <a:lnTo>
                    <a:pt x="613" y="910"/>
                  </a:lnTo>
                  <a:lnTo>
                    <a:pt x="594" y="887"/>
                  </a:lnTo>
                  <a:lnTo>
                    <a:pt x="580" y="866"/>
                  </a:lnTo>
                  <a:lnTo>
                    <a:pt x="565" y="849"/>
                  </a:lnTo>
                  <a:lnTo>
                    <a:pt x="556" y="831"/>
                  </a:lnTo>
                  <a:lnTo>
                    <a:pt x="548" y="818"/>
                  </a:lnTo>
                  <a:lnTo>
                    <a:pt x="541" y="807"/>
                  </a:lnTo>
                  <a:lnTo>
                    <a:pt x="538" y="801"/>
                  </a:lnTo>
                  <a:lnTo>
                    <a:pt x="536" y="798"/>
                  </a:lnTo>
                  <a:lnTo>
                    <a:pt x="543" y="865"/>
                  </a:lnTo>
                  <a:lnTo>
                    <a:pt x="544" y="926"/>
                  </a:lnTo>
                  <a:lnTo>
                    <a:pt x="541" y="983"/>
                  </a:lnTo>
                  <a:lnTo>
                    <a:pt x="533" y="1036"/>
                  </a:lnTo>
                  <a:lnTo>
                    <a:pt x="522" y="1086"/>
                  </a:lnTo>
                  <a:lnTo>
                    <a:pt x="509" y="1132"/>
                  </a:lnTo>
                  <a:lnTo>
                    <a:pt x="491" y="1176"/>
                  </a:lnTo>
                  <a:lnTo>
                    <a:pt x="474" y="1219"/>
                  </a:lnTo>
                  <a:lnTo>
                    <a:pt x="453" y="1259"/>
                  </a:lnTo>
                  <a:lnTo>
                    <a:pt x="432" y="1299"/>
                  </a:lnTo>
                  <a:lnTo>
                    <a:pt x="411" y="1337"/>
                  </a:lnTo>
                  <a:lnTo>
                    <a:pt x="391" y="1377"/>
                  </a:lnTo>
                  <a:lnTo>
                    <a:pt x="370" y="1417"/>
                  </a:lnTo>
                  <a:lnTo>
                    <a:pt x="352" y="1459"/>
                  </a:lnTo>
                  <a:lnTo>
                    <a:pt x="335" y="1501"/>
                  </a:lnTo>
                  <a:lnTo>
                    <a:pt x="320" y="1547"/>
                  </a:lnTo>
                  <a:lnTo>
                    <a:pt x="307" y="1595"/>
                  </a:lnTo>
                  <a:lnTo>
                    <a:pt x="299" y="1645"/>
                  </a:lnTo>
                  <a:lnTo>
                    <a:pt x="294" y="1701"/>
                  </a:lnTo>
                  <a:lnTo>
                    <a:pt x="293" y="1760"/>
                  </a:lnTo>
                  <a:lnTo>
                    <a:pt x="298" y="1824"/>
                  </a:lnTo>
                  <a:lnTo>
                    <a:pt x="309" y="1893"/>
                  </a:lnTo>
                  <a:lnTo>
                    <a:pt x="306" y="1890"/>
                  </a:lnTo>
                  <a:lnTo>
                    <a:pt x="298" y="1880"/>
                  </a:lnTo>
                  <a:lnTo>
                    <a:pt x="286" y="1866"/>
                  </a:lnTo>
                  <a:lnTo>
                    <a:pt x="272" y="1845"/>
                  </a:lnTo>
                  <a:lnTo>
                    <a:pt x="254" y="1818"/>
                  </a:lnTo>
                  <a:lnTo>
                    <a:pt x="235" y="1787"/>
                  </a:lnTo>
                  <a:lnTo>
                    <a:pt x="214" y="1751"/>
                  </a:lnTo>
                  <a:lnTo>
                    <a:pt x="192" y="1709"/>
                  </a:lnTo>
                  <a:lnTo>
                    <a:pt x="171" y="1664"/>
                  </a:lnTo>
                  <a:lnTo>
                    <a:pt x="150" y="1614"/>
                  </a:lnTo>
                  <a:lnTo>
                    <a:pt x="130" y="1560"/>
                  </a:lnTo>
                  <a:lnTo>
                    <a:pt x="114" y="1502"/>
                  </a:lnTo>
                  <a:lnTo>
                    <a:pt x="99" y="1441"/>
                  </a:lnTo>
                  <a:lnTo>
                    <a:pt x="88" y="1377"/>
                  </a:lnTo>
                  <a:lnTo>
                    <a:pt x="80" y="1310"/>
                  </a:lnTo>
                  <a:lnTo>
                    <a:pt x="78" y="1240"/>
                  </a:lnTo>
                  <a:lnTo>
                    <a:pt x="82" y="1168"/>
                  </a:lnTo>
                  <a:lnTo>
                    <a:pt x="91" y="1092"/>
                  </a:lnTo>
                  <a:lnTo>
                    <a:pt x="109" y="1015"/>
                  </a:lnTo>
                  <a:lnTo>
                    <a:pt x="5" y="1139"/>
                  </a:lnTo>
                  <a:lnTo>
                    <a:pt x="5" y="1135"/>
                  </a:lnTo>
                  <a:lnTo>
                    <a:pt x="3" y="1126"/>
                  </a:lnTo>
                  <a:lnTo>
                    <a:pt x="1" y="1111"/>
                  </a:lnTo>
                  <a:lnTo>
                    <a:pt x="0" y="1091"/>
                  </a:lnTo>
                  <a:lnTo>
                    <a:pt x="0" y="1067"/>
                  </a:lnTo>
                  <a:lnTo>
                    <a:pt x="0" y="1038"/>
                  </a:lnTo>
                  <a:lnTo>
                    <a:pt x="1" y="1004"/>
                  </a:lnTo>
                  <a:lnTo>
                    <a:pt x="6" y="969"/>
                  </a:lnTo>
                  <a:lnTo>
                    <a:pt x="13" y="932"/>
                  </a:lnTo>
                  <a:lnTo>
                    <a:pt x="22" y="892"/>
                  </a:lnTo>
                  <a:lnTo>
                    <a:pt x="33" y="852"/>
                  </a:lnTo>
                  <a:lnTo>
                    <a:pt x="49" y="810"/>
                  </a:lnTo>
                  <a:lnTo>
                    <a:pt x="70" y="769"/>
                  </a:lnTo>
                  <a:lnTo>
                    <a:pt x="96" y="729"/>
                  </a:lnTo>
                  <a:lnTo>
                    <a:pt x="125" y="689"/>
                  </a:lnTo>
                  <a:lnTo>
                    <a:pt x="162" y="650"/>
                  </a:lnTo>
                  <a:lnTo>
                    <a:pt x="202" y="613"/>
                  </a:lnTo>
                  <a:lnTo>
                    <a:pt x="250" y="580"/>
                  </a:lnTo>
                  <a:lnTo>
                    <a:pt x="304" y="549"/>
                  </a:lnTo>
                  <a:lnTo>
                    <a:pt x="367" y="524"/>
                  </a:lnTo>
                  <a:lnTo>
                    <a:pt x="365" y="520"/>
                  </a:lnTo>
                  <a:lnTo>
                    <a:pt x="363" y="514"/>
                  </a:lnTo>
                  <a:lnTo>
                    <a:pt x="357" y="503"/>
                  </a:lnTo>
                  <a:lnTo>
                    <a:pt x="349" y="490"/>
                  </a:lnTo>
                  <a:lnTo>
                    <a:pt x="338" y="474"/>
                  </a:lnTo>
                  <a:lnTo>
                    <a:pt x="322" y="458"/>
                  </a:lnTo>
                  <a:lnTo>
                    <a:pt x="301" y="440"/>
                  </a:lnTo>
                  <a:lnTo>
                    <a:pt x="275" y="424"/>
                  </a:lnTo>
                  <a:lnTo>
                    <a:pt x="245" y="408"/>
                  </a:lnTo>
                  <a:lnTo>
                    <a:pt x="206" y="396"/>
                  </a:lnTo>
                  <a:lnTo>
                    <a:pt x="163" y="386"/>
                  </a:lnTo>
                  <a:lnTo>
                    <a:pt x="166" y="386"/>
                  </a:lnTo>
                  <a:lnTo>
                    <a:pt x="176" y="384"/>
                  </a:lnTo>
                  <a:lnTo>
                    <a:pt x="190" y="384"/>
                  </a:lnTo>
                  <a:lnTo>
                    <a:pt x="210" y="384"/>
                  </a:lnTo>
                  <a:lnTo>
                    <a:pt x="234" y="386"/>
                  </a:lnTo>
                  <a:lnTo>
                    <a:pt x="259" y="389"/>
                  </a:lnTo>
                  <a:lnTo>
                    <a:pt x="285" y="396"/>
                  </a:lnTo>
                  <a:lnTo>
                    <a:pt x="312" y="404"/>
                  </a:lnTo>
                  <a:lnTo>
                    <a:pt x="339" y="415"/>
                  </a:lnTo>
                  <a:lnTo>
                    <a:pt x="365" y="431"/>
                  </a:lnTo>
                  <a:lnTo>
                    <a:pt x="389" y="452"/>
                  </a:lnTo>
                  <a:lnTo>
                    <a:pt x="408" y="476"/>
                  </a:lnTo>
                  <a:lnTo>
                    <a:pt x="424" y="508"/>
                  </a:lnTo>
                  <a:lnTo>
                    <a:pt x="424" y="503"/>
                  </a:lnTo>
                  <a:lnTo>
                    <a:pt x="421" y="492"/>
                  </a:lnTo>
                  <a:lnTo>
                    <a:pt x="416" y="474"/>
                  </a:lnTo>
                  <a:lnTo>
                    <a:pt x="411" y="452"/>
                  </a:lnTo>
                  <a:lnTo>
                    <a:pt x="405" y="424"/>
                  </a:lnTo>
                  <a:lnTo>
                    <a:pt x="400" y="394"/>
                  </a:lnTo>
                  <a:lnTo>
                    <a:pt x="397" y="362"/>
                  </a:lnTo>
                  <a:lnTo>
                    <a:pt x="395" y="330"/>
                  </a:lnTo>
                  <a:lnTo>
                    <a:pt x="397" y="296"/>
                  </a:lnTo>
                  <a:lnTo>
                    <a:pt x="400" y="264"/>
                  </a:lnTo>
                  <a:lnTo>
                    <a:pt x="408" y="234"/>
                  </a:lnTo>
                  <a:lnTo>
                    <a:pt x="421" y="207"/>
                  </a:lnTo>
                  <a:lnTo>
                    <a:pt x="419" y="231"/>
                  </a:lnTo>
                  <a:lnTo>
                    <a:pt x="419" y="261"/>
                  </a:lnTo>
                  <a:lnTo>
                    <a:pt x="421" y="293"/>
                  </a:lnTo>
                  <a:lnTo>
                    <a:pt x="427" y="327"/>
                  </a:lnTo>
                  <a:lnTo>
                    <a:pt x="439" y="359"/>
                  </a:lnTo>
                  <a:lnTo>
                    <a:pt x="453" y="391"/>
                  </a:lnTo>
                  <a:lnTo>
                    <a:pt x="455" y="388"/>
                  </a:lnTo>
                  <a:lnTo>
                    <a:pt x="456" y="381"/>
                  </a:lnTo>
                  <a:lnTo>
                    <a:pt x="461" y="371"/>
                  </a:lnTo>
                  <a:lnTo>
                    <a:pt x="467" y="357"/>
                  </a:lnTo>
                  <a:lnTo>
                    <a:pt x="475" y="339"/>
                  </a:lnTo>
                  <a:lnTo>
                    <a:pt x="485" y="320"/>
                  </a:lnTo>
                  <a:lnTo>
                    <a:pt x="499" y="298"/>
                  </a:lnTo>
                  <a:lnTo>
                    <a:pt x="515" y="275"/>
                  </a:lnTo>
                  <a:lnTo>
                    <a:pt x="535" y="250"/>
                  </a:lnTo>
                  <a:lnTo>
                    <a:pt x="557" y="224"/>
                  </a:lnTo>
                  <a:lnTo>
                    <a:pt x="583" y="197"/>
                  </a:lnTo>
                  <a:lnTo>
                    <a:pt x="612" y="171"/>
                  </a:lnTo>
                  <a:lnTo>
                    <a:pt x="645" y="146"/>
                  </a:lnTo>
                  <a:lnTo>
                    <a:pt x="682" y="120"/>
                  </a:lnTo>
                  <a:lnTo>
                    <a:pt x="724" y="96"/>
                  </a:lnTo>
                  <a:lnTo>
                    <a:pt x="770" y="74"/>
                  </a:lnTo>
                  <a:lnTo>
                    <a:pt x="821" y="54"/>
                  </a:lnTo>
                  <a:lnTo>
                    <a:pt x="877" y="37"/>
                  </a:lnTo>
                  <a:lnTo>
                    <a:pt x="938" y="22"/>
                  </a:lnTo>
                  <a:lnTo>
                    <a:pt x="1004" y="11"/>
                  </a:lnTo>
                  <a:lnTo>
                    <a:pt x="1076" y="3"/>
                  </a:lnTo>
                  <a:lnTo>
                    <a:pt x="1154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7803DB7-5473-4B2C-9E3D-E2F256F00720}"/>
              </a:ext>
            </a:extLst>
          </p:cNvPr>
          <p:cNvGrpSpPr/>
          <p:nvPr userDrawn="1"/>
        </p:nvGrpSpPr>
        <p:grpSpPr>
          <a:xfrm>
            <a:off x="7604525" y="4414955"/>
            <a:ext cx="1305752" cy="1160263"/>
            <a:chOff x="7491215" y="4267806"/>
            <a:chExt cx="1177418" cy="1177418"/>
          </a:xfrm>
        </p:grpSpPr>
        <p:sp>
          <p:nvSpPr>
            <p:cNvPr id="127" name="Oval 126"/>
            <p:cNvSpPr/>
            <p:nvPr/>
          </p:nvSpPr>
          <p:spPr>
            <a:xfrm>
              <a:off x="7491215" y="426780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8" name="Freeform 38"/>
            <p:cNvSpPr>
              <a:spLocks/>
            </p:cNvSpPr>
            <p:nvPr/>
          </p:nvSpPr>
          <p:spPr bwMode="auto">
            <a:xfrm>
              <a:off x="7577524" y="4354115"/>
              <a:ext cx="1004799" cy="1004799"/>
            </a:xfrm>
            <a:custGeom>
              <a:avLst/>
              <a:gdLst>
                <a:gd name="T0" fmla="*/ 2156 w 4063"/>
                <a:gd name="T1" fmla="*/ 3 h 4063"/>
                <a:gd name="T2" fmla="*/ 2397 w 4063"/>
                <a:gd name="T3" fmla="*/ 33 h 4063"/>
                <a:gd name="T4" fmla="*/ 2629 w 4063"/>
                <a:gd name="T5" fmla="*/ 88 h 4063"/>
                <a:gd name="T6" fmla="*/ 2849 w 4063"/>
                <a:gd name="T7" fmla="*/ 171 h 4063"/>
                <a:gd name="T8" fmla="*/ 3057 w 4063"/>
                <a:gd name="T9" fmla="*/ 277 h 4063"/>
                <a:gd name="T10" fmla="*/ 3251 w 4063"/>
                <a:gd name="T11" fmla="*/ 406 h 4063"/>
                <a:gd name="T12" fmla="*/ 3427 w 4063"/>
                <a:gd name="T13" fmla="*/ 555 h 4063"/>
                <a:gd name="T14" fmla="*/ 3585 w 4063"/>
                <a:gd name="T15" fmla="*/ 723 h 4063"/>
                <a:gd name="T16" fmla="*/ 3725 w 4063"/>
                <a:gd name="T17" fmla="*/ 907 h 4063"/>
                <a:gd name="T18" fmla="*/ 3842 w 4063"/>
                <a:gd name="T19" fmla="*/ 1108 h 4063"/>
                <a:gd name="T20" fmla="*/ 3936 w 4063"/>
                <a:gd name="T21" fmla="*/ 1322 h 4063"/>
                <a:gd name="T22" fmla="*/ 4005 w 4063"/>
                <a:gd name="T23" fmla="*/ 1549 h 4063"/>
                <a:gd name="T24" fmla="*/ 4048 w 4063"/>
                <a:gd name="T25" fmla="*/ 1786 h 4063"/>
                <a:gd name="T26" fmla="*/ 4063 w 4063"/>
                <a:gd name="T27" fmla="*/ 2031 h 4063"/>
                <a:gd name="T28" fmla="*/ 4048 w 4063"/>
                <a:gd name="T29" fmla="*/ 2276 h 4063"/>
                <a:gd name="T30" fmla="*/ 4005 w 4063"/>
                <a:gd name="T31" fmla="*/ 2514 h 4063"/>
                <a:gd name="T32" fmla="*/ 3936 w 4063"/>
                <a:gd name="T33" fmla="*/ 2741 h 4063"/>
                <a:gd name="T34" fmla="*/ 3842 w 4063"/>
                <a:gd name="T35" fmla="*/ 2955 h 4063"/>
                <a:gd name="T36" fmla="*/ 3725 w 4063"/>
                <a:gd name="T37" fmla="*/ 3156 h 4063"/>
                <a:gd name="T38" fmla="*/ 3585 w 4063"/>
                <a:gd name="T39" fmla="*/ 3340 h 4063"/>
                <a:gd name="T40" fmla="*/ 3427 w 4063"/>
                <a:gd name="T41" fmla="*/ 3508 h 4063"/>
                <a:gd name="T42" fmla="*/ 3251 w 4063"/>
                <a:gd name="T43" fmla="*/ 3657 h 4063"/>
                <a:gd name="T44" fmla="*/ 3057 w 4063"/>
                <a:gd name="T45" fmla="*/ 3786 h 4063"/>
                <a:gd name="T46" fmla="*/ 2849 w 4063"/>
                <a:gd name="T47" fmla="*/ 3892 h 4063"/>
                <a:gd name="T48" fmla="*/ 2629 w 4063"/>
                <a:gd name="T49" fmla="*/ 3974 h 4063"/>
                <a:gd name="T50" fmla="*/ 2397 w 4063"/>
                <a:gd name="T51" fmla="*/ 4030 h 4063"/>
                <a:gd name="T52" fmla="*/ 2156 w 4063"/>
                <a:gd name="T53" fmla="*/ 4059 h 4063"/>
                <a:gd name="T54" fmla="*/ 1907 w 4063"/>
                <a:gd name="T55" fmla="*/ 4059 h 4063"/>
                <a:gd name="T56" fmla="*/ 1666 w 4063"/>
                <a:gd name="T57" fmla="*/ 4030 h 4063"/>
                <a:gd name="T58" fmla="*/ 1434 w 4063"/>
                <a:gd name="T59" fmla="*/ 3974 h 4063"/>
                <a:gd name="T60" fmla="*/ 1214 w 4063"/>
                <a:gd name="T61" fmla="*/ 3892 h 4063"/>
                <a:gd name="T62" fmla="*/ 1006 w 4063"/>
                <a:gd name="T63" fmla="*/ 3786 h 4063"/>
                <a:gd name="T64" fmla="*/ 813 w 4063"/>
                <a:gd name="T65" fmla="*/ 3657 h 4063"/>
                <a:gd name="T66" fmla="*/ 637 w 4063"/>
                <a:gd name="T67" fmla="*/ 3508 h 4063"/>
                <a:gd name="T68" fmla="*/ 478 w 4063"/>
                <a:gd name="T69" fmla="*/ 3340 h 4063"/>
                <a:gd name="T70" fmla="*/ 339 w 4063"/>
                <a:gd name="T71" fmla="*/ 3156 h 4063"/>
                <a:gd name="T72" fmla="*/ 222 w 4063"/>
                <a:gd name="T73" fmla="*/ 2955 h 4063"/>
                <a:gd name="T74" fmla="*/ 127 w 4063"/>
                <a:gd name="T75" fmla="*/ 2741 h 4063"/>
                <a:gd name="T76" fmla="*/ 58 w 4063"/>
                <a:gd name="T77" fmla="*/ 2514 h 4063"/>
                <a:gd name="T78" fmla="*/ 15 w 4063"/>
                <a:gd name="T79" fmla="*/ 2276 h 4063"/>
                <a:gd name="T80" fmla="*/ 0 w 4063"/>
                <a:gd name="T81" fmla="*/ 2031 h 4063"/>
                <a:gd name="T82" fmla="*/ 15 w 4063"/>
                <a:gd name="T83" fmla="*/ 1786 h 4063"/>
                <a:gd name="T84" fmla="*/ 58 w 4063"/>
                <a:gd name="T85" fmla="*/ 1549 h 4063"/>
                <a:gd name="T86" fmla="*/ 127 w 4063"/>
                <a:gd name="T87" fmla="*/ 1322 h 4063"/>
                <a:gd name="T88" fmla="*/ 222 w 4063"/>
                <a:gd name="T89" fmla="*/ 1108 h 4063"/>
                <a:gd name="T90" fmla="*/ 339 w 4063"/>
                <a:gd name="T91" fmla="*/ 907 h 4063"/>
                <a:gd name="T92" fmla="*/ 478 w 4063"/>
                <a:gd name="T93" fmla="*/ 723 h 4063"/>
                <a:gd name="T94" fmla="*/ 637 w 4063"/>
                <a:gd name="T95" fmla="*/ 555 h 4063"/>
                <a:gd name="T96" fmla="*/ 813 w 4063"/>
                <a:gd name="T97" fmla="*/ 406 h 4063"/>
                <a:gd name="T98" fmla="*/ 1006 w 4063"/>
                <a:gd name="T99" fmla="*/ 277 h 4063"/>
                <a:gd name="T100" fmla="*/ 1214 w 4063"/>
                <a:gd name="T101" fmla="*/ 171 h 4063"/>
                <a:gd name="T102" fmla="*/ 1434 w 4063"/>
                <a:gd name="T103" fmla="*/ 88 h 4063"/>
                <a:gd name="T104" fmla="*/ 1666 w 4063"/>
                <a:gd name="T105" fmla="*/ 33 h 4063"/>
                <a:gd name="T106" fmla="*/ 1907 w 4063"/>
                <a:gd name="T107" fmla="*/ 3 h 4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63" h="4063">
                  <a:moveTo>
                    <a:pt x="2030" y="0"/>
                  </a:moveTo>
                  <a:lnTo>
                    <a:pt x="2156" y="3"/>
                  </a:lnTo>
                  <a:lnTo>
                    <a:pt x="2277" y="15"/>
                  </a:lnTo>
                  <a:lnTo>
                    <a:pt x="2397" y="33"/>
                  </a:lnTo>
                  <a:lnTo>
                    <a:pt x="2514" y="58"/>
                  </a:lnTo>
                  <a:lnTo>
                    <a:pt x="2629" y="88"/>
                  </a:lnTo>
                  <a:lnTo>
                    <a:pt x="2741" y="127"/>
                  </a:lnTo>
                  <a:lnTo>
                    <a:pt x="2849" y="171"/>
                  </a:lnTo>
                  <a:lnTo>
                    <a:pt x="2955" y="221"/>
                  </a:lnTo>
                  <a:lnTo>
                    <a:pt x="3057" y="277"/>
                  </a:lnTo>
                  <a:lnTo>
                    <a:pt x="3156" y="338"/>
                  </a:lnTo>
                  <a:lnTo>
                    <a:pt x="3251" y="406"/>
                  </a:lnTo>
                  <a:lnTo>
                    <a:pt x="3340" y="478"/>
                  </a:lnTo>
                  <a:lnTo>
                    <a:pt x="3427" y="555"/>
                  </a:lnTo>
                  <a:lnTo>
                    <a:pt x="3508" y="636"/>
                  </a:lnTo>
                  <a:lnTo>
                    <a:pt x="3585" y="723"/>
                  </a:lnTo>
                  <a:lnTo>
                    <a:pt x="3657" y="812"/>
                  </a:lnTo>
                  <a:lnTo>
                    <a:pt x="3725" y="907"/>
                  </a:lnTo>
                  <a:lnTo>
                    <a:pt x="3786" y="1006"/>
                  </a:lnTo>
                  <a:lnTo>
                    <a:pt x="3842" y="1108"/>
                  </a:lnTo>
                  <a:lnTo>
                    <a:pt x="3892" y="1214"/>
                  </a:lnTo>
                  <a:lnTo>
                    <a:pt x="3936" y="1322"/>
                  </a:lnTo>
                  <a:lnTo>
                    <a:pt x="3975" y="1434"/>
                  </a:lnTo>
                  <a:lnTo>
                    <a:pt x="4005" y="1549"/>
                  </a:lnTo>
                  <a:lnTo>
                    <a:pt x="4030" y="1666"/>
                  </a:lnTo>
                  <a:lnTo>
                    <a:pt x="4048" y="1786"/>
                  </a:lnTo>
                  <a:lnTo>
                    <a:pt x="4060" y="1907"/>
                  </a:lnTo>
                  <a:lnTo>
                    <a:pt x="4063" y="2031"/>
                  </a:lnTo>
                  <a:lnTo>
                    <a:pt x="4060" y="2156"/>
                  </a:lnTo>
                  <a:lnTo>
                    <a:pt x="4048" y="2276"/>
                  </a:lnTo>
                  <a:lnTo>
                    <a:pt x="4030" y="2397"/>
                  </a:lnTo>
                  <a:lnTo>
                    <a:pt x="4005" y="2514"/>
                  </a:lnTo>
                  <a:lnTo>
                    <a:pt x="3975" y="2629"/>
                  </a:lnTo>
                  <a:lnTo>
                    <a:pt x="3936" y="2741"/>
                  </a:lnTo>
                  <a:lnTo>
                    <a:pt x="3892" y="2849"/>
                  </a:lnTo>
                  <a:lnTo>
                    <a:pt x="3842" y="2955"/>
                  </a:lnTo>
                  <a:lnTo>
                    <a:pt x="3786" y="3057"/>
                  </a:lnTo>
                  <a:lnTo>
                    <a:pt x="3725" y="3156"/>
                  </a:lnTo>
                  <a:lnTo>
                    <a:pt x="3657" y="3250"/>
                  </a:lnTo>
                  <a:lnTo>
                    <a:pt x="3585" y="3340"/>
                  </a:lnTo>
                  <a:lnTo>
                    <a:pt x="3508" y="3426"/>
                  </a:lnTo>
                  <a:lnTo>
                    <a:pt x="3427" y="3508"/>
                  </a:lnTo>
                  <a:lnTo>
                    <a:pt x="3340" y="3585"/>
                  </a:lnTo>
                  <a:lnTo>
                    <a:pt x="3251" y="3657"/>
                  </a:lnTo>
                  <a:lnTo>
                    <a:pt x="3156" y="3724"/>
                  </a:lnTo>
                  <a:lnTo>
                    <a:pt x="3057" y="3786"/>
                  </a:lnTo>
                  <a:lnTo>
                    <a:pt x="2955" y="3841"/>
                  </a:lnTo>
                  <a:lnTo>
                    <a:pt x="2849" y="3892"/>
                  </a:lnTo>
                  <a:lnTo>
                    <a:pt x="2741" y="3936"/>
                  </a:lnTo>
                  <a:lnTo>
                    <a:pt x="2629" y="3974"/>
                  </a:lnTo>
                  <a:lnTo>
                    <a:pt x="2514" y="4005"/>
                  </a:lnTo>
                  <a:lnTo>
                    <a:pt x="2397" y="4030"/>
                  </a:lnTo>
                  <a:lnTo>
                    <a:pt x="2277" y="4048"/>
                  </a:lnTo>
                  <a:lnTo>
                    <a:pt x="2156" y="4059"/>
                  </a:lnTo>
                  <a:lnTo>
                    <a:pt x="2030" y="4063"/>
                  </a:lnTo>
                  <a:lnTo>
                    <a:pt x="1907" y="4059"/>
                  </a:lnTo>
                  <a:lnTo>
                    <a:pt x="1787" y="4048"/>
                  </a:lnTo>
                  <a:lnTo>
                    <a:pt x="1666" y="4030"/>
                  </a:lnTo>
                  <a:lnTo>
                    <a:pt x="1549" y="4005"/>
                  </a:lnTo>
                  <a:lnTo>
                    <a:pt x="1434" y="3974"/>
                  </a:lnTo>
                  <a:lnTo>
                    <a:pt x="1322" y="3936"/>
                  </a:lnTo>
                  <a:lnTo>
                    <a:pt x="1214" y="3892"/>
                  </a:lnTo>
                  <a:lnTo>
                    <a:pt x="1108" y="3841"/>
                  </a:lnTo>
                  <a:lnTo>
                    <a:pt x="1006" y="3786"/>
                  </a:lnTo>
                  <a:lnTo>
                    <a:pt x="907" y="3724"/>
                  </a:lnTo>
                  <a:lnTo>
                    <a:pt x="813" y="3657"/>
                  </a:lnTo>
                  <a:lnTo>
                    <a:pt x="723" y="3585"/>
                  </a:lnTo>
                  <a:lnTo>
                    <a:pt x="637" y="3508"/>
                  </a:lnTo>
                  <a:lnTo>
                    <a:pt x="555" y="3426"/>
                  </a:lnTo>
                  <a:lnTo>
                    <a:pt x="478" y="3340"/>
                  </a:lnTo>
                  <a:lnTo>
                    <a:pt x="406" y="3250"/>
                  </a:lnTo>
                  <a:lnTo>
                    <a:pt x="339" y="3156"/>
                  </a:lnTo>
                  <a:lnTo>
                    <a:pt x="277" y="3057"/>
                  </a:lnTo>
                  <a:lnTo>
                    <a:pt x="222" y="2955"/>
                  </a:lnTo>
                  <a:lnTo>
                    <a:pt x="171" y="2849"/>
                  </a:lnTo>
                  <a:lnTo>
                    <a:pt x="127" y="2741"/>
                  </a:lnTo>
                  <a:lnTo>
                    <a:pt x="89" y="2629"/>
                  </a:lnTo>
                  <a:lnTo>
                    <a:pt x="58" y="2514"/>
                  </a:lnTo>
                  <a:lnTo>
                    <a:pt x="33" y="2397"/>
                  </a:lnTo>
                  <a:lnTo>
                    <a:pt x="15" y="2276"/>
                  </a:lnTo>
                  <a:lnTo>
                    <a:pt x="4" y="2156"/>
                  </a:lnTo>
                  <a:lnTo>
                    <a:pt x="0" y="2031"/>
                  </a:lnTo>
                  <a:lnTo>
                    <a:pt x="4" y="1907"/>
                  </a:lnTo>
                  <a:lnTo>
                    <a:pt x="15" y="1786"/>
                  </a:lnTo>
                  <a:lnTo>
                    <a:pt x="33" y="1666"/>
                  </a:lnTo>
                  <a:lnTo>
                    <a:pt x="58" y="1549"/>
                  </a:lnTo>
                  <a:lnTo>
                    <a:pt x="89" y="1434"/>
                  </a:lnTo>
                  <a:lnTo>
                    <a:pt x="127" y="1322"/>
                  </a:lnTo>
                  <a:lnTo>
                    <a:pt x="171" y="1214"/>
                  </a:lnTo>
                  <a:lnTo>
                    <a:pt x="222" y="1108"/>
                  </a:lnTo>
                  <a:lnTo>
                    <a:pt x="277" y="1006"/>
                  </a:lnTo>
                  <a:lnTo>
                    <a:pt x="339" y="907"/>
                  </a:lnTo>
                  <a:lnTo>
                    <a:pt x="406" y="812"/>
                  </a:lnTo>
                  <a:lnTo>
                    <a:pt x="478" y="723"/>
                  </a:lnTo>
                  <a:lnTo>
                    <a:pt x="555" y="636"/>
                  </a:lnTo>
                  <a:lnTo>
                    <a:pt x="637" y="555"/>
                  </a:lnTo>
                  <a:lnTo>
                    <a:pt x="723" y="478"/>
                  </a:lnTo>
                  <a:lnTo>
                    <a:pt x="813" y="406"/>
                  </a:lnTo>
                  <a:lnTo>
                    <a:pt x="907" y="338"/>
                  </a:lnTo>
                  <a:lnTo>
                    <a:pt x="1006" y="277"/>
                  </a:lnTo>
                  <a:lnTo>
                    <a:pt x="1108" y="221"/>
                  </a:lnTo>
                  <a:lnTo>
                    <a:pt x="1214" y="171"/>
                  </a:lnTo>
                  <a:lnTo>
                    <a:pt x="1322" y="127"/>
                  </a:lnTo>
                  <a:lnTo>
                    <a:pt x="1434" y="88"/>
                  </a:lnTo>
                  <a:lnTo>
                    <a:pt x="1549" y="58"/>
                  </a:lnTo>
                  <a:lnTo>
                    <a:pt x="1666" y="33"/>
                  </a:lnTo>
                  <a:lnTo>
                    <a:pt x="1787" y="15"/>
                  </a:lnTo>
                  <a:lnTo>
                    <a:pt x="1907" y="3"/>
                  </a:lnTo>
                  <a:lnTo>
                    <a:pt x="203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29" name="Group 128"/>
            <p:cNvGrpSpPr/>
            <p:nvPr/>
          </p:nvGrpSpPr>
          <p:grpSpPr>
            <a:xfrm>
              <a:off x="7689800" y="4425833"/>
              <a:ext cx="780246" cy="933081"/>
              <a:chOff x="-1231900" y="-5329238"/>
              <a:chExt cx="5008563" cy="5989638"/>
            </a:xfrm>
          </p:grpSpPr>
          <p:sp>
            <p:nvSpPr>
              <p:cNvPr id="130" name="Freeform 39"/>
              <p:cNvSpPr>
                <a:spLocks/>
              </p:cNvSpPr>
              <p:nvPr/>
            </p:nvSpPr>
            <p:spPr bwMode="auto">
              <a:xfrm>
                <a:off x="1257300" y="-1182688"/>
                <a:ext cx="30163" cy="3175"/>
              </a:xfrm>
              <a:custGeom>
                <a:avLst/>
                <a:gdLst>
                  <a:gd name="T0" fmla="*/ 0 w 19"/>
                  <a:gd name="T1" fmla="*/ 0 h 2"/>
                  <a:gd name="T2" fmla="*/ 19 w 19"/>
                  <a:gd name="T3" fmla="*/ 0 h 2"/>
                  <a:gd name="T4" fmla="*/ 16 w 19"/>
                  <a:gd name="T5" fmla="*/ 0 h 2"/>
                  <a:gd name="T6" fmla="*/ 13 w 19"/>
                  <a:gd name="T7" fmla="*/ 2 h 2"/>
                  <a:gd name="T8" fmla="*/ 8 w 19"/>
                  <a:gd name="T9" fmla="*/ 2 h 2"/>
                  <a:gd name="T10" fmla="*/ 6 w 19"/>
                  <a:gd name="T11" fmla="*/ 2 h 2"/>
                  <a:gd name="T12" fmla="*/ 3 w 19"/>
                  <a:gd name="T13" fmla="*/ 0 h 2"/>
                  <a:gd name="T14" fmla="*/ 0 w 19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lnTo>
                      <a:pt x="19" y="0"/>
                    </a:lnTo>
                    <a:lnTo>
                      <a:pt x="16" y="0"/>
                    </a:lnTo>
                    <a:lnTo>
                      <a:pt x="13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1" name="Freeform 40"/>
              <p:cNvSpPr>
                <a:spLocks/>
              </p:cNvSpPr>
              <p:nvPr/>
            </p:nvSpPr>
            <p:spPr bwMode="auto">
              <a:xfrm>
                <a:off x="-1231900" y="-1512888"/>
                <a:ext cx="5008563" cy="2173288"/>
              </a:xfrm>
              <a:custGeom>
                <a:avLst/>
                <a:gdLst>
                  <a:gd name="T0" fmla="*/ 1001 w 3155"/>
                  <a:gd name="T1" fmla="*/ 81 h 1369"/>
                  <a:gd name="T2" fmla="*/ 1012 w 3155"/>
                  <a:gd name="T3" fmla="*/ 208 h 1369"/>
                  <a:gd name="T4" fmla="*/ 1037 w 3155"/>
                  <a:gd name="T5" fmla="*/ 325 h 1369"/>
                  <a:gd name="T6" fmla="*/ 1064 w 3155"/>
                  <a:gd name="T7" fmla="*/ 418 h 1369"/>
                  <a:gd name="T8" fmla="*/ 1085 w 3155"/>
                  <a:gd name="T9" fmla="*/ 475 h 1369"/>
                  <a:gd name="T10" fmla="*/ 1112 w 3155"/>
                  <a:gd name="T11" fmla="*/ 446 h 1369"/>
                  <a:gd name="T12" fmla="*/ 1198 w 3155"/>
                  <a:gd name="T13" fmla="*/ 347 h 1369"/>
                  <a:gd name="T14" fmla="*/ 1303 w 3155"/>
                  <a:gd name="T15" fmla="*/ 281 h 1369"/>
                  <a:gd name="T16" fmla="*/ 1411 w 3155"/>
                  <a:gd name="T17" fmla="*/ 240 h 1369"/>
                  <a:gd name="T18" fmla="*/ 1505 w 3155"/>
                  <a:gd name="T19" fmla="*/ 218 h 1369"/>
                  <a:gd name="T20" fmla="*/ 1564 w 3155"/>
                  <a:gd name="T21" fmla="*/ 209 h 1369"/>
                  <a:gd name="T22" fmla="*/ 1581 w 3155"/>
                  <a:gd name="T23" fmla="*/ 208 h 1369"/>
                  <a:gd name="T24" fmla="*/ 1626 w 3155"/>
                  <a:gd name="T25" fmla="*/ 213 h 1369"/>
                  <a:gd name="T26" fmla="*/ 1709 w 3155"/>
                  <a:gd name="T27" fmla="*/ 230 h 1369"/>
                  <a:gd name="T28" fmla="*/ 1814 w 3155"/>
                  <a:gd name="T29" fmla="*/ 265 h 1369"/>
                  <a:gd name="T30" fmla="*/ 1922 w 3155"/>
                  <a:gd name="T31" fmla="*/ 322 h 1369"/>
                  <a:gd name="T32" fmla="*/ 2016 w 3155"/>
                  <a:gd name="T33" fmla="*/ 409 h 1369"/>
                  <a:gd name="T34" fmla="*/ 2063 w 3155"/>
                  <a:gd name="T35" fmla="*/ 484 h 1369"/>
                  <a:gd name="T36" fmla="*/ 2080 w 3155"/>
                  <a:gd name="T37" fmla="*/ 442 h 1369"/>
                  <a:gd name="T38" fmla="*/ 2107 w 3155"/>
                  <a:gd name="T39" fmla="*/ 359 h 1369"/>
                  <a:gd name="T40" fmla="*/ 2133 w 3155"/>
                  <a:gd name="T41" fmla="*/ 249 h 1369"/>
                  <a:gd name="T42" fmla="*/ 2150 w 3155"/>
                  <a:gd name="T43" fmla="*/ 123 h 1369"/>
                  <a:gd name="T44" fmla="*/ 2148 w 3155"/>
                  <a:gd name="T45" fmla="*/ 0 h 1369"/>
                  <a:gd name="T46" fmla="*/ 2356 w 3155"/>
                  <a:gd name="T47" fmla="*/ 63 h 1369"/>
                  <a:gd name="T48" fmla="*/ 2571 w 3155"/>
                  <a:gd name="T49" fmla="*/ 152 h 1369"/>
                  <a:gd name="T50" fmla="*/ 2783 w 3155"/>
                  <a:gd name="T51" fmla="*/ 271 h 1369"/>
                  <a:gd name="T52" fmla="*/ 2981 w 3155"/>
                  <a:gd name="T53" fmla="*/ 425 h 1369"/>
                  <a:gd name="T54" fmla="*/ 3155 w 3155"/>
                  <a:gd name="T55" fmla="*/ 617 h 1369"/>
                  <a:gd name="T56" fmla="*/ 2910 w 3155"/>
                  <a:gd name="T57" fmla="*/ 872 h 1369"/>
                  <a:gd name="T58" fmla="*/ 2623 w 3155"/>
                  <a:gd name="T59" fmla="*/ 1080 h 1369"/>
                  <a:gd name="T60" fmla="*/ 2300 w 3155"/>
                  <a:gd name="T61" fmla="*/ 1236 h 1369"/>
                  <a:gd name="T62" fmla="*/ 1951 w 3155"/>
                  <a:gd name="T63" fmla="*/ 1335 h 1369"/>
                  <a:gd name="T64" fmla="*/ 1576 w 3155"/>
                  <a:gd name="T65" fmla="*/ 1369 h 1369"/>
                  <a:gd name="T66" fmla="*/ 1205 w 3155"/>
                  <a:gd name="T67" fmla="*/ 1335 h 1369"/>
                  <a:gd name="T68" fmla="*/ 855 w 3155"/>
                  <a:gd name="T69" fmla="*/ 1236 h 1369"/>
                  <a:gd name="T70" fmla="*/ 532 w 3155"/>
                  <a:gd name="T71" fmla="*/ 1080 h 1369"/>
                  <a:gd name="T72" fmla="*/ 245 w 3155"/>
                  <a:gd name="T73" fmla="*/ 872 h 1369"/>
                  <a:gd name="T74" fmla="*/ 0 w 3155"/>
                  <a:gd name="T75" fmla="*/ 617 h 1369"/>
                  <a:gd name="T76" fmla="*/ 189 w 3155"/>
                  <a:gd name="T77" fmla="*/ 412 h 1369"/>
                  <a:gd name="T78" fmla="*/ 403 w 3155"/>
                  <a:gd name="T79" fmla="*/ 252 h 1369"/>
                  <a:gd name="T80" fmla="*/ 630 w 3155"/>
                  <a:gd name="T81" fmla="*/ 130 h 1369"/>
                  <a:gd name="T82" fmla="*/ 859 w 3155"/>
                  <a:gd name="T83" fmla="*/ 43 h 1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55" h="1369">
                    <a:moveTo>
                      <a:pt x="1005" y="0"/>
                    </a:moveTo>
                    <a:lnTo>
                      <a:pt x="1001" y="40"/>
                    </a:lnTo>
                    <a:lnTo>
                      <a:pt x="1001" y="81"/>
                    </a:lnTo>
                    <a:lnTo>
                      <a:pt x="1003" y="123"/>
                    </a:lnTo>
                    <a:lnTo>
                      <a:pt x="1008" y="166"/>
                    </a:lnTo>
                    <a:lnTo>
                      <a:pt x="1012" y="208"/>
                    </a:lnTo>
                    <a:lnTo>
                      <a:pt x="1020" y="249"/>
                    </a:lnTo>
                    <a:lnTo>
                      <a:pt x="1028" y="287"/>
                    </a:lnTo>
                    <a:lnTo>
                      <a:pt x="1037" y="325"/>
                    </a:lnTo>
                    <a:lnTo>
                      <a:pt x="1047" y="359"/>
                    </a:lnTo>
                    <a:lnTo>
                      <a:pt x="1056" y="390"/>
                    </a:lnTo>
                    <a:lnTo>
                      <a:pt x="1064" y="418"/>
                    </a:lnTo>
                    <a:lnTo>
                      <a:pt x="1073" y="442"/>
                    </a:lnTo>
                    <a:lnTo>
                      <a:pt x="1080" y="462"/>
                    </a:lnTo>
                    <a:lnTo>
                      <a:pt x="1085" y="475"/>
                    </a:lnTo>
                    <a:lnTo>
                      <a:pt x="1090" y="484"/>
                    </a:lnTo>
                    <a:lnTo>
                      <a:pt x="1091" y="486"/>
                    </a:lnTo>
                    <a:lnTo>
                      <a:pt x="1112" y="446"/>
                    </a:lnTo>
                    <a:lnTo>
                      <a:pt x="1138" y="409"/>
                    </a:lnTo>
                    <a:lnTo>
                      <a:pt x="1166" y="377"/>
                    </a:lnTo>
                    <a:lnTo>
                      <a:pt x="1198" y="347"/>
                    </a:lnTo>
                    <a:lnTo>
                      <a:pt x="1232" y="322"/>
                    </a:lnTo>
                    <a:lnTo>
                      <a:pt x="1267" y="300"/>
                    </a:lnTo>
                    <a:lnTo>
                      <a:pt x="1303" y="281"/>
                    </a:lnTo>
                    <a:lnTo>
                      <a:pt x="1340" y="265"/>
                    </a:lnTo>
                    <a:lnTo>
                      <a:pt x="1377" y="251"/>
                    </a:lnTo>
                    <a:lnTo>
                      <a:pt x="1411" y="240"/>
                    </a:lnTo>
                    <a:lnTo>
                      <a:pt x="1445" y="230"/>
                    </a:lnTo>
                    <a:lnTo>
                      <a:pt x="1477" y="223"/>
                    </a:lnTo>
                    <a:lnTo>
                      <a:pt x="1505" y="218"/>
                    </a:lnTo>
                    <a:lnTo>
                      <a:pt x="1530" y="213"/>
                    </a:lnTo>
                    <a:lnTo>
                      <a:pt x="1549" y="210"/>
                    </a:lnTo>
                    <a:lnTo>
                      <a:pt x="1564" y="209"/>
                    </a:lnTo>
                    <a:lnTo>
                      <a:pt x="1574" y="208"/>
                    </a:lnTo>
                    <a:lnTo>
                      <a:pt x="1576" y="208"/>
                    </a:lnTo>
                    <a:lnTo>
                      <a:pt x="1581" y="208"/>
                    </a:lnTo>
                    <a:lnTo>
                      <a:pt x="1591" y="209"/>
                    </a:lnTo>
                    <a:lnTo>
                      <a:pt x="1606" y="210"/>
                    </a:lnTo>
                    <a:lnTo>
                      <a:pt x="1626" y="213"/>
                    </a:lnTo>
                    <a:lnTo>
                      <a:pt x="1650" y="218"/>
                    </a:lnTo>
                    <a:lnTo>
                      <a:pt x="1679" y="223"/>
                    </a:lnTo>
                    <a:lnTo>
                      <a:pt x="1709" y="230"/>
                    </a:lnTo>
                    <a:lnTo>
                      <a:pt x="1744" y="240"/>
                    </a:lnTo>
                    <a:lnTo>
                      <a:pt x="1778" y="251"/>
                    </a:lnTo>
                    <a:lnTo>
                      <a:pt x="1814" y="265"/>
                    </a:lnTo>
                    <a:lnTo>
                      <a:pt x="1851" y="281"/>
                    </a:lnTo>
                    <a:lnTo>
                      <a:pt x="1887" y="300"/>
                    </a:lnTo>
                    <a:lnTo>
                      <a:pt x="1922" y="322"/>
                    </a:lnTo>
                    <a:lnTo>
                      <a:pt x="1956" y="347"/>
                    </a:lnTo>
                    <a:lnTo>
                      <a:pt x="1988" y="377"/>
                    </a:lnTo>
                    <a:lnTo>
                      <a:pt x="2016" y="409"/>
                    </a:lnTo>
                    <a:lnTo>
                      <a:pt x="2041" y="446"/>
                    </a:lnTo>
                    <a:lnTo>
                      <a:pt x="2060" y="486"/>
                    </a:lnTo>
                    <a:lnTo>
                      <a:pt x="2063" y="484"/>
                    </a:lnTo>
                    <a:lnTo>
                      <a:pt x="2066" y="475"/>
                    </a:lnTo>
                    <a:lnTo>
                      <a:pt x="2073" y="462"/>
                    </a:lnTo>
                    <a:lnTo>
                      <a:pt x="2080" y="442"/>
                    </a:lnTo>
                    <a:lnTo>
                      <a:pt x="2087" y="418"/>
                    </a:lnTo>
                    <a:lnTo>
                      <a:pt x="2097" y="390"/>
                    </a:lnTo>
                    <a:lnTo>
                      <a:pt x="2107" y="359"/>
                    </a:lnTo>
                    <a:lnTo>
                      <a:pt x="2116" y="325"/>
                    </a:lnTo>
                    <a:lnTo>
                      <a:pt x="2126" y="287"/>
                    </a:lnTo>
                    <a:lnTo>
                      <a:pt x="2133" y="249"/>
                    </a:lnTo>
                    <a:lnTo>
                      <a:pt x="2140" y="208"/>
                    </a:lnTo>
                    <a:lnTo>
                      <a:pt x="2146" y="166"/>
                    </a:lnTo>
                    <a:lnTo>
                      <a:pt x="2150" y="123"/>
                    </a:lnTo>
                    <a:lnTo>
                      <a:pt x="2151" y="81"/>
                    </a:lnTo>
                    <a:lnTo>
                      <a:pt x="2151" y="40"/>
                    </a:lnTo>
                    <a:lnTo>
                      <a:pt x="2148" y="0"/>
                    </a:lnTo>
                    <a:lnTo>
                      <a:pt x="2215" y="18"/>
                    </a:lnTo>
                    <a:lnTo>
                      <a:pt x="2284" y="39"/>
                    </a:lnTo>
                    <a:lnTo>
                      <a:pt x="2356" y="63"/>
                    </a:lnTo>
                    <a:lnTo>
                      <a:pt x="2427" y="90"/>
                    </a:lnTo>
                    <a:lnTo>
                      <a:pt x="2500" y="119"/>
                    </a:lnTo>
                    <a:lnTo>
                      <a:pt x="2571" y="152"/>
                    </a:lnTo>
                    <a:lnTo>
                      <a:pt x="2643" y="188"/>
                    </a:lnTo>
                    <a:lnTo>
                      <a:pt x="2714" y="228"/>
                    </a:lnTo>
                    <a:lnTo>
                      <a:pt x="2783" y="271"/>
                    </a:lnTo>
                    <a:lnTo>
                      <a:pt x="2852" y="319"/>
                    </a:lnTo>
                    <a:lnTo>
                      <a:pt x="2917" y="369"/>
                    </a:lnTo>
                    <a:lnTo>
                      <a:pt x="2981" y="425"/>
                    </a:lnTo>
                    <a:lnTo>
                      <a:pt x="3043" y="485"/>
                    </a:lnTo>
                    <a:lnTo>
                      <a:pt x="3101" y="549"/>
                    </a:lnTo>
                    <a:lnTo>
                      <a:pt x="3155" y="617"/>
                    </a:lnTo>
                    <a:lnTo>
                      <a:pt x="3079" y="707"/>
                    </a:lnTo>
                    <a:lnTo>
                      <a:pt x="2996" y="792"/>
                    </a:lnTo>
                    <a:lnTo>
                      <a:pt x="2910" y="872"/>
                    </a:lnTo>
                    <a:lnTo>
                      <a:pt x="2819" y="945"/>
                    </a:lnTo>
                    <a:lnTo>
                      <a:pt x="2723" y="1016"/>
                    </a:lnTo>
                    <a:lnTo>
                      <a:pt x="2623" y="1080"/>
                    </a:lnTo>
                    <a:lnTo>
                      <a:pt x="2520" y="1138"/>
                    </a:lnTo>
                    <a:lnTo>
                      <a:pt x="2411" y="1190"/>
                    </a:lnTo>
                    <a:lnTo>
                      <a:pt x="2300" y="1236"/>
                    </a:lnTo>
                    <a:lnTo>
                      <a:pt x="2187" y="1275"/>
                    </a:lnTo>
                    <a:lnTo>
                      <a:pt x="2070" y="1309"/>
                    </a:lnTo>
                    <a:lnTo>
                      <a:pt x="1951" y="1335"/>
                    </a:lnTo>
                    <a:lnTo>
                      <a:pt x="1829" y="1354"/>
                    </a:lnTo>
                    <a:lnTo>
                      <a:pt x="1704" y="1365"/>
                    </a:lnTo>
                    <a:lnTo>
                      <a:pt x="1576" y="1369"/>
                    </a:lnTo>
                    <a:lnTo>
                      <a:pt x="1451" y="1365"/>
                    </a:lnTo>
                    <a:lnTo>
                      <a:pt x="1326" y="1354"/>
                    </a:lnTo>
                    <a:lnTo>
                      <a:pt x="1205" y="1335"/>
                    </a:lnTo>
                    <a:lnTo>
                      <a:pt x="1085" y="1309"/>
                    </a:lnTo>
                    <a:lnTo>
                      <a:pt x="968" y="1275"/>
                    </a:lnTo>
                    <a:lnTo>
                      <a:pt x="855" y="1236"/>
                    </a:lnTo>
                    <a:lnTo>
                      <a:pt x="744" y="1190"/>
                    </a:lnTo>
                    <a:lnTo>
                      <a:pt x="636" y="1138"/>
                    </a:lnTo>
                    <a:lnTo>
                      <a:pt x="532" y="1080"/>
                    </a:lnTo>
                    <a:lnTo>
                      <a:pt x="433" y="1016"/>
                    </a:lnTo>
                    <a:lnTo>
                      <a:pt x="336" y="945"/>
                    </a:lnTo>
                    <a:lnTo>
                      <a:pt x="245" y="872"/>
                    </a:lnTo>
                    <a:lnTo>
                      <a:pt x="159" y="792"/>
                    </a:lnTo>
                    <a:lnTo>
                      <a:pt x="77" y="707"/>
                    </a:lnTo>
                    <a:lnTo>
                      <a:pt x="0" y="617"/>
                    </a:lnTo>
                    <a:lnTo>
                      <a:pt x="59" y="544"/>
                    </a:lnTo>
                    <a:lnTo>
                      <a:pt x="122" y="475"/>
                    </a:lnTo>
                    <a:lnTo>
                      <a:pt x="189" y="412"/>
                    </a:lnTo>
                    <a:lnTo>
                      <a:pt x="258" y="354"/>
                    </a:lnTo>
                    <a:lnTo>
                      <a:pt x="329" y="301"/>
                    </a:lnTo>
                    <a:lnTo>
                      <a:pt x="403" y="252"/>
                    </a:lnTo>
                    <a:lnTo>
                      <a:pt x="477" y="208"/>
                    </a:lnTo>
                    <a:lnTo>
                      <a:pt x="553" y="167"/>
                    </a:lnTo>
                    <a:lnTo>
                      <a:pt x="630" y="130"/>
                    </a:lnTo>
                    <a:lnTo>
                      <a:pt x="707" y="98"/>
                    </a:lnTo>
                    <a:lnTo>
                      <a:pt x="783" y="69"/>
                    </a:lnTo>
                    <a:lnTo>
                      <a:pt x="859" y="43"/>
                    </a:lnTo>
                    <a:lnTo>
                      <a:pt x="932" y="20"/>
                    </a:lnTo>
                    <a:lnTo>
                      <a:pt x="100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546100" y="-2027238"/>
                <a:ext cx="1454150" cy="838200"/>
              </a:xfrm>
              <a:custGeom>
                <a:avLst/>
                <a:gdLst>
                  <a:gd name="T0" fmla="*/ 19 w 916"/>
                  <a:gd name="T1" fmla="*/ 0 h 528"/>
                  <a:gd name="T2" fmla="*/ 62 w 916"/>
                  <a:gd name="T3" fmla="*/ 50 h 528"/>
                  <a:gd name="T4" fmla="*/ 107 w 916"/>
                  <a:gd name="T5" fmla="*/ 97 h 528"/>
                  <a:gd name="T6" fmla="*/ 152 w 916"/>
                  <a:gd name="T7" fmla="*/ 138 h 528"/>
                  <a:gd name="T8" fmla="*/ 200 w 916"/>
                  <a:gd name="T9" fmla="*/ 175 h 528"/>
                  <a:gd name="T10" fmla="*/ 248 w 916"/>
                  <a:gd name="T11" fmla="*/ 206 h 528"/>
                  <a:gd name="T12" fmla="*/ 299 w 916"/>
                  <a:gd name="T13" fmla="*/ 230 h 528"/>
                  <a:gd name="T14" fmla="*/ 350 w 916"/>
                  <a:gd name="T15" fmla="*/ 247 h 528"/>
                  <a:gd name="T16" fmla="*/ 403 w 916"/>
                  <a:gd name="T17" fmla="*/ 259 h 528"/>
                  <a:gd name="T18" fmla="*/ 456 w 916"/>
                  <a:gd name="T19" fmla="*/ 263 h 528"/>
                  <a:gd name="T20" fmla="*/ 512 w 916"/>
                  <a:gd name="T21" fmla="*/ 259 h 528"/>
                  <a:gd name="T22" fmla="*/ 565 w 916"/>
                  <a:gd name="T23" fmla="*/ 247 h 528"/>
                  <a:gd name="T24" fmla="*/ 616 w 916"/>
                  <a:gd name="T25" fmla="*/ 230 h 528"/>
                  <a:gd name="T26" fmla="*/ 667 w 916"/>
                  <a:gd name="T27" fmla="*/ 206 h 528"/>
                  <a:gd name="T28" fmla="*/ 715 w 916"/>
                  <a:gd name="T29" fmla="*/ 175 h 528"/>
                  <a:gd name="T30" fmla="*/ 763 w 916"/>
                  <a:gd name="T31" fmla="*/ 138 h 528"/>
                  <a:gd name="T32" fmla="*/ 809 w 916"/>
                  <a:gd name="T33" fmla="*/ 97 h 528"/>
                  <a:gd name="T34" fmla="*/ 853 w 916"/>
                  <a:gd name="T35" fmla="*/ 50 h 528"/>
                  <a:gd name="T36" fmla="*/ 896 w 916"/>
                  <a:gd name="T37" fmla="*/ 0 h 528"/>
                  <a:gd name="T38" fmla="*/ 905 w 916"/>
                  <a:gd name="T39" fmla="*/ 42 h 528"/>
                  <a:gd name="T40" fmla="*/ 912 w 916"/>
                  <a:gd name="T41" fmla="*/ 84 h 528"/>
                  <a:gd name="T42" fmla="*/ 916 w 916"/>
                  <a:gd name="T43" fmla="*/ 126 h 528"/>
                  <a:gd name="T44" fmla="*/ 916 w 916"/>
                  <a:gd name="T45" fmla="*/ 128 h 528"/>
                  <a:gd name="T46" fmla="*/ 914 w 916"/>
                  <a:gd name="T47" fmla="*/ 135 h 528"/>
                  <a:gd name="T48" fmla="*/ 914 w 916"/>
                  <a:gd name="T49" fmla="*/ 147 h 528"/>
                  <a:gd name="T50" fmla="*/ 912 w 916"/>
                  <a:gd name="T51" fmla="*/ 160 h 528"/>
                  <a:gd name="T52" fmla="*/ 907 w 916"/>
                  <a:gd name="T53" fmla="*/ 177 h 528"/>
                  <a:gd name="T54" fmla="*/ 901 w 916"/>
                  <a:gd name="T55" fmla="*/ 196 h 528"/>
                  <a:gd name="T56" fmla="*/ 891 w 916"/>
                  <a:gd name="T57" fmla="*/ 218 h 528"/>
                  <a:gd name="T58" fmla="*/ 879 w 916"/>
                  <a:gd name="T59" fmla="*/ 241 h 528"/>
                  <a:gd name="T60" fmla="*/ 863 w 916"/>
                  <a:gd name="T61" fmla="*/ 266 h 528"/>
                  <a:gd name="T62" fmla="*/ 842 w 916"/>
                  <a:gd name="T63" fmla="*/ 293 h 528"/>
                  <a:gd name="T64" fmla="*/ 817 w 916"/>
                  <a:gd name="T65" fmla="*/ 320 h 528"/>
                  <a:gd name="T66" fmla="*/ 786 w 916"/>
                  <a:gd name="T67" fmla="*/ 350 h 528"/>
                  <a:gd name="T68" fmla="*/ 751 w 916"/>
                  <a:gd name="T69" fmla="*/ 379 h 528"/>
                  <a:gd name="T70" fmla="*/ 709 w 916"/>
                  <a:gd name="T71" fmla="*/ 409 h 528"/>
                  <a:gd name="T72" fmla="*/ 660 w 916"/>
                  <a:gd name="T73" fmla="*/ 440 h 528"/>
                  <a:gd name="T74" fmla="*/ 603 w 916"/>
                  <a:gd name="T75" fmla="*/ 469 h 528"/>
                  <a:gd name="T76" fmla="*/ 539 w 916"/>
                  <a:gd name="T77" fmla="*/ 499 h 528"/>
                  <a:gd name="T78" fmla="*/ 467 w 916"/>
                  <a:gd name="T79" fmla="*/ 528 h 528"/>
                  <a:gd name="T80" fmla="*/ 448 w 916"/>
                  <a:gd name="T81" fmla="*/ 528 h 528"/>
                  <a:gd name="T82" fmla="*/ 376 w 916"/>
                  <a:gd name="T83" fmla="*/ 499 h 528"/>
                  <a:gd name="T84" fmla="*/ 312 w 916"/>
                  <a:gd name="T85" fmla="*/ 469 h 528"/>
                  <a:gd name="T86" fmla="*/ 256 w 916"/>
                  <a:gd name="T87" fmla="*/ 440 h 528"/>
                  <a:gd name="T88" fmla="*/ 206 w 916"/>
                  <a:gd name="T89" fmla="*/ 409 h 528"/>
                  <a:gd name="T90" fmla="*/ 165 w 916"/>
                  <a:gd name="T91" fmla="*/ 379 h 528"/>
                  <a:gd name="T92" fmla="*/ 129 w 916"/>
                  <a:gd name="T93" fmla="*/ 350 h 528"/>
                  <a:gd name="T94" fmla="*/ 98 w 916"/>
                  <a:gd name="T95" fmla="*/ 320 h 528"/>
                  <a:gd name="T96" fmla="*/ 73 w 916"/>
                  <a:gd name="T97" fmla="*/ 293 h 528"/>
                  <a:gd name="T98" fmla="*/ 53 w 916"/>
                  <a:gd name="T99" fmla="*/ 266 h 528"/>
                  <a:gd name="T100" fmla="*/ 37 w 916"/>
                  <a:gd name="T101" fmla="*/ 241 h 528"/>
                  <a:gd name="T102" fmla="*/ 24 w 916"/>
                  <a:gd name="T103" fmla="*/ 218 h 528"/>
                  <a:gd name="T104" fmla="*/ 14 w 916"/>
                  <a:gd name="T105" fmla="*/ 196 h 528"/>
                  <a:gd name="T106" fmla="*/ 8 w 916"/>
                  <a:gd name="T107" fmla="*/ 177 h 528"/>
                  <a:gd name="T108" fmla="*/ 3 w 916"/>
                  <a:gd name="T109" fmla="*/ 160 h 528"/>
                  <a:gd name="T110" fmla="*/ 1 w 916"/>
                  <a:gd name="T111" fmla="*/ 147 h 528"/>
                  <a:gd name="T112" fmla="*/ 1 w 916"/>
                  <a:gd name="T113" fmla="*/ 135 h 528"/>
                  <a:gd name="T114" fmla="*/ 0 w 916"/>
                  <a:gd name="T115" fmla="*/ 128 h 528"/>
                  <a:gd name="T116" fmla="*/ 0 w 916"/>
                  <a:gd name="T117" fmla="*/ 126 h 528"/>
                  <a:gd name="T118" fmla="*/ 3 w 916"/>
                  <a:gd name="T119" fmla="*/ 84 h 528"/>
                  <a:gd name="T120" fmla="*/ 11 w 916"/>
                  <a:gd name="T121" fmla="*/ 42 h 528"/>
                  <a:gd name="T122" fmla="*/ 19 w 916"/>
                  <a:gd name="T123" fmla="*/ 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16" h="528">
                    <a:moveTo>
                      <a:pt x="19" y="0"/>
                    </a:moveTo>
                    <a:lnTo>
                      <a:pt x="62" y="50"/>
                    </a:lnTo>
                    <a:lnTo>
                      <a:pt x="107" y="97"/>
                    </a:lnTo>
                    <a:lnTo>
                      <a:pt x="152" y="138"/>
                    </a:lnTo>
                    <a:lnTo>
                      <a:pt x="200" y="175"/>
                    </a:lnTo>
                    <a:lnTo>
                      <a:pt x="248" y="206"/>
                    </a:lnTo>
                    <a:lnTo>
                      <a:pt x="299" y="230"/>
                    </a:lnTo>
                    <a:lnTo>
                      <a:pt x="350" y="247"/>
                    </a:lnTo>
                    <a:lnTo>
                      <a:pt x="403" y="259"/>
                    </a:lnTo>
                    <a:lnTo>
                      <a:pt x="456" y="263"/>
                    </a:lnTo>
                    <a:lnTo>
                      <a:pt x="512" y="259"/>
                    </a:lnTo>
                    <a:lnTo>
                      <a:pt x="565" y="247"/>
                    </a:lnTo>
                    <a:lnTo>
                      <a:pt x="616" y="230"/>
                    </a:lnTo>
                    <a:lnTo>
                      <a:pt x="667" y="206"/>
                    </a:lnTo>
                    <a:lnTo>
                      <a:pt x="715" y="175"/>
                    </a:lnTo>
                    <a:lnTo>
                      <a:pt x="763" y="138"/>
                    </a:lnTo>
                    <a:lnTo>
                      <a:pt x="809" y="97"/>
                    </a:lnTo>
                    <a:lnTo>
                      <a:pt x="853" y="50"/>
                    </a:lnTo>
                    <a:lnTo>
                      <a:pt x="896" y="0"/>
                    </a:lnTo>
                    <a:lnTo>
                      <a:pt x="905" y="42"/>
                    </a:lnTo>
                    <a:lnTo>
                      <a:pt x="912" y="84"/>
                    </a:lnTo>
                    <a:lnTo>
                      <a:pt x="916" y="126"/>
                    </a:lnTo>
                    <a:lnTo>
                      <a:pt x="916" y="128"/>
                    </a:lnTo>
                    <a:lnTo>
                      <a:pt x="914" y="135"/>
                    </a:lnTo>
                    <a:lnTo>
                      <a:pt x="914" y="147"/>
                    </a:lnTo>
                    <a:lnTo>
                      <a:pt x="912" y="160"/>
                    </a:lnTo>
                    <a:lnTo>
                      <a:pt x="907" y="177"/>
                    </a:lnTo>
                    <a:lnTo>
                      <a:pt x="901" y="196"/>
                    </a:lnTo>
                    <a:lnTo>
                      <a:pt x="891" y="218"/>
                    </a:lnTo>
                    <a:lnTo>
                      <a:pt x="879" y="241"/>
                    </a:lnTo>
                    <a:lnTo>
                      <a:pt x="863" y="266"/>
                    </a:lnTo>
                    <a:lnTo>
                      <a:pt x="842" y="293"/>
                    </a:lnTo>
                    <a:lnTo>
                      <a:pt x="817" y="320"/>
                    </a:lnTo>
                    <a:lnTo>
                      <a:pt x="786" y="350"/>
                    </a:lnTo>
                    <a:lnTo>
                      <a:pt x="751" y="379"/>
                    </a:lnTo>
                    <a:lnTo>
                      <a:pt x="709" y="409"/>
                    </a:lnTo>
                    <a:lnTo>
                      <a:pt x="660" y="440"/>
                    </a:lnTo>
                    <a:lnTo>
                      <a:pt x="603" y="469"/>
                    </a:lnTo>
                    <a:lnTo>
                      <a:pt x="539" y="499"/>
                    </a:lnTo>
                    <a:lnTo>
                      <a:pt x="467" y="528"/>
                    </a:lnTo>
                    <a:lnTo>
                      <a:pt x="448" y="528"/>
                    </a:lnTo>
                    <a:lnTo>
                      <a:pt x="376" y="499"/>
                    </a:lnTo>
                    <a:lnTo>
                      <a:pt x="312" y="469"/>
                    </a:lnTo>
                    <a:lnTo>
                      <a:pt x="256" y="440"/>
                    </a:lnTo>
                    <a:lnTo>
                      <a:pt x="206" y="409"/>
                    </a:lnTo>
                    <a:lnTo>
                      <a:pt x="165" y="379"/>
                    </a:lnTo>
                    <a:lnTo>
                      <a:pt x="129" y="350"/>
                    </a:lnTo>
                    <a:lnTo>
                      <a:pt x="98" y="320"/>
                    </a:lnTo>
                    <a:lnTo>
                      <a:pt x="73" y="293"/>
                    </a:lnTo>
                    <a:lnTo>
                      <a:pt x="53" y="266"/>
                    </a:lnTo>
                    <a:lnTo>
                      <a:pt x="37" y="241"/>
                    </a:lnTo>
                    <a:lnTo>
                      <a:pt x="24" y="218"/>
                    </a:lnTo>
                    <a:lnTo>
                      <a:pt x="14" y="196"/>
                    </a:lnTo>
                    <a:lnTo>
                      <a:pt x="8" y="177"/>
                    </a:lnTo>
                    <a:lnTo>
                      <a:pt x="3" y="160"/>
                    </a:lnTo>
                    <a:lnTo>
                      <a:pt x="1" y="147"/>
                    </a:lnTo>
                    <a:lnTo>
                      <a:pt x="1" y="135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3" y="84"/>
                    </a:lnTo>
                    <a:lnTo>
                      <a:pt x="11" y="42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1270000" y="-1827213"/>
                <a:ext cx="915988" cy="1090613"/>
              </a:xfrm>
              <a:custGeom>
                <a:avLst/>
                <a:gdLst>
                  <a:gd name="T0" fmla="*/ 460 w 577"/>
                  <a:gd name="T1" fmla="*/ 0 h 687"/>
                  <a:gd name="T2" fmla="*/ 488 w 577"/>
                  <a:gd name="T3" fmla="*/ 18 h 687"/>
                  <a:gd name="T4" fmla="*/ 511 w 577"/>
                  <a:gd name="T5" fmla="*/ 41 h 687"/>
                  <a:gd name="T6" fmla="*/ 531 w 577"/>
                  <a:gd name="T7" fmla="*/ 69 h 687"/>
                  <a:gd name="T8" fmla="*/ 547 w 577"/>
                  <a:gd name="T9" fmla="*/ 98 h 687"/>
                  <a:gd name="T10" fmla="*/ 559 w 577"/>
                  <a:gd name="T11" fmla="*/ 131 h 687"/>
                  <a:gd name="T12" fmla="*/ 568 w 577"/>
                  <a:gd name="T13" fmla="*/ 166 h 687"/>
                  <a:gd name="T14" fmla="*/ 574 w 577"/>
                  <a:gd name="T15" fmla="*/ 203 h 687"/>
                  <a:gd name="T16" fmla="*/ 577 w 577"/>
                  <a:gd name="T17" fmla="*/ 240 h 687"/>
                  <a:gd name="T18" fmla="*/ 577 w 577"/>
                  <a:gd name="T19" fmla="*/ 279 h 687"/>
                  <a:gd name="T20" fmla="*/ 575 w 577"/>
                  <a:gd name="T21" fmla="*/ 318 h 687"/>
                  <a:gd name="T22" fmla="*/ 572 w 577"/>
                  <a:gd name="T23" fmla="*/ 358 h 687"/>
                  <a:gd name="T24" fmla="*/ 567 w 577"/>
                  <a:gd name="T25" fmla="*/ 397 h 687"/>
                  <a:gd name="T26" fmla="*/ 561 w 577"/>
                  <a:gd name="T27" fmla="*/ 435 h 687"/>
                  <a:gd name="T28" fmla="*/ 553 w 577"/>
                  <a:gd name="T29" fmla="*/ 472 h 687"/>
                  <a:gd name="T30" fmla="*/ 545 w 577"/>
                  <a:gd name="T31" fmla="*/ 508 h 687"/>
                  <a:gd name="T32" fmla="*/ 536 w 577"/>
                  <a:gd name="T33" fmla="*/ 543 h 687"/>
                  <a:gd name="T34" fmla="*/ 527 w 577"/>
                  <a:gd name="T35" fmla="*/ 573 h 687"/>
                  <a:gd name="T36" fmla="*/ 518 w 577"/>
                  <a:gd name="T37" fmla="*/ 602 h 687"/>
                  <a:gd name="T38" fmla="*/ 510 w 577"/>
                  <a:gd name="T39" fmla="*/ 626 h 687"/>
                  <a:gd name="T40" fmla="*/ 503 w 577"/>
                  <a:gd name="T41" fmla="*/ 648 h 687"/>
                  <a:gd name="T42" fmla="*/ 495 w 577"/>
                  <a:gd name="T43" fmla="*/ 666 h 687"/>
                  <a:gd name="T44" fmla="*/ 490 w 577"/>
                  <a:gd name="T45" fmla="*/ 678 h 687"/>
                  <a:gd name="T46" fmla="*/ 487 w 577"/>
                  <a:gd name="T47" fmla="*/ 685 h 687"/>
                  <a:gd name="T48" fmla="*/ 484 w 577"/>
                  <a:gd name="T49" fmla="*/ 687 h 687"/>
                  <a:gd name="T50" fmla="*/ 465 w 577"/>
                  <a:gd name="T51" fmla="*/ 647 h 687"/>
                  <a:gd name="T52" fmla="*/ 440 w 577"/>
                  <a:gd name="T53" fmla="*/ 610 h 687"/>
                  <a:gd name="T54" fmla="*/ 412 w 577"/>
                  <a:gd name="T55" fmla="*/ 578 h 687"/>
                  <a:gd name="T56" fmla="*/ 380 w 577"/>
                  <a:gd name="T57" fmla="*/ 549 h 687"/>
                  <a:gd name="T58" fmla="*/ 346 w 577"/>
                  <a:gd name="T59" fmla="*/ 523 h 687"/>
                  <a:gd name="T60" fmla="*/ 311 w 577"/>
                  <a:gd name="T61" fmla="*/ 501 h 687"/>
                  <a:gd name="T62" fmla="*/ 275 w 577"/>
                  <a:gd name="T63" fmla="*/ 482 h 687"/>
                  <a:gd name="T64" fmla="*/ 238 w 577"/>
                  <a:gd name="T65" fmla="*/ 466 h 687"/>
                  <a:gd name="T66" fmla="*/ 202 w 577"/>
                  <a:gd name="T67" fmla="*/ 451 h 687"/>
                  <a:gd name="T68" fmla="*/ 168 w 577"/>
                  <a:gd name="T69" fmla="*/ 440 h 687"/>
                  <a:gd name="T70" fmla="*/ 133 w 577"/>
                  <a:gd name="T71" fmla="*/ 432 h 687"/>
                  <a:gd name="T72" fmla="*/ 103 w 577"/>
                  <a:gd name="T73" fmla="*/ 424 h 687"/>
                  <a:gd name="T74" fmla="*/ 74 w 577"/>
                  <a:gd name="T75" fmla="*/ 418 h 687"/>
                  <a:gd name="T76" fmla="*/ 50 w 577"/>
                  <a:gd name="T77" fmla="*/ 415 h 687"/>
                  <a:gd name="T78" fmla="*/ 30 w 577"/>
                  <a:gd name="T79" fmla="*/ 412 h 687"/>
                  <a:gd name="T80" fmla="*/ 15 w 577"/>
                  <a:gd name="T81" fmla="*/ 410 h 687"/>
                  <a:gd name="T82" fmla="*/ 5 w 577"/>
                  <a:gd name="T83" fmla="*/ 410 h 687"/>
                  <a:gd name="T84" fmla="*/ 0 w 577"/>
                  <a:gd name="T85" fmla="*/ 408 h 687"/>
                  <a:gd name="T86" fmla="*/ 73 w 577"/>
                  <a:gd name="T87" fmla="*/ 380 h 687"/>
                  <a:gd name="T88" fmla="*/ 137 w 577"/>
                  <a:gd name="T89" fmla="*/ 350 h 687"/>
                  <a:gd name="T90" fmla="*/ 194 w 577"/>
                  <a:gd name="T91" fmla="*/ 321 h 687"/>
                  <a:gd name="T92" fmla="*/ 243 w 577"/>
                  <a:gd name="T93" fmla="*/ 291 h 687"/>
                  <a:gd name="T94" fmla="*/ 286 w 577"/>
                  <a:gd name="T95" fmla="*/ 262 h 687"/>
                  <a:gd name="T96" fmla="*/ 323 w 577"/>
                  <a:gd name="T97" fmla="*/ 232 h 687"/>
                  <a:gd name="T98" fmla="*/ 354 w 577"/>
                  <a:gd name="T99" fmla="*/ 204 h 687"/>
                  <a:gd name="T100" fmla="*/ 380 w 577"/>
                  <a:gd name="T101" fmla="*/ 177 h 687"/>
                  <a:gd name="T102" fmla="*/ 402 w 577"/>
                  <a:gd name="T103" fmla="*/ 150 h 687"/>
                  <a:gd name="T104" fmla="*/ 419 w 577"/>
                  <a:gd name="T105" fmla="*/ 124 h 687"/>
                  <a:gd name="T106" fmla="*/ 431 w 577"/>
                  <a:gd name="T107" fmla="*/ 101 h 687"/>
                  <a:gd name="T108" fmla="*/ 442 w 577"/>
                  <a:gd name="T109" fmla="*/ 80 h 687"/>
                  <a:gd name="T110" fmla="*/ 450 w 577"/>
                  <a:gd name="T111" fmla="*/ 60 h 687"/>
                  <a:gd name="T112" fmla="*/ 455 w 577"/>
                  <a:gd name="T113" fmla="*/ 41 h 687"/>
                  <a:gd name="T114" fmla="*/ 457 w 577"/>
                  <a:gd name="T115" fmla="*/ 28 h 687"/>
                  <a:gd name="T116" fmla="*/ 458 w 577"/>
                  <a:gd name="T117" fmla="*/ 16 h 687"/>
                  <a:gd name="T118" fmla="*/ 460 w 577"/>
                  <a:gd name="T119" fmla="*/ 7 h 687"/>
                  <a:gd name="T120" fmla="*/ 460 w 577"/>
                  <a:gd name="T121" fmla="*/ 1 h 687"/>
                  <a:gd name="T122" fmla="*/ 460 w 577"/>
                  <a:gd name="T123" fmla="*/ 0 h 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7" h="687">
                    <a:moveTo>
                      <a:pt x="460" y="0"/>
                    </a:moveTo>
                    <a:lnTo>
                      <a:pt x="488" y="18"/>
                    </a:lnTo>
                    <a:lnTo>
                      <a:pt x="511" y="41"/>
                    </a:lnTo>
                    <a:lnTo>
                      <a:pt x="531" y="69"/>
                    </a:lnTo>
                    <a:lnTo>
                      <a:pt x="547" y="98"/>
                    </a:lnTo>
                    <a:lnTo>
                      <a:pt x="559" y="131"/>
                    </a:lnTo>
                    <a:lnTo>
                      <a:pt x="568" y="166"/>
                    </a:lnTo>
                    <a:lnTo>
                      <a:pt x="574" y="203"/>
                    </a:lnTo>
                    <a:lnTo>
                      <a:pt x="577" y="240"/>
                    </a:lnTo>
                    <a:lnTo>
                      <a:pt x="577" y="279"/>
                    </a:lnTo>
                    <a:lnTo>
                      <a:pt x="575" y="318"/>
                    </a:lnTo>
                    <a:lnTo>
                      <a:pt x="572" y="358"/>
                    </a:lnTo>
                    <a:lnTo>
                      <a:pt x="567" y="397"/>
                    </a:lnTo>
                    <a:lnTo>
                      <a:pt x="561" y="435"/>
                    </a:lnTo>
                    <a:lnTo>
                      <a:pt x="553" y="472"/>
                    </a:lnTo>
                    <a:lnTo>
                      <a:pt x="545" y="508"/>
                    </a:lnTo>
                    <a:lnTo>
                      <a:pt x="536" y="543"/>
                    </a:lnTo>
                    <a:lnTo>
                      <a:pt x="527" y="573"/>
                    </a:lnTo>
                    <a:lnTo>
                      <a:pt x="518" y="602"/>
                    </a:lnTo>
                    <a:lnTo>
                      <a:pt x="510" y="626"/>
                    </a:lnTo>
                    <a:lnTo>
                      <a:pt x="503" y="648"/>
                    </a:lnTo>
                    <a:lnTo>
                      <a:pt x="495" y="666"/>
                    </a:lnTo>
                    <a:lnTo>
                      <a:pt x="490" y="678"/>
                    </a:lnTo>
                    <a:lnTo>
                      <a:pt x="487" y="685"/>
                    </a:lnTo>
                    <a:lnTo>
                      <a:pt x="484" y="687"/>
                    </a:lnTo>
                    <a:lnTo>
                      <a:pt x="465" y="647"/>
                    </a:lnTo>
                    <a:lnTo>
                      <a:pt x="440" y="610"/>
                    </a:lnTo>
                    <a:lnTo>
                      <a:pt x="412" y="578"/>
                    </a:lnTo>
                    <a:lnTo>
                      <a:pt x="380" y="549"/>
                    </a:lnTo>
                    <a:lnTo>
                      <a:pt x="346" y="523"/>
                    </a:lnTo>
                    <a:lnTo>
                      <a:pt x="311" y="501"/>
                    </a:lnTo>
                    <a:lnTo>
                      <a:pt x="275" y="482"/>
                    </a:lnTo>
                    <a:lnTo>
                      <a:pt x="238" y="466"/>
                    </a:lnTo>
                    <a:lnTo>
                      <a:pt x="202" y="451"/>
                    </a:lnTo>
                    <a:lnTo>
                      <a:pt x="168" y="440"/>
                    </a:lnTo>
                    <a:lnTo>
                      <a:pt x="133" y="432"/>
                    </a:lnTo>
                    <a:lnTo>
                      <a:pt x="103" y="424"/>
                    </a:lnTo>
                    <a:lnTo>
                      <a:pt x="74" y="418"/>
                    </a:lnTo>
                    <a:lnTo>
                      <a:pt x="50" y="415"/>
                    </a:lnTo>
                    <a:lnTo>
                      <a:pt x="30" y="412"/>
                    </a:lnTo>
                    <a:lnTo>
                      <a:pt x="15" y="410"/>
                    </a:lnTo>
                    <a:lnTo>
                      <a:pt x="5" y="410"/>
                    </a:lnTo>
                    <a:lnTo>
                      <a:pt x="0" y="408"/>
                    </a:lnTo>
                    <a:lnTo>
                      <a:pt x="73" y="380"/>
                    </a:lnTo>
                    <a:lnTo>
                      <a:pt x="137" y="350"/>
                    </a:lnTo>
                    <a:lnTo>
                      <a:pt x="194" y="321"/>
                    </a:lnTo>
                    <a:lnTo>
                      <a:pt x="243" y="291"/>
                    </a:lnTo>
                    <a:lnTo>
                      <a:pt x="286" y="262"/>
                    </a:lnTo>
                    <a:lnTo>
                      <a:pt x="323" y="232"/>
                    </a:lnTo>
                    <a:lnTo>
                      <a:pt x="354" y="204"/>
                    </a:lnTo>
                    <a:lnTo>
                      <a:pt x="380" y="177"/>
                    </a:lnTo>
                    <a:lnTo>
                      <a:pt x="402" y="150"/>
                    </a:lnTo>
                    <a:lnTo>
                      <a:pt x="419" y="124"/>
                    </a:lnTo>
                    <a:lnTo>
                      <a:pt x="431" y="101"/>
                    </a:lnTo>
                    <a:lnTo>
                      <a:pt x="442" y="80"/>
                    </a:lnTo>
                    <a:lnTo>
                      <a:pt x="450" y="60"/>
                    </a:lnTo>
                    <a:lnTo>
                      <a:pt x="455" y="41"/>
                    </a:lnTo>
                    <a:lnTo>
                      <a:pt x="457" y="28"/>
                    </a:lnTo>
                    <a:lnTo>
                      <a:pt x="458" y="16"/>
                    </a:lnTo>
                    <a:lnTo>
                      <a:pt x="460" y="7"/>
                    </a:lnTo>
                    <a:lnTo>
                      <a:pt x="460" y="1"/>
                    </a:lnTo>
                    <a:lnTo>
                      <a:pt x="46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4" name="Freeform 43"/>
              <p:cNvSpPr>
                <a:spLocks/>
              </p:cNvSpPr>
              <p:nvPr/>
            </p:nvSpPr>
            <p:spPr bwMode="auto">
              <a:xfrm>
                <a:off x="360363" y="-1827213"/>
                <a:ext cx="909638" cy="1085850"/>
              </a:xfrm>
              <a:custGeom>
                <a:avLst/>
                <a:gdLst>
                  <a:gd name="T0" fmla="*/ 117 w 573"/>
                  <a:gd name="T1" fmla="*/ 0 h 684"/>
                  <a:gd name="T2" fmla="*/ 117 w 573"/>
                  <a:gd name="T3" fmla="*/ 1 h 684"/>
                  <a:gd name="T4" fmla="*/ 117 w 573"/>
                  <a:gd name="T5" fmla="*/ 7 h 684"/>
                  <a:gd name="T6" fmla="*/ 118 w 573"/>
                  <a:gd name="T7" fmla="*/ 16 h 684"/>
                  <a:gd name="T8" fmla="*/ 119 w 573"/>
                  <a:gd name="T9" fmla="*/ 27 h 684"/>
                  <a:gd name="T10" fmla="*/ 122 w 573"/>
                  <a:gd name="T11" fmla="*/ 41 h 684"/>
                  <a:gd name="T12" fmla="*/ 126 w 573"/>
                  <a:gd name="T13" fmla="*/ 59 h 684"/>
                  <a:gd name="T14" fmla="*/ 134 w 573"/>
                  <a:gd name="T15" fmla="*/ 78 h 684"/>
                  <a:gd name="T16" fmla="*/ 145 w 573"/>
                  <a:gd name="T17" fmla="*/ 101 h 684"/>
                  <a:gd name="T18" fmla="*/ 157 w 573"/>
                  <a:gd name="T19" fmla="*/ 124 h 684"/>
                  <a:gd name="T20" fmla="*/ 174 w 573"/>
                  <a:gd name="T21" fmla="*/ 150 h 684"/>
                  <a:gd name="T22" fmla="*/ 197 w 573"/>
                  <a:gd name="T23" fmla="*/ 176 h 684"/>
                  <a:gd name="T24" fmla="*/ 222 w 573"/>
                  <a:gd name="T25" fmla="*/ 203 h 684"/>
                  <a:gd name="T26" fmla="*/ 253 w 573"/>
                  <a:gd name="T27" fmla="*/ 231 h 684"/>
                  <a:gd name="T28" fmla="*/ 290 w 573"/>
                  <a:gd name="T29" fmla="*/ 261 h 684"/>
                  <a:gd name="T30" fmla="*/ 333 w 573"/>
                  <a:gd name="T31" fmla="*/ 290 h 684"/>
                  <a:gd name="T32" fmla="*/ 383 w 573"/>
                  <a:gd name="T33" fmla="*/ 320 h 684"/>
                  <a:gd name="T34" fmla="*/ 439 w 573"/>
                  <a:gd name="T35" fmla="*/ 348 h 684"/>
                  <a:gd name="T36" fmla="*/ 503 w 573"/>
                  <a:gd name="T37" fmla="*/ 378 h 684"/>
                  <a:gd name="T38" fmla="*/ 573 w 573"/>
                  <a:gd name="T39" fmla="*/ 406 h 684"/>
                  <a:gd name="T40" fmla="*/ 571 w 573"/>
                  <a:gd name="T41" fmla="*/ 406 h 684"/>
                  <a:gd name="T42" fmla="*/ 562 w 573"/>
                  <a:gd name="T43" fmla="*/ 407 h 684"/>
                  <a:gd name="T44" fmla="*/ 546 w 573"/>
                  <a:gd name="T45" fmla="*/ 408 h 684"/>
                  <a:gd name="T46" fmla="*/ 527 w 573"/>
                  <a:gd name="T47" fmla="*/ 411 h 684"/>
                  <a:gd name="T48" fmla="*/ 502 w 573"/>
                  <a:gd name="T49" fmla="*/ 416 h 684"/>
                  <a:gd name="T50" fmla="*/ 474 w 573"/>
                  <a:gd name="T51" fmla="*/ 421 h 684"/>
                  <a:gd name="T52" fmla="*/ 443 w 573"/>
                  <a:gd name="T53" fmla="*/ 428 h 684"/>
                  <a:gd name="T54" fmla="*/ 410 w 573"/>
                  <a:gd name="T55" fmla="*/ 438 h 684"/>
                  <a:gd name="T56" fmla="*/ 375 w 573"/>
                  <a:gd name="T57" fmla="*/ 449 h 684"/>
                  <a:gd name="T58" fmla="*/ 339 w 573"/>
                  <a:gd name="T59" fmla="*/ 463 h 684"/>
                  <a:gd name="T60" fmla="*/ 303 w 573"/>
                  <a:gd name="T61" fmla="*/ 479 h 684"/>
                  <a:gd name="T62" fmla="*/ 267 w 573"/>
                  <a:gd name="T63" fmla="*/ 498 h 684"/>
                  <a:gd name="T64" fmla="*/ 231 w 573"/>
                  <a:gd name="T65" fmla="*/ 520 h 684"/>
                  <a:gd name="T66" fmla="*/ 198 w 573"/>
                  <a:gd name="T67" fmla="*/ 545 h 684"/>
                  <a:gd name="T68" fmla="*/ 166 w 573"/>
                  <a:gd name="T69" fmla="*/ 575 h 684"/>
                  <a:gd name="T70" fmla="*/ 138 w 573"/>
                  <a:gd name="T71" fmla="*/ 607 h 684"/>
                  <a:gd name="T72" fmla="*/ 113 w 573"/>
                  <a:gd name="T73" fmla="*/ 644 h 684"/>
                  <a:gd name="T74" fmla="*/ 92 w 573"/>
                  <a:gd name="T75" fmla="*/ 684 h 684"/>
                  <a:gd name="T76" fmla="*/ 89 w 573"/>
                  <a:gd name="T77" fmla="*/ 682 h 684"/>
                  <a:gd name="T78" fmla="*/ 86 w 573"/>
                  <a:gd name="T79" fmla="*/ 676 h 684"/>
                  <a:gd name="T80" fmla="*/ 81 w 573"/>
                  <a:gd name="T81" fmla="*/ 663 h 684"/>
                  <a:gd name="T82" fmla="*/ 73 w 573"/>
                  <a:gd name="T83" fmla="*/ 646 h 684"/>
                  <a:gd name="T84" fmla="*/ 66 w 573"/>
                  <a:gd name="T85" fmla="*/ 625 h 684"/>
                  <a:gd name="T86" fmla="*/ 59 w 573"/>
                  <a:gd name="T87" fmla="*/ 600 h 684"/>
                  <a:gd name="T88" fmla="*/ 49 w 573"/>
                  <a:gd name="T89" fmla="*/ 572 h 684"/>
                  <a:gd name="T90" fmla="*/ 40 w 573"/>
                  <a:gd name="T91" fmla="*/ 541 h 684"/>
                  <a:gd name="T92" fmla="*/ 32 w 573"/>
                  <a:gd name="T93" fmla="*/ 508 h 684"/>
                  <a:gd name="T94" fmla="*/ 23 w 573"/>
                  <a:gd name="T95" fmla="*/ 472 h 684"/>
                  <a:gd name="T96" fmla="*/ 16 w 573"/>
                  <a:gd name="T97" fmla="*/ 435 h 684"/>
                  <a:gd name="T98" fmla="*/ 9 w 573"/>
                  <a:gd name="T99" fmla="*/ 397 h 684"/>
                  <a:gd name="T100" fmla="*/ 5 w 573"/>
                  <a:gd name="T101" fmla="*/ 358 h 684"/>
                  <a:gd name="T102" fmla="*/ 1 w 573"/>
                  <a:gd name="T103" fmla="*/ 318 h 684"/>
                  <a:gd name="T104" fmla="*/ 0 w 573"/>
                  <a:gd name="T105" fmla="*/ 279 h 684"/>
                  <a:gd name="T106" fmla="*/ 0 w 573"/>
                  <a:gd name="T107" fmla="*/ 240 h 684"/>
                  <a:gd name="T108" fmla="*/ 2 w 573"/>
                  <a:gd name="T109" fmla="*/ 203 h 684"/>
                  <a:gd name="T110" fmla="*/ 8 w 573"/>
                  <a:gd name="T111" fmla="*/ 166 h 684"/>
                  <a:gd name="T112" fmla="*/ 17 w 573"/>
                  <a:gd name="T113" fmla="*/ 131 h 684"/>
                  <a:gd name="T114" fmla="*/ 29 w 573"/>
                  <a:gd name="T115" fmla="*/ 98 h 684"/>
                  <a:gd name="T116" fmla="*/ 45 w 573"/>
                  <a:gd name="T117" fmla="*/ 69 h 684"/>
                  <a:gd name="T118" fmla="*/ 65 w 573"/>
                  <a:gd name="T119" fmla="*/ 41 h 684"/>
                  <a:gd name="T120" fmla="*/ 88 w 573"/>
                  <a:gd name="T121" fmla="*/ 18 h 684"/>
                  <a:gd name="T122" fmla="*/ 117 w 573"/>
                  <a:gd name="T123" fmla="*/ 0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3" h="684">
                    <a:moveTo>
                      <a:pt x="117" y="0"/>
                    </a:moveTo>
                    <a:lnTo>
                      <a:pt x="117" y="1"/>
                    </a:lnTo>
                    <a:lnTo>
                      <a:pt x="117" y="7"/>
                    </a:lnTo>
                    <a:lnTo>
                      <a:pt x="118" y="16"/>
                    </a:lnTo>
                    <a:lnTo>
                      <a:pt x="119" y="27"/>
                    </a:lnTo>
                    <a:lnTo>
                      <a:pt x="122" y="41"/>
                    </a:lnTo>
                    <a:lnTo>
                      <a:pt x="126" y="59"/>
                    </a:lnTo>
                    <a:lnTo>
                      <a:pt x="134" y="78"/>
                    </a:lnTo>
                    <a:lnTo>
                      <a:pt x="145" y="101"/>
                    </a:lnTo>
                    <a:lnTo>
                      <a:pt x="157" y="124"/>
                    </a:lnTo>
                    <a:lnTo>
                      <a:pt x="174" y="150"/>
                    </a:lnTo>
                    <a:lnTo>
                      <a:pt x="197" y="176"/>
                    </a:lnTo>
                    <a:lnTo>
                      <a:pt x="222" y="203"/>
                    </a:lnTo>
                    <a:lnTo>
                      <a:pt x="253" y="231"/>
                    </a:lnTo>
                    <a:lnTo>
                      <a:pt x="290" y="261"/>
                    </a:lnTo>
                    <a:lnTo>
                      <a:pt x="333" y="290"/>
                    </a:lnTo>
                    <a:lnTo>
                      <a:pt x="383" y="320"/>
                    </a:lnTo>
                    <a:lnTo>
                      <a:pt x="439" y="348"/>
                    </a:lnTo>
                    <a:lnTo>
                      <a:pt x="503" y="378"/>
                    </a:lnTo>
                    <a:lnTo>
                      <a:pt x="573" y="406"/>
                    </a:lnTo>
                    <a:lnTo>
                      <a:pt x="571" y="406"/>
                    </a:lnTo>
                    <a:lnTo>
                      <a:pt x="562" y="407"/>
                    </a:lnTo>
                    <a:lnTo>
                      <a:pt x="546" y="408"/>
                    </a:lnTo>
                    <a:lnTo>
                      <a:pt x="527" y="411"/>
                    </a:lnTo>
                    <a:lnTo>
                      <a:pt x="502" y="416"/>
                    </a:lnTo>
                    <a:lnTo>
                      <a:pt x="474" y="421"/>
                    </a:lnTo>
                    <a:lnTo>
                      <a:pt x="443" y="428"/>
                    </a:lnTo>
                    <a:lnTo>
                      <a:pt x="410" y="438"/>
                    </a:lnTo>
                    <a:lnTo>
                      <a:pt x="375" y="449"/>
                    </a:lnTo>
                    <a:lnTo>
                      <a:pt x="339" y="463"/>
                    </a:lnTo>
                    <a:lnTo>
                      <a:pt x="303" y="479"/>
                    </a:lnTo>
                    <a:lnTo>
                      <a:pt x="267" y="498"/>
                    </a:lnTo>
                    <a:lnTo>
                      <a:pt x="231" y="520"/>
                    </a:lnTo>
                    <a:lnTo>
                      <a:pt x="198" y="545"/>
                    </a:lnTo>
                    <a:lnTo>
                      <a:pt x="166" y="575"/>
                    </a:lnTo>
                    <a:lnTo>
                      <a:pt x="138" y="607"/>
                    </a:lnTo>
                    <a:lnTo>
                      <a:pt x="113" y="644"/>
                    </a:lnTo>
                    <a:lnTo>
                      <a:pt x="92" y="684"/>
                    </a:lnTo>
                    <a:lnTo>
                      <a:pt x="89" y="682"/>
                    </a:lnTo>
                    <a:lnTo>
                      <a:pt x="86" y="676"/>
                    </a:lnTo>
                    <a:lnTo>
                      <a:pt x="81" y="663"/>
                    </a:lnTo>
                    <a:lnTo>
                      <a:pt x="73" y="646"/>
                    </a:lnTo>
                    <a:lnTo>
                      <a:pt x="66" y="625"/>
                    </a:lnTo>
                    <a:lnTo>
                      <a:pt x="59" y="600"/>
                    </a:lnTo>
                    <a:lnTo>
                      <a:pt x="49" y="572"/>
                    </a:lnTo>
                    <a:lnTo>
                      <a:pt x="40" y="541"/>
                    </a:lnTo>
                    <a:lnTo>
                      <a:pt x="32" y="508"/>
                    </a:lnTo>
                    <a:lnTo>
                      <a:pt x="23" y="472"/>
                    </a:lnTo>
                    <a:lnTo>
                      <a:pt x="16" y="435"/>
                    </a:lnTo>
                    <a:lnTo>
                      <a:pt x="9" y="397"/>
                    </a:lnTo>
                    <a:lnTo>
                      <a:pt x="5" y="358"/>
                    </a:lnTo>
                    <a:lnTo>
                      <a:pt x="1" y="318"/>
                    </a:lnTo>
                    <a:lnTo>
                      <a:pt x="0" y="279"/>
                    </a:lnTo>
                    <a:lnTo>
                      <a:pt x="0" y="240"/>
                    </a:lnTo>
                    <a:lnTo>
                      <a:pt x="2" y="203"/>
                    </a:lnTo>
                    <a:lnTo>
                      <a:pt x="8" y="166"/>
                    </a:lnTo>
                    <a:lnTo>
                      <a:pt x="17" y="131"/>
                    </a:lnTo>
                    <a:lnTo>
                      <a:pt x="29" y="98"/>
                    </a:lnTo>
                    <a:lnTo>
                      <a:pt x="45" y="69"/>
                    </a:lnTo>
                    <a:lnTo>
                      <a:pt x="65" y="41"/>
                    </a:lnTo>
                    <a:lnTo>
                      <a:pt x="88" y="18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5" name="Freeform 44"/>
              <p:cNvSpPr>
                <a:spLocks/>
              </p:cNvSpPr>
              <p:nvPr/>
            </p:nvSpPr>
            <p:spPr bwMode="auto">
              <a:xfrm>
                <a:off x="236538" y="-4418013"/>
                <a:ext cx="2135188" cy="2254250"/>
              </a:xfrm>
              <a:custGeom>
                <a:avLst/>
                <a:gdLst>
                  <a:gd name="T0" fmla="*/ 648 w 1345"/>
                  <a:gd name="T1" fmla="*/ 1 h 1420"/>
                  <a:gd name="T2" fmla="*/ 697 w 1345"/>
                  <a:gd name="T3" fmla="*/ 5 h 1420"/>
                  <a:gd name="T4" fmla="*/ 738 w 1345"/>
                  <a:gd name="T5" fmla="*/ 10 h 1420"/>
                  <a:gd name="T6" fmla="*/ 770 w 1345"/>
                  <a:gd name="T7" fmla="*/ 16 h 1420"/>
                  <a:gd name="T8" fmla="*/ 789 w 1345"/>
                  <a:gd name="T9" fmla="*/ 20 h 1420"/>
                  <a:gd name="T10" fmla="*/ 797 w 1345"/>
                  <a:gd name="T11" fmla="*/ 22 h 1420"/>
                  <a:gd name="T12" fmla="*/ 919 w 1345"/>
                  <a:gd name="T13" fmla="*/ 22 h 1420"/>
                  <a:gd name="T14" fmla="*/ 1021 w 1345"/>
                  <a:gd name="T15" fmla="*/ 38 h 1420"/>
                  <a:gd name="T16" fmla="*/ 1107 w 1345"/>
                  <a:gd name="T17" fmla="*/ 69 h 1420"/>
                  <a:gd name="T18" fmla="*/ 1177 w 1345"/>
                  <a:gd name="T19" fmla="*/ 113 h 1420"/>
                  <a:gd name="T20" fmla="*/ 1233 w 1345"/>
                  <a:gd name="T21" fmla="*/ 169 h 1420"/>
                  <a:gd name="T22" fmla="*/ 1276 w 1345"/>
                  <a:gd name="T23" fmla="*/ 233 h 1420"/>
                  <a:gd name="T24" fmla="*/ 1306 w 1345"/>
                  <a:gd name="T25" fmla="*/ 305 h 1420"/>
                  <a:gd name="T26" fmla="*/ 1327 w 1345"/>
                  <a:gd name="T27" fmla="*/ 382 h 1420"/>
                  <a:gd name="T28" fmla="*/ 1340 w 1345"/>
                  <a:gd name="T29" fmla="*/ 463 h 1420"/>
                  <a:gd name="T30" fmla="*/ 1343 w 1345"/>
                  <a:gd name="T31" fmla="*/ 546 h 1420"/>
                  <a:gd name="T32" fmla="*/ 1343 w 1345"/>
                  <a:gd name="T33" fmla="*/ 628 h 1420"/>
                  <a:gd name="T34" fmla="*/ 1337 w 1345"/>
                  <a:gd name="T35" fmla="*/ 709 h 1420"/>
                  <a:gd name="T36" fmla="*/ 1330 w 1345"/>
                  <a:gd name="T37" fmla="*/ 786 h 1420"/>
                  <a:gd name="T38" fmla="*/ 1311 w 1345"/>
                  <a:gd name="T39" fmla="*/ 895 h 1420"/>
                  <a:gd name="T40" fmla="*/ 1268 w 1345"/>
                  <a:gd name="T41" fmla="*/ 1038 h 1420"/>
                  <a:gd name="T42" fmla="*/ 1203 w 1345"/>
                  <a:gd name="T43" fmla="*/ 1171 h 1420"/>
                  <a:gd name="T44" fmla="*/ 1117 w 1345"/>
                  <a:gd name="T45" fmla="*/ 1292 h 1420"/>
                  <a:gd name="T46" fmla="*/ 1037 w 1345"/>
                  <a:gd name="T47" fmla="*/ 1373 h 1420"/>
                  <a:gd name="T48" fmla="*/ 979 w 1345"/>
                  <a:gd name="T49" fmla="*/ 1420 h 1420"/>
                  <a:gd name="T50" fmla="*/ 378 w 1345"/>
                  <a:gd name="T51" fmla="*/ 1257 h 1420"/>
                  <a:gd name="T52" fmla="*/ 300 w 1345"/>
                  <a:gd name="T53" fmla="*/ 1400 h 1420"/>
                  <a:gd name="T54" fmla="*/ 241 w 1345"/>
                  <a:gd name="T55" fmla="*/ 1347 h 1420"/>
                  <a:gd name="T56" fmla="*/ 177 w 1345"/>
                  <a:gd name="T57" fmla="*/ 1279 h 1420"/>
                  <a:gd name="T58" fmla="*/ 115 w 1345"/>
                  <a:gd name="T59" fmla="*/ 1199 h 1420"/>
                  <a:gd name="T60" fmla="*/ 60 w 1345"/>
                  <a:gd name="T61" fmla="*/ 1113 h 1420"/>
                  <a:gd name="T62" fmla="*/ 22 w 1345"/>
                  <a:gd name="T63" fmla="*/ 1021 h 1420"/>
                  <a:gd name="T64" fmla="*/ 6 w 1345"/>
                  <a:gd name="T65" fmla="*/ 927 h 1420"/>
                  <a:gd name="T66" fmla="*/ 0 w 1345"/>
                  <a:gd name="T67" fmla="*/ 757 h 1420"/>
                  <a:gd name="T68" fmla="*/ 9 w 1345"/>
                  <a:gd name="T69" fmla="*/ 610 h 1420"/>
                  <a:gd name="T70" fmla="*/ 30 w 1345"/>
                  <a:gd name="T71" fmla="*/ 482 h 1420"/>
                  <a:gd name="T72" fmla="*/ 62 w 1345"/>
                  <a:gd name="T73" fmla="*/ 372 h 1420"/>
                  <a:gd name="T74" fmla="*/ 103 w 1345"/>
                  <a:gd name="T75" fmla="*/ 280 h 1420"/>
                  <a:gd name="T76" fmla="*/ 153 w 1345"/>
                  <a:gd name="T77" fmla="*/ 205 h 1420"/>
                  <a:gd name="T78" fmla="*/ 209 w 1345"/>
                  <a:gd name="T79" fmla="*/ 143 h 1420"/>
                  <a:gd name="T80" fmla="*/ 271 w 1345"/>
                  <a:gd name="T81" fmla="*/ 95 h 1420"/>
                  <a:gd name="T82" fmla="*/ 335 w 1345"/>
                  <a:gd name="T83" fmla="*/ 58 h 1420"/>
                  <a:gd name="T84" fmla="*/ 401 w 1345"/>
                  <a:gd name="T85" fmla="*/ 32 h 1420"/>
                  <a:gd name="T86" fmla="*/ 467 w 1345"/>
                  <a:gd name="T87" fmla="*/ 15 h 1420"/>
                  <a:gd name="T88" fmla="*/ 531 w 1345"/>
                  <a:gd name="T89" fmla="*/ 5 h 1420"/>
                  <a:gd name="T90" fmla="*/ 591 w 1345"/>
                  <a:gd name="T91" fmla="*/ 0 h 1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45" h="1420">
                    <a:moveTo>
                      <a:pt x="621" y="0"/>
                    </a:moveTo>
                    <a:lnTo>
                      <a:pt x="648" y="1"/>
                    </a:lnTo>
                    <a:lnTo>
                      <a:pt x="674" y="3"/>
                    </a:lnTo>
                    <a:lnTo>
                      <a:pt x="697" y="5"/>
                    </a:lnTo>
                    <a:lnTo>
                      <a:pt x="719" y="8"/>
                    </a:lnTo>
                    <a:lnTo>
                      <a:pt x="738" y="10"/>
                    </a:lnTo>
                    <a:lnTo>
                      <a:pt x="755" y="14"/>
                    </a:lnTo>
                    <a:lnTo>
                      <a:pt x="770" y="16"/>
                    </a:lnTo>
                    <a:lnTo>
                      <a:pt x="781" y="19"/>
                    </a:lnTo>
                    <a:lnTo>
                      <a:pt x="789" y="20"/>
                    </a:lnTo>
                    <a:lnTo>
                      <a:pt x="794" y="21"/>
                    </a:lnTo>
                    <a:lnTo>
                      <a:pt x="797" y="22"/>
                    </a:lnTo>
                    <a:lnTo>
                      <a:pt x="859" y="20"/>
                    </a:lnTo>
                    <a:lnTo>
                      <a:pt x="919" y="22"/>
                    </a:lnTo>
                    <a:lnTo>
                      <a:pt x="972" y="28"/>
                    </a:lnTo>
                    <a:lnTo>
                      <a:pt x="1021" y="38"/>
                    </a:lnTo>
                    <a:lnTo>
                      <a:pt x="1066" y="52"/>
                    </a:lnTo>
                    <a:lnTo>
                      <a:pt x="1107" y="69"/>
                    </a:lnTo>
                    <a:lnTo>
                      <a:pt x="1144" y="90"/>
                    </a:lnTo>
                    <a:lnTo>
                      <a:pt x="1177" y="113"/>
                    </a:lnTo>
                    <a:lnTo>
                      <a:pt x="1207" y="139"/>
                    </a:lnTo>
                    <a:lnTo>
                      <a:pt x="1233" y="169"/>
                    </a:lnTo>
                    <a:lnTo>
                      <a:pt x="1255" y="200"/>
                    </a:lnTo>
                    <a:lnTo>
                      <a:pt x="1276" y="233"/>
                    </a:lnTo>
                    <a:lnTo>
                      <a:pt x="1292" y="269"/>
                    </a:lnTo>
                    <a:lnTo>
                      <a:pt x="1306" y="305"/>
                    </a:lnTo>
                    <a:lnTo>
                      <a:pt x="1318" y="342"/>
                    </a:lnTo>
                    <a:lnTo>
                      <a:pt x="1327" y="382"/>
                    </a:lnTo>
                    <a:lnTo>
                      <a:pt x="1334" y="422"/>
                    </a:lnTo>
                    <a:lnTo>
                      <a:pt x="1340" y="463"/>
                    </a:lnTo>
                    <a:lnTo>
                      <a:pt x="1342" y="504"/>
                    </a:lnTo>
                    <a:lnTo>
                      <a:pt x="1343" y="546"/>
                    </a:lnTo>
                    <a:lnTo>
                      <a:pt x="1345" y="587"/>
                    </a:lnTo>
                    <a:lnTo>
                      <a:pt x="1343" y="628"/>
                    </a:lnTo>
                    <a:lnTo>
                      <a:pt x="1341" y="669"/>
                    </a:lnTo>
                    <a:lnTo>
                      <a:pt x="1337" y="709"/>
                    </a:lnTo>
                    <a:lnTo>
                      <a:pt x="1334" y="748"/>
                    </a:lnTo>
                    <a:lnTo>
                      <a:pt x="1330" y="786"/>
                    </a:lnTo>
                    <a:lnTo>
                      <a:pt x="1325" y="821"/>
                    </a:lnTo>
                    <a:lnTo>
                      <a:pt x="1311" y="895"/>
                    </a:lnTo>
                    <a:lnTo>
                      <a:pt x="1292" y="968"/>
                    </a:lnTo>
                    <a:lnTo>
                      <a:pt x="1268" y="1038"/>
                    </a:lnTo>
                    <a:lnTo>
                      <a:pt x="1239" y="1106"/>
                    </a:lnTo>
                    <a:lnTo>
                      <a:pt x="1203" y="1171"/>
                    </a:lnTo>
                    <a:lnTo>
                      <a:pt x="1162" y="1233"/>
                    </a:lnTo>
                    <a:lnTo>
                      <a:pt x="1117" y="1292"/>
                    </a:lnTo>
                    <a:lnTo>
                      <a:pt x="1065" y="1347"/>
                    </a:lnTo>
                    <a:lnTo>
                      <a:pt x="1037" y="1373"/>
                    </a:lnTo>
                    <a:lnTo>
                      <a:pt x="1010" y="1398"/>
                    </a:lnTo>
                    <a:lnTo>
                      <a:pt x="979" y="1420"/>
                    </a:lnTo>
                    <a:lnTo>
                      <a:pt x="927" y="1257"/>
                    </a:lnTo>
                    <a:lnTo>
                      <a:pt x="378" y="1257"/>
                    </a:lnTo>
                    <a:lnTo>
                      <a:pt x="326" y="1420"/>
                    </a:lnTo>
                    <a:lnTo>
                      <a:pt x="300" y="1400"/>
                    </a:lnTo>
                    <a:lnTo>
                      <a:pt x="272" y="1375"/>
                    </a:lnTo>
                    <a:lnTo>
                      <a:pt x="241" y="1347"/>
                    </a:lnTo>
                    <a:lnTo>
                      <a:pt x="209" y="1315"/>
                    </a:lnTo>
                    <a:lnTo>
                      <a:pt x="177" y="1279"/>
                    </a:lnTo>
                    <a:lnTo>
                      <a:pt x="145" y="1241"/>
                    </a:lnTo>
                    <a:lnTo>
                      <a:pt x="115" y="1199"/>
                    </a:lnTo>
                    <a:lnTo>
                      <a:pt x="85" y="1158"/>
                    </a:lnTo>
                    <a:lnTo>
                      <a:pt x="60" y="1113"/>
                    </a:lnTo>
                    <a:lnTo>
                      <a:pt x="38" y="1068"/>
                    </a:lnTo>
                    <a:lnTo>
                      <a:pt x="22" y="1021"/>
                    </a:lnTo>
                    <a:lnTo>
                      <a:pt x="11" y="974"/>
                    </a:lnTo>
                    <a:lnTo>
                      <a:pt x="6" y="927"/>
                    </a:lnTo>
                    <a:lnTo>
                      <a:pt x="1" y="840"/>
                    </a:lnTo>
                    <a:lnTo>
                      <a:pt x="0" y="757"/>
                    </a:lnTo>
                    <a:lnTo>
                      <a:pt x="2" y="681"/>
                    </a:lnTo>
                    <a:lnTo>
                      <a:pt x="9" y="610"/>
                    </a:lnTo>
                    <a:lnTo>
                      <a:pt x="17" y="543"/>
                    </a:lnTo>
                    <a:lnTo>
                      <a:pt x="30" y="482"/>
                    </a:lnTo>
                    <a:lnTo>
                      <a:pt x="44" y="424"/>
                    </a:lnTo>
                    <a:lnTo>
                      <a:pt x="62" y="372"/>
                    </a:lnTo>
                    <a:lnTo>
                      <a:pt x="81" y="324"/>
                    </a:lnTo>
                    <a:lnTo>
                      <a:pt x="103" y="280"/>
                    </a:lnTo>
                    <a:lnTo>
                      <a:pt x="127" y="240"/>
                    </a:lnTo>
                    <a:lnTo>
                      <a:pt x="153" y="205"/>
                    </a:lnTo>
                    <a:lnTo>
                      <a:pt x="181" y="171"/>
                    </a:lnTo>
                    <a:lnTo>
                      <a:pt x="209" y="143"/>
                    </a:lnTo>
                    <a:lnTo>
                      <a:pt x="240" y="117"/>
                    </a:lnTo>
                    <a:lnTo>
                      <a:pt x="271" y="95"/>
                    </a:lnTo>
                    <a:lnTo>
                      <a:pt x="303" y="75"/>
                    </a:lnTo>
                    <a:lnTo>
                      <a:pt x="335" y="58"/>
                    </a:lnTo>
                    <a:lnTo>
                      <a:pt x="368" y="44"/>
                    </a:lnTo>
                    <a:lnTo>
                      <a:pt x="401" y="32"/>
                    </a:lnTo>
                    <a:lnTo>
                      <a:pt x="433" y="22"/>
                    </a:lnTo>
                    <a:lnTo>
                      <a:pt x="467" y="15"/>
                    </a:lnTo>
                    <a:lnTo>
                      <a:pt x="499" y="9"/>
                    </a:lnTo>
                    <a:lnTo>
                      <a:pt x="531" y="5"/>
                    </a:lnTo>
                    <a:lnTo>
                      <a:pt x="562" y="3"/>
                    </a:lnTo>
                    <a:lnTo>
                      <a:pt x="591" y="0"/>
                    </a:lnTo>
                    <a:lnTo>
                      <a:pt x="621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6" name="Freeform 45"/>
              <p:cNvSpPr>
                <a:spLocks/>
              </p:cNvSpPr>
              <p:nvPr/>
            </p:nvSpPr>
            <p:spPr bwMode="auto">
              <a:xfrm>
                <a:off x="2266950" y="-3270250"/>
                <a:ext cx="346075" cy="715963"/>
              </a:xfrm>
              <a:custGeom>
                <a:avLst/>
                <a:gdLst>
                  <a:gd name="T0" fmla="*/ 128 w 218"/>
                  <a:gd name="T1" fmla="*/ 0 h 451"/>
                  <a:gd name="T2" fmla="*/ 148 w 218"/>
                  <a:gd name="T3" fmla="*/ 4 h 451"/>
                  <a:gd name="T4" fmla="*/ 167 w 218"/>
                  <a:gd name="T5" fmla="*/ 12 h 451"/>
                  <a:gd name="T6" fmla="*/ 186 w 218"/>
                  <a:gd name="T7" fmla="*/ 28 h 451"/>
                  <a:gd name="T8" fmla="*/ 201 w 218"/>
                  <a:gd name="T9" fmla="*/ 49 h 451"/>
                  <a:gd name="T10" fmla="*/ 211 w 218"/>
                  <a:gd name="T11" fmla="*/ 74 h 451"/>
                  <a:gd name="T12" fmla="*/ 217 w 218"/>
                  <a:gd name="T13" fmla="*/ 101 h 451"/>
                  <a:gd name="T14" fmla="*/ 218 w 218"/>
                  <a:gd name="T15" fmla="*/ 132 h 451"/>
                  <a:gd name="T16" fmla="*/ 216 w 218"/>
                  <a:gd name="T17" fmla="*/ 165 h 451"/>
                  <a:gd name="T18" fmla="*/ 208 w 218"/>
                  <a:gd name="T19" fmla="*/ 199 h 451"/>
                  <a:gd name="T20" fmla="*/ 199 w 218"/>
                  <a:gd name="T21" fmla="*/ 235 h 451"/>
                  <a:gd name="T22" fmla="*/ 183 w 218"/>
                  <a:gd name="T23" fmla="*/ 271 h 451"/>
                  <a:gd name="T24" fmla="*/ 164 w 218"/>
                  <a:gd name="T25" fmla="*/ 306 h 451"/>
                  <a:gd name="T26" fmla="*/ 136 w 218"/>
                  <a:gd name="T27" fmla="*/ 348 h 451"/>
                  <a:gd name="T28" fmla="*/ 104 w 218"/>
                  <a:gd name="T29" fmla="*/ 384 h 451"/>
                  <a:gd name="T30" fmla="*/ 71 w 218"/>
                  <a:gd name="T31" fmla="*/ 414 h 451"/>
                  <a:gd name="T32" fmla="*/ 36 w 218"/>
                  <a:gd name="T33" fmla="*/ 436 h 451"/>
                  <a:gd name="T34" fmla="*/ 0 w 218"/>
                  <a:gd name="T35" fmla="*/ 451 h 451"/>
                  <a:gd name="T36" fmla="*/ 32 w 218"/>
                  <a:gd name="T37" fmla="*/ 372 h 451"/>
                  <a:gd name="T38" fmla="*/ 58 w 218"/>
                  <a:gd name="T39" fmla="*/ 290 h 451"/>
                  <a:gd name="T40" fmla="*/ 58 w 218"/>
                  <a:gd name="T41" fmla="*/ 288 h 451"/>
                  <a:gd name="T42" fmla="*/ 96 w 218"/>
                  <a:gd name="T43" fmla="*/ 144 h 451"/>
                  <a:gd name="T44" fmla="*/ 94 w 218"/>
                  <a:gd name="T45" fmla="*/ 144 h 451"/>
                  <a:gd name="T46" fmla="*/ 112 w 218"/>
                  <a:gd name="T47" fmla="*/ 71 h 451"/>
                  <a:gd name="T48" fmla="*/ 128 w 218"/>
                  <a:gd name="T49" fmla="*/ 0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8" h="451">
                    <a:moveTo>
                      <a:pt x="128" y="0"/>
                    </a:moveTo>
                    <a:lnTo>
                      <a:pt x="148" y="4"/>
                    </a:lnTo>
                    <a:lnTo>
                      <a:pt x="167" y="12"/>
                    </a:lnTo>
                    <a:lnTo>
                      <a:pt x="186" y="28"/>
                    </a:lnTo>
                    <a:lnTo>
                      <a:pt x="201" y="49"/>
                    </a:lnTo>
                    <a:lnTo>
                      <a:pt x="211" y="74"/>
                    </a:lnTo>
                    <a:lnTo>
                      <a:pt x="217" y="101"/>
                    </a:lnTo>
                    <a:lnTo>
                      <a:pt x="218" y="132"/>
                    </a:lnTo>
                    <a:lnTo>
                      <a:pt x="216" y="165"/>
                    </a:lnTo>
                    <a:lnTo>
                      <a:pt x="208" y="199"/>
                    </a:lnTo>
                    <a:lnTo>
                      <a:pt x="199" y="235"/>
                    </a:lnTo>
                    <a:lnTo>
                      <a:pt x="183" y="271"/>
                    </a:lnTo>
                    <a:lnTo>
                      <a:pt x="164" y="306"/>
                    </a:lnTo>
                    <a:lnTo>
                      <a:pt x="136" y="348"/>
                    </a:lnTo>
                    <a:lnTo>
                      <a:pt x="104" y="384"/>
                    </a:lnTo>
                    <a:lnTo>
                      <a:pt x="71" y="414"/>
                    </a:lnTo>
                    <a:lnTo>
                      <a:pt x="36" y="436"/>
                    </a:lnTo>
                    <a:lnTo>
                      <a:pt x="0" y="451"/>
                    </a:lnTo>
                    <a:lnTo>
                      <a:pt x="32" y="372"/>
                    </a:lnTo>
                    <a:lnTo>
                      <a:pt x="58" y="290"/>
                    </a:lnTo>
                    <a:lnTo>
                      <a:pt x="58" y="288"/>
                    </a:lnTo>
                    <a:lnTo>
                      <a:pt x="96" y="144"/>
                    </a:lnTo>
                    <a:lnTo>
                      <a:pt x="94" y="144"/>
                    </a:lnTo>
                    <a:lnTo>
                      <a:pt x="112" y="71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7" name="Freeform 46"/>
              <p:cNvSpPr>
                <a:spLocks/>
              </p:cNvSpPr>
              <p:nvPr/>
            </p:nvSpPr>
            <p:spPr bwMode="auto">
              <a:xfrm>
                <a:off x="-69850" y="-3254375"/>
                <a:ext cx="347663" cy="700088"/>
              </a:xfrm>
              <a:custGeom>
                <a:avLst/>
                <a:gdLst>
                  <a:gd name="T0" fmla="*/ 69 w 219"/>
                  <a:gd name="T1" fmla="*/ 0 h 441"/>
                  <a:gd name="T2" fmla="*/ 81 w 219"/>
                  <a:gd name="T3" fmla="*/ 48 h 441"/>
                  <a:gd name="T4" fmla="*/ 95 w 219"/>
                  <a:gd name="T5" fmla="*/ 93 h 441"/>
                  <a:gd name="T6" fmla="*/ 107 w 219"/>
                  <a:gd name="T7" fmla="*/ 135 h 441"/>
                  <a:gd name="T8" fmla="*/ 119 w 219"/>
                  <a:gd name="T9" fmla="*/ 172 h 441"/>
                  <a:gd name="T10" fmla="*/ 131 w 219"/>
                  <a:gd name="T11" fmla="*/ 205 h 441"/>
                  <a:gd name="T12" fmla="*/ 141 w 219"/>
                  <a:gd name="T13" fmla="*/ 234 h 441"/>
                  <a:gd name="T14" fmla="*/ 150 w 219"/>
                  <a:gd name="T15" fmla="*/ 256 h 441"/>
                  <a:gd name="T16" fmla="*/ 156 w 219"/>
                  <a:gd name="T17" fmla="*/ 273 h 441"/>
                  <a:gd name="T18" fmla="*/ 161 w 219"/>
                  <a:gd name="T19" fmla="*/ 284 h 441"/>
                  <a:gd name="T20" fmla="*/ 187 w 219"/>
                  <a:gd name="T21" fmla="*/ 363 h 441"/>
                  <a:gd name="T22" fmla="*/ 219 w 219"/>
                  <a:gd name="T23" fmla="*/ 441 h 441"/>
                  <a:gd name="T24" fmla="*/ 183 w 219"/>
                  <a:gd name="T25" fmla="*/ 426 h 441"/>
                  <a:gd name="T26" fmla="*/ 149 w 219"/>
                  <a:gd name="T27" fmla="*/ 404 h 441"/>
                  <a:gd name="T28" fmla="*/ 115 w 219"/>
                  <a:gd name="T29" fmla="*/ 374 h 441"/>
                  <a:gd name="T30" fmla="*/ 83 w 219"/>
                  <a:gd name="T31" fmla="*/ 338 h 441"/>
                  <a:gd name="T32" fmla="*/ 55 w 219"/>
                  <a:gd name="T33" fmla="*/ 296 h 441"/>
                  <a:gd name="T34" fmla="*/ 35 w 219"/>
                  <a:gd name="T35" fmla="*/ 261 h 441"/>
                  <a:gd name="T36" fmla="*/ 19 w 219"/>
                  <a:gd name="T37" fmla="*/ 225 h 441"/>
                  <a:gd name="T38" fmla="*/ 8 w 219"/>
                  <a:gd name="T39" fmla="*/ 189 h 441"/>
                  <a:gd name="T40" fmla="*/ 2 w 219"/>
                  <a:gd name="T41" fmla="*/ 155 h 441"/>
                  <a:gd name="T42" fmla="*/ 0 w 219"/>
                  <a:gd name="T43" fmla="*/ 123 h 441"/>
                  <a:gd name="T44" fmla="*/ 2 w 219"/>
                  <a:gd name="T45" fmla="*/ 92 h 441"/>
                  <a:gd name="T46" fmla="*/ 8 w 219"/>
                  <a:gd name="T47" fmla="*/ 65 h 441"/>
                  <a:gd name="T48" fmla="*/ 18 w 219"/>
                  <a:gd name="T49" fmla="*/ 40 h 441"/>
                  <a:gd name="T50" fmla="*/ 33 w 219"/>
                  <a:gd name="T51" fmla="*/ 21 h 441"/>
                  <a:gd name="T52" fmla="*/ 53 w 219"/>
                  <a:gd name="T53" fmla="*/ 6 h 441"/>
                  <a:gd name="T54" fmla="*/ 56 w 219"/>
                  <a:gd name="T55" fmla="*/ 3 h 441"/>
                  <a:gd name="T56" fmla="*/ 60 w 219"/>
                  <a:gd name="T57" fmla="*/ 1 h 441"/>
                  <a:gd name="T58" fmla="*/ 64 w 219"/>
                  <a:gd name="T59" fmla="*/ 0 h 441"/>
                  <a:gd name="T60" fmla="*/ 69 w 219"/>
                  <a:gd name="T61" fmla="*/ 0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9" h="441">
                    <a:moveTo>
                      <a:pt x="69" y="0"/>
                    </a:moveTo>
                    <a:lnTo>
                      <a:pt x="81" y="48"/>
                    </a:lnTo>
                    <a:lnTo>
                      <a:pt x="95" y="93"/>
                    </a:lnTo>
                    <a:lnTo>
                      <a:pt x="107" y="135"/>
                    </a:lnTo>
                    <a:lnTo>
                      <a:pt x="119" y="172"/>
                    </a:lnTo>
                    <a:lnTo>
                      <a:pt x="131" y="205"/>
                    </a:lnTo>
                    <a:lnTo>
                      <a:pt x="141" y="234"/>
                    </a:lnTo>
                    <a:lnTo>
                      <a:pt x="150" y="256"/>
                    </a:lnTo>
                    <a:lnTo>
                      <a:pt x="156" y="273"/>
                    </a:lnTo>
                    <a:lnTo>
                      <a:pt x="161" y="284"/>
                    </a:lnTo>
                    <a:lnTo>
                      <a:pt x="187" y="363"/>
                    </a:lnTo>
                    <a:lnTo>
                      <a:pt x="219" y="441"/>
                    </a:lnTo>
                    <a:lnTo>
                      <a:pt x="183" y="426"/>
                    </a:lnTo>
                    <a:lnTo>
                      <a:pt x="149" y="404"/>
                    </a:lnTo>
                    <a:lnTo>
                      <a:pt x="115" y="374"/>
                    </a:lnTo>
                    <a:lnTo>
                      <a:pt x="83" y="338"/>
                    </a:lnTo>
                    <a:lnTo>
                      <a:pt x="55" y="296"/>
                    </a:lnTo>
                    <a:lnTo>
                      <a:pt x="35" y="261"/>
                    </a:lnTo>
                    <a:lnTo>
                      <a:pt x="19" y="225"/>
                    </a:lnTo>
                    <a:lnTo>
                      <a:pt x="8" y="189"/>
                    </a:lnTo>
                    <a:lnTo>
                      <a:pt x="2" y="155"/>
                    </a:lnTo>
                    <a:lnTo>
                      <a:pt x="0" y="123"/>
                    </a:lnTo>
                    <a:lnTo>
                      <a:pt x="2" y="92"/>
                    </a:lnTo>
                    <a:lnTo>
                      <a:pt x="8" y="65"/>
                    </a:lnTo>
                    <a:lnTo>
                      <a:pt x="18" y="40"/>
                    </a:lnTo>
                    <a:lnTo>
                      <a:pt x="33" y="21"/>
                    </a:lnTo>
                    <a:lnTo>
                      <a:pt x="53" y="6"/>
                    </a:lnTo>
                    <a:lnTo>
                      <a:pt x="56" y="3"/>
                    </a:lnTo>
                    <a:lnTo>
                      <a:pt x="60" y="1"/>
                    </a:lnTo>
                    <a:lnTo>
                      <a:pt x="64" y="0"/>
                    </a:lnTo>
                    <a:lnTo>
                      <a:pt x="69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8" name="Freeform 47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91 w 1758"/>
                  <a:gd name="T15" fmla="*/ 1693 h 2343"/>
                  <a:gd name="T16" fmla="*/ 453 w 1758"/>
                  <a:gd name="T17" fmla="*/ 1911 h 2343"/>
                  <a:gd name="T18" fmla="*/ 1151 w 1758"/>
                  <a:gd name="T19" fmla="*/ 1834 h 2343"/>
                  <a:gd name="T20" fmla="*/ 1341 w 1758"/>
                  <a:gd name="T21" fmla="*/ 1866 h 2343"/>
                  <a:gd name="T22" fmla="*/ 1492 w 1758"/>
                  <a:gd name="T23" fmla="*/ 1612 h 2343"/>
                  <a:gd name="T24" fmla="*/ 1554 w 1758"/>
                  <a:gd name="T25" fmla="*/ 1360 h 2343"/>
                  <a:gd name="T26" fmla="*/ 1567 w 1758"/>
                  <a:gd name="T27" fmla="*/ 1202 h 2343"/>
                  <a:gd name="T28" fmla="*/ 1564 w 1758"/>
                  <a:gd name="T29" fmla="*/ 1037 h 2343"/>
                  <a:gd name="T30" fmla="*/ 1530 w 1758"/>
                  <a:gd name="T31" fmla="*/ 879 h 2343"/>
                  <a:gd name="T32" fmla="*/ 1457 w 1758"/>
                  <a:gd name="T33" fmla="*/ 744 h 2343"/>
                  <a:gd name="T34" fmla="*/ 1331 w 1758"/>
                  <a:gd name="T35" fmla="*/ 644 h 2343"/>
                  <a:gd name="T36" fmla="*/ 1143 w 1758"/>
                  <a:gd name="T37" fmla="*/ 599 h 2343"/>
                  <a:gd name="T38" fmla="*/ 1013 w 1758"/>
                  <a:gd name="T39" fmla="*/ 598 h 2343"/>
                  <a:gd name="T40" fmla="*/ 962 w 1758"/>
                  <a:gd name="T41" fmla="*/ 588 h 2343"/>
                  <a:gd name="T42" fmla="*/ 872 w 1758"/>
                  <a:gd name="T43" fmla="*/ 579 h 2343"/>
                  <a:gd name="T44" fmla="*/ 840 w 1758"/>
                  <a:gd name="T45" fmla="*/ 2 h 2343"/>
                  <a:gd name="T46" fmla="*/ 941 w 1758"/>
                  <a:gd name="T47" fmla="*/ 11 h 2343"/>
                  <a:gd name="T48" fmla="*/ 1058 w 1758"/>
                  <a:gd name="T49" fmla="*/ 42 h 2343"/>
                  <a:gd name="T50" fmla="*/ 1162 w 1758"/>
                  <a:gd name="T51" fmla="*/ 104 h 2343"/>
                  <a:gd name="T52" fmla="*/ 1221 w 1758"/>
                  <a:gd name="T53" fmla="*/ 206 h 2343"/>
                  <a:gd name="T54" fmla="*/ 1231 w 1758"/>
                  <a:gd name="T55" fmla="*/ 274 h 2343"/>
                  <a:gd name="T56" fmla="*/ 1276 w 1758"/>
                  <a:gd name="T57" fmla="*/ 260 h 2343"/>
                  <a:gd name="T58" fmla="*/ 1351 w 1758"/>
                  <a:gd name="T59" fmla="*/ 245 h 2343"/>
                  <a:gd name="T60" fmla="*/ 1444 w 1758"/>
                  <a:gd name="T61" fmla="*/ 239 h 2343"/>
                  <a:gd name="T62" fmla="*/ 1545 w 1758"/>
                  <a:gd name="T63" fmla="*/ 256 h 2343"/>
                  <a:gd name="T64" fmla="*/ 1639 w 1758"/>
                  <a:gd name="T65" fmla="*/ 307 h 2343"/>
                  <a:gd name="T66" fmla="*/ 1713 w 1758"/>
                  <a:gd name="T67" fmla="*/ 404 h 2343"/>
                  <a:gd name="T68" fmla="*/ 1753 w 1758"/>
                  <a:gd name="T69" fmla="*/ 558 h 2343"/>
                  <a:gd name="T70" fmla="*/ 1751 w 1758"/>
                  <a:gd name="T71" fmla="*/ 783 h 2343"/>
                  <a:gd name="T72" fmla="*/ 1724 w 1758"/>
                  <a:gd name="T73" fmla="*/ 939 h 2343"/>
                  <a:gd name="T74" fmla="*/ 1699 w 1758"/>
                  <a:gd name="T75" fmla="*/ 1033 h 2343"/>
                  <a:gd name="T76" fmla="*/ 1656 w 1758"/>
                  <a:gd name="T77" fmla="*/ 1193 h 2343"/>
                  <a:gd name="T78" fmla="*/ 1606 w 1758"/>
                  <a:gd name="T79" fmla="*/ 1389 h 2343"/>
                  <a:gd name="T80" fmla="*/ 1561 w 1758"/>
                  <a:gd name="T81" fmla="*/ 1585 h 2343"/>
                  <a:gd name="T82" fmla="*/ 1480 w 1758"/>
                  <a:gd name="T83" fmla="*/ 1804 h 2343"/>
                  <a:gd name="T84" fmla="*/ 1332 w 1758"/>
                  <a:gd name="T85" fmla="*/ 2058 h 2343"/>
                  <a:gd name="T86" fmla="*/ 1146 w 1758"/>
                  <a:gd name="T87" fmla="*/ 2247 h 2343"/>
                  <a:gd name="T88" fmla="*/ 933 w 1758"/>
                  <a:gd name="T89" fmla="*/ 2339 h 2343"/>
                  <a:gd name="T90" fmla="*/ 710 w 1758"/>
                  <a:gd name="T91" fmla="*/ 2307 h 2343"/>
                  <a:gd name="T92" fmla="*/ 510 w 1758"/>
                  <a:gd name="T93" fmla="*/ 2162 h 2343"/>
                  <a:gd name="T94" fmla="*/ 342 w 1758"/>
                  <a:gd name="T95" fmla="*/ 1937 h 2343"/>
                  <a:gd name="T96" fmla="*/ 215 w 1758"/>
                  <a:gd name="T97" fmla="*/ 1661 h 2343"/>
                  <a:gd name="T98" fmla="*/ 174 w 1758"/>
                  <a:gd name="T99" fmla="*/ 1542 h 2343"/>
                  <a:gd name="T100" fmla="*/ 129 w 1758"/>
                  <a:gd name="T101" fmla="*/ 1411 h 2343"/>
                  <a:gd name="T102" fmla="*/ 80 w 1758"/>
                  <a:gd name="T103" fmla="*/ 1224 h 2343"/>
                  <a:gd name="T104" fmla="*/ 48 w 1758"/>
                  <a:gd name="T105" fmla="*/ 1009 h 2343"/>
                  <a:gd name="T106" fmla="*/ 54 w 1758"/>
                  <a:gd name="T107" fmla="*/ 793 h 2343"/>
                  <a:gd name="T108" fmla="*/ 0 w 1758"/>
                  <a:gd name="T109" fmla="*/ 763 h 2343"/>
                  <a:gd name="T110" fmla="*/ 7 w 1758"/>
                  <a:gd name="T111" fmla="*/ 723 h 2343"/>
                  <a:gd name="T112" fmla="*/ 34 w 1758"/>
                  <a:gd name="T113" fmla="*/ 621 h 2343"/>
                  <a:gd name="T114" fmla="*/ 94 w 1758"/>
                  <a:gd name="T115" fmla="*/ 478 h 2343"/>
                  <a:gd name="T116" fmla="*/ 196 w 1758"/>
                  <a:gd name="T117" fmla="*/ 320 h 2343"/>
                  <a:gd name="T118" fmla="*/ 351 w 1758"/>
                  <a:gd name="T119" fmla="*/ 171 h 2343"/>
                  <a:gd name="T120" fmla="*/ 571 w 1758"/>
                  <a:gd name="T121" fmla="*/ 55 h 2343"/>
                  <a:gd name="T122" fmla="*/ 787 w 1758"/>
                  <a:gd name="T123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9" y="1549"/>
                    </a:lnTo>
                    <a:lnTo>
                      <a:pt x="252" y="1596"/>
                    </a:lnTo>
                    <a:lnTo>
                      <a:pt x="270" y="1645"/>
                    </a:lnTo>
                    <a:lnTo>
                      <a:pt x="291" y="1693"/>
                    </a:lnTo>
                    <a:lnTo>
                      <a:pt x="327" y="1752"/>
                    </a:lnTo>
                    <a:lnTo>
                      <a:pt x="367" y="1809"/>
                    </a:lnTo>
                    <a:lnTo>
                      <a:pt x="409" y="1862"/>
                    </a:lnTo>
                    <a:lnTo>
                      <a:pt x="453" y="1911"/>
                    </a:lnTo>
                    <a:lnTo>
                      <a:pt x="500" y="1957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rgbClr val="000F4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Freeform 48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91 w 1758"/>
                  <a:gd name="T15" fmla="*/ 1693 h 2343"/>
                  <a:gd name="T16" fmla="*/ 453 w 1758"/>
                  <a:gd name="T17" fmla="*/ 1911 h 2343"/>
                  <a:gd name="T18" fmla="*/ 1151 w 1758"/>
                  <a:gd name="T19" fmla="*/ 1834 h 2343"/>
                  <a:gd name="T20" fmla="*/ 1341 w 1758"/>
                  <a:gd name="T21" fmla="*/ 1866 h 2343"/>
                  <a:gd name="T22" fmla="*/ 1492 w 1758"/>
                  <a:gd name="T23" fmla="*/ 1612 h 2343"/>
                  <a:gd name="T24" fmla="*/ 1554 w 1758"/>
                  <a:gd name="T25" fmla="*/ 1360 h 2343"/>
                  <a:gd name="T26" fmla="*/ 1567 w 1758"/>
                  <a:gd name="T27" fmla="*/ 1202 h 2343"/>
                  <a:gd name="T28" fmla="*/ 1564 w 1758"/>
                  <a:gd name="T29" fmla="*/ 1037 h 2343"/>
                  <a:gd name="T30" fmla="*/ 1530 w 1758"/>
                  <a:gd name="T31" fmla="*/ 879 h 2343"/>
                  <a:gd name="T32" fmla="*/ 1457 w 1758"/>
                  <a:gd name="T33" fmla="*/ 744 h 2343"/>
                  <a:gd name="T34" fmla="*/ 1331 w 1758"/>
                  <a:gd name="T35" fmla="*/ 644 h 2343"/>
                  <a:gd name="T36" fmla="*/ 1143 w 1758"/>
                  <a:gd name="T37" fmla="*/ 599 h 2343"/>
                  <a:gd name="T38" fmla="*/ 1013 w 1758"/>
                  <a:gd name="T39" fmla="*/ 598 h 2343"/>
                  <a:gd name="T40" fmla="*/ 962 w 1758"/>
                  <a:gd name="T41" fmla="*/ 588 h 2343"/>
                  <a:gd name="T42" fmla="*/ 872 w 1758"/>
                  <a:gd name="T43" fmla="*/ 579 h 2343"/>
                  <a:gd name="T44" fmla="*/ 840 w 1758"/>
                  <a:gd name="T45" fmla="*/ 2 h 2343"/>
                  <a:gd name="T46" fmla="*/ 941 w 1758"/>
                  <a:gd name="T47" fmla="*/ 11 h 2343"/>
                  <a:gd name="T48" fmla="*/ 1058 w 1758"/>
                  <a:gd name="T49" fmla="*/ 42 h 2343"/>
                  <a:gd name="T50" fmla="*/ 1162 w 1758"/>
                  <a:gd name="T51" fmla="*/ 104 h 2343"/>
                  <a:gd name="T52" fmla="*/ 1221 w 1758"/>
                  <a:gd name="T53" fmla="*/ 206 h 2343"/>
                  <a:gd name="T54" fmla="*/ 1231 w 1758"/>
                  <a:gd name="T55" fmla="*/ 274 h 2343"/>
                  <a:gd name="T56" fmla="*/ 1276 w 1758"/>
                  <a:gd name="T57" fmla="*/ 260 h 2343"/>
                  <a:gd name="T58" fmla="*/ 1351 w 1758"/>
                  <a:gd name="T59" fmla="*/ 245 h 2343"/>
                  <a:gd name="T60" fmla="*/ 1444 w 1758"/>
                  <a:gd name="T61" fmla="*/ 239 h 2343"/>
                  <a:gd name="T62" fmla="*/ 1545 w 1758"/>
                  <a:gd name="T63" fmla="*/ 256 h 2343"/>
                  <a:gd name="T64" fmla="*/ 1639 w 1758"/>
                  <a:gd name="T65" fmla="*/ 307 h 2343"/>
                  <a:gd name="T66" fmla="*/ 1713 w 1758"/>
                  <a:gd name="T67" fmla="*/ 404 h 2343"/>
                  <a:gd name="T68" fmla="*/ 1753 w 1758"/>
                  <a:gd name="T69" fmla="*/ 558 h 2343"/>
                  <a:gd name="T70" fmla="*/ 1751 w 1758"/>
                  <a:gd name="T71" fmla="*/ 783 h 2343"/>
                  <a:gd name="T72" fmla="*/ 1724 w 1758"/>
                  <a:gd name="T73" fmla="*/ 939 h 2343"/>
                  <a:gd name="T74" fmla="*/ 1699 w 1758"/>
                  <a:gd name="T75" fmla="*/ 1033 h 2343"/>
                  <a:gd name="T76" fmla="*/ 1656 w 1758"/>
                  <a:gd name="T77" fmla="*/ 1193 h 2343"/>
                  <a:gd name="T78" fmla="*/ 1606 w 1758"/>
                  <a:gd name="T79" fmla="*/ 1389 h 2343"/>
                  <a:gd name="T80" fmla="*/ 1561 w 1758"/>
                  <a:gd name="T81" fmla="*/ 1585 h 2343"/>
                  <a:gd name="T82" fmla="*/ 1480 w 1758"/>
                  <a:gd name="T83" fmla="*/ 1804 h 2343"/>
                  <a:gd name="T84" fmla="*/ 1332 w 1758"/>
                  <a:gd name="T85" fmla="*/ 2058 h 2343"/>
                  <a:gd name="T86" fmla="*/ 1146 w 1758"/>
                  <a:gd name="T87" fmla="*/ 2247 h 2343"/>
                  <a:gd name="T88" fmla="*/ 933 w 1758"/>
                  <a:gd name="T89" fmla="*/ 2339 h 2343"/>
                  <a:gd name="T90" fmla="*/ 710 w 1758"/>
                  <a:gd name="T91" fmla="*/ 2307 h 2343"/>
                  <a:gd name="T92" fmla="*/ 510 w 1758"/>
                  <a:gd name="T93" fmla="*/ 2162 h 2343"/>
                  <a:gd name="T94" fmla="*/ 342 w 1758"/>
                  <a:gd name="T95" fmla="*/ 1937 h 2343"/>
                  <a:gd name="T96" fmla="*/ 215 w 1758"/>
                  <a:gd name="T97" fmla="*/ 1661 h 2343"/>
                  <a:gd name="T98" fmla="*/ 174 w 1758"/>
                  <a:gd name="T99" fmla="*/ 1542 h 2343"/>
                  <a:gd name="T100" fmla="*/ 129 w 1758"/>
                  <a:gd name="T101" fmla="*/ 1411 h 2343"/>
                  <a:gd name="T102" fmla="*/ 80 w 1758"/>
                  <a:gd name="T103" fmla="*/ 1224 h 2343"/>
                  <a:gd name="T104" fmla="*/ 48 w 1758"/>
                  <a:gd name="T105" fmla="*/ 1009 h 2343"/>
                  <a:gd name="T106" fmla="*/ 54 w 1758"/>
                  <a:gd name="T107" fmla="*/ 793 h 2343"/>
                  <a:gd name="T108" fmla="*/ 0 w 1758"/>
                  <a:gd name="T109" fmla="*/ 763 h 2343"/>
                  <a:gd name="T110" fmla="*/ 7 w 1758"/>
                  <a:gd name="T111" fmla="*/ 723 h 2343"/>
                  <a:gd name="T112" fmla="*/ 34 w 1758"/>
                  <a:gd name="T113" fmla="*/ 621 h 2343"/>
                  <a:gd name="T114" fmla="*/ 94 w 1758"/>
                  <a:gd name="T115" fmla="*/ 478 h 2343"/>
                  <a:gd name="T116" fmla="*/ 196 w 1758"/>
                  <a:gd name="T117" fmla="*/ 320 h 2343"/>
                  <a:gd name="T118" fmla="*/ 351 w 1758"/>
                  <a:gd name="T119" fmla="*/ 171 h 2343"/>
                  <a:gd name="T120" fmla="*/ 571 w 1758"/>
                  <a:gd name="T121" fmla="*/ 55 h 2343"/>
                  <a:gd name="T122" fmla="*/ 787 w 1758"/>
                  <a:gd name="T123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9" y="1549"/>
                    </a:lnTo>
                    <a:lnTo>
                      <a:pt x="252" y="1596"/>
                    </a:lnTo>
                    <a:lnTo>
                      <a:pt x="270" y="1645"/>
                    </a:lnTo>
                    <a:lnTo>
                      <a:pt x="291" y="1693"/>
                    </a:lnTo>
                    <a:lnTo>
                      <a:pt x="327" y="1752"/>
                    </a:lnTo>
                    <a:lnTo>
                      <a:pt x="367" y="1809"/>
                    </a:lnTo>
                    <a:lnTo>
                      <a:pt x="409" y="1862"/>
                    </a:lnTo>
                    <a:lnTo>
                      <a:pt x="453" y="1911"/>
                    </a:lnTo>
                    <a:lnTo>
                      <a:pt x="500" y="1957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rgbClr val="000F4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Freeform 49"/>
              <p:cNvSpPr>
                <a:spLocks noEditPoints="1"/>
              </p:cNvSpPr>
              <p:nvPr/>
            </p:nvSpPr>
            <p:spPr bwMode="auto">
              <a:xfrm>
                <a:off x="-119063" y="-5329238"/>
                <a:ext cx="2790825" cy="3719513"/>
              </a:xfrm>
              <a:custGeom>
                <a:avLst/>
                <a:gdLst>
                  <a:gd name="T0" fmla="*/ 755 w 1758"/>
                  <a:gd name="T1" fmla="*/ 582 h 2343"/>
                  <a:gd name="T2" fmla="*/ 625 w 1758"/>
                  <a:gd name="T3" fmla="*/ 610 h 2343"/>
                  <a:gd name="T4" fmla="*/ 495 w 1758"/>
                  <a:gd name="T5" fmla="*/ 671 h 2343"/>
                  <a:gd name="T6" fmla="*/ 377 w 1758"/>
                  <a:gd name="T7" fmla="*/ 781 h 2343"/>
                  <a:gd name="T8" fmla="*/ 286 w 1758"/>
                  <a:gd name="T9" fmla="*/ 948 h 2343"/>
                  <a:gd name="T10" fmla="*/ 233 w 1758"/>
                  <a:gd name="T11" fmla="*/ 1186 h 2343"/>
                  <a:gd name="T12" fmla="*/ 230 w 1758"/>
                  <a:gd name="T13" fmla="*/ 1505 h 2343"/>
                  <a:gd name="T14" fmla="*/ 284 w 1758"/>
                  <a:gd name="T15" fmla="*/ 1690 h 2343"/>
                  <a:gd name="T16" fmla="*/ 401 w 1758"/>
                  <a:gd name="T17" fmla="*/ 1856 h 2343"/>
                  <a:gd name="T18" fmla="*/ 524 w 1758"/>
                  <a:gd name="T19" fmla="*/ 1978 h 2343"/>
                  <a:gd name="T20" fmla="*/ 1203 w 1758"/>
                  <a:gd name="T21" fmla="*/ 1994 h 2343"/>
                  <a:gd name="T22" fmla="*/ 1386 w 1758"/>
                  <a:gd name="T23" fmla="*/ 1807 h 2343"/>
                  <a:gd name="T24" fmla="*/ 1516 w 1758"/>
                  <a:gd name="T25" fmla="*/ 1542 h 2343"/>
                  <a:gd name="T26" fmla="*/ 1558 w 1758"/>
                  <a:gd name="T27" fmla="*/ 1322 h 2343"/>
                  <a:gd name="T28" fmla="*/ 1569 w 1758"/>
                  <a:gd name="T29" fmla="*/ 1161 h 2343"/>
                  <a:gd name="T30" fmla="*/ 1558 w 1758"/>
                  <a:gd name="T31" fmla="*/ 996 h 2343"/>
                  <a:gd name="T32" fmla="*/ 1516 w 1758"/>
                  <a:gd name="T33" fmla="*/ 843 h 2343"/>
                  <a:gd name="T34" fmla="*/ 1431 w 1758"/>
                  <a:gd name="T35" fmla="*/ 714 h 2343"/>
                  <a:gd name="T36" fmla="*/ 1290 w 1758"/>
                  <a:gd name="T37" fmla="*/ 628 h 2343"/>
                  <a:gd name="T38" fmla="*/ 1083 w 1758"/>
                  <a:gd name="T39" fmla="*/ 596 h 2343"/>
                  <a:gd name="T40" fmla="*/ 1005 w 1758"/>
                  <a:gd name="T41" fmla="*/ 595 h 2343"/>
                  <a:gd name="T42" fmla="*/ 943 w 1758"/>
                  <a:gd name="T43" fmla="*/ 585 h 2343"/>
                  <a:gd name="T44" fmla="*/ 845 w 1758"/>
                  <a:gd name="T45" fmla="*/ 578 h 2343"/>
                  <a:gd name="T46" fmla="*/ 862 w 1758"/>
                  <a:gd name="T47" fmla="*/ 3 h 2343"/>
                  <a:gd name="T48" fmla="*/ 970 w 1758"/>
                  <a:gd name="T49" fmla="*/ 18 h 2343"/>
                  <a:gd name="T50" fmla="*/ 1087 w 1758"/>
                  <a:gd name="T51" fmla="*/ 55 h 2343"/>
                  <a:gd name="T52" fmla="*/ 1182 w 1758"/>
                  <a:gd name="T53" fmla="*/ 125 h 2343"/>
                  <a:gd name="T54" fmla="*/ 1226 w 1758"/>
                  <a:gd name="T55" fmla="*/ 239 h 2343"/>
                  <a:gd name="T56" fmla="*/ 1239 w 1758"/>
                  <a:gd name="T57" fmla="*/ 271 h 2343"/>
                  <a:gd name="T58" fmla="*/ 1292 w 1758"/>
                  <a:gd name="T59" fmla="*/ 256 h 2343"/>
                  <a:gd name="T60" fmla="*/ 1373 w 1758"/>
                  <a:gd name="T61" fmla="*/ 243 h 2343"/>
                  <a:gd name="T62" fmla="*/ 1470 w 1758"/>
                  <a:gd name="T63" fmla="*/ 242 h 2343"/>
                  <a:gd name="T64" fmla="*/ 1570 w 1758"/>
                  <a:gd name="T65" fmla="*/ 265 h 2343"/>
                  <a:gd name="T66" fmla="*/ 1660 w 1758"/>
                  <a:gd name="T67" fmla="*/ 327 h 2343"/>
                  <a:gd name="T68" fmla="*/ 1726 w 1758"/>
                  <a:gd name="T69" fmla="*/ 436 h 2343"/>
                  <a:gd name="T70" fmla="*/ 1758 w 1758"/>
                  <a:gd name="T71" fmla="*/ 607 h 2343"/>
                  <a:gd name="T72" fmla="*/ 1741 w 1758"/>
                  <a:gd name="T73" fmla="*/ 851 h 2343"/>
                  <a:gd name="T74" fmla="*/ 1720 w 1758"/>
                  <a:gd name="T75" fmla="*/ 955 h 2343"/>
                  <a:gd name="T76" fmla="*/ 1689 w 1758"/>
                  <a:gd name="T77" fmla="*/ 1068 h 2343"/>
                  <a:gd name="T78" fmla="*/ 1645 w 1758"/>
                  <a:gd name="T79" fmla="*/ 1240 h 2343"/>
                  <a:gd name="T80" fmla="*/ 1593 w 1758"/>
                  <a:gd name="T81" fmla="*/ 1441 h 2343"/>
                  <a:gd name="T82" fmla="*/ 1561 w 1758"/>
                  <a:gd name="T83" fmla="*/ 1587 h 2343"/>
                  <a:gd name="T84" fmla="*/ 1447 w 1758"/>
                  <a:gd name="T85" fmla="*/ 1872 h 2343"/>
                  <a:gd name="T86" fmla="*/ 1289 w 1758"/>
                  <a:gd name="T87" fmla="*/ 2113 h 2343"/>
                  <a:gd name="T88" fmla="*/ 1096 w 1758"/>
                  <a:gd name="T89" fmla="*/ 2281 h 2343"/>
                  <a:gd name="T90" fmla="*/ 875 w 1758"/>
                  <a:gd name="T91" fmla="*/ 2343 h 2343"/>
                  <a:gd name="T92" fmla="*/ 657 w 1758"/>
                  <a:gd name="T93" fmla="*/ 2281 h 2343"/>
                  <a:gd name="T94" fmla="*/ 464 w 1758"/>
                  <a:gd name="T95" fmla="*/ 2113 h 2343"/>
                  <a:gd name="T96" fmla="*/ 307 w 1758"/>
                  <a:gd name="T97" fmla="*/ 1872 h 2343"/>
                  <a:gd name="T98" fmla="*/ 192 w 1758"/>
                  <a:gd name="T99" fmla="*/ 1587 h 2343"/>
                  <a:gd name="T100" fmla="*/ 165 w 1758"/>
                  <a:gd name="T101" fmla="*/ 1516 h 2343"/>
                  <a:gd name="T102" fmla="*/ 117 w 1758"/>
                  <a:gd name="T103" fmla="*/ 1368 h 2343"/>
                  <a:gd name="T104" fmla="*/ 70 w 1758"/>
                  <a:gd name="T105" fmla="*/ 1173 h 2343"/>
                  <a:gd name="T106" fmla="*/ 46 w 1758"/>
                  <a:gd name="T107" fmla="*/ 955 h 2343"/>
                  <a:gd name="T108" fmla="*/ 64 w 1758"/>
                  <a:gd name="T109" fmla="*/ 743 h 2343"/>
                  <a:gd name="T110" fmla="*/ 0 w 1758"/>
                  <a:gd name="T111" fmla="*/ 760 h 2343"/>
                  <a:gd name="T112" fmla="*/ 11 w 1758"/>
                  <a:gd name="T113" fmla="*/ 702 h 2343"/>
                  <a:gd name="T114" fmla="*/ 46 w 1758"/>
                  <a:gd name="T115" fmla="*/ 588 h 2343"/>
                  <a:gd name="T116" fmla="*/ 116 w 1758"/>
                  <a:gd name="T117" fmla="*/ 440 h 2343"/>
                  <a:gd name="T118" fmla="*/ 229 w 1758"/>
                  <a:gd name="T119" fmla="*/ 282 h 2343"/>
                  <a:gd name="T120" fmla="*/ 400 w 1758"/>
                  <a:gd name="T121" fmla="*/ 138 h 2343"/>
                  <a:gd name="T122" fmla="*/ 637 w 1758"/>
                  <a:gd name="T123" fmla="*/ 32 h 2343"/>
                  <a:gd name="T124" fmla="*/ 794 w 1758"/>
                  <a:gd name="T125" fmla="*/ 0 h 2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58" h="2343">
                    <a:moveTo>
                      <a:pt x="845" y="578"/>
                    </a:moveTo>
                    <a:lnTo>
                      <a:pt x="815" y="578"/>
                    </a:lnTo>
                    <a:lnTo>
                      <a:pt x="786" y="579"/>
                    </a:lnTo>
                    <a:lnTo>
                      <a:pt x="755" y="582"/>
                    </a:lnTo>
                    <a:lnTo>
                      <a:pt x="723" y="586"/>
                    </a:lnTo>
                    <a:lnTo>
                      <a:pt x="691" y="591"/>
                    </a:lnTo>
                    <a:lnTo>
                      <a:pt x="657" y="600"/>
                    </a:lnTo>
                    <a:lnTo>
                      <a:pt x="625" y="610"/>
                    </a:lnTo>
                    <a:lnTo>
                      <a:pt x="592" y="621"/>
                    </a:lnTo>
                    <a:lnTo>
                      <a:pt x="559" y="636"/>
                    </a:lnTo>
                    <a:lnTo>
                      <a:pt x="527" y="653"/>
                    </a:lnTo>
                    <a:lnTo>
                      <a:pt x="495" y="671"/>
                    </a:lnTo>
                    <a:lnTo>
                      <a:pt x="464" y="695"/>
                    </a:lnTo>
                    <a:lnTo>
                      <a:pt x="433" y="721"/>
                    </a:lnTo>
                    <a:lnTo>
                      <a:pt x="405" y="749"/>
                    </a:lnTo>
                    <a:lnTo>
                      <a:pt x="377" y="781"/>
                    </a:lnTo>
                    <a:lnTo>
                      <a:pt x="351" y="818"/>
                    </a:lnTo>
                    <a:lnTo>
                      <a:pt x="327" y="857"/>
                    </a:lnTo>
                    <a:lnTo>
                      <a:pt x="305" y="900"/>
                    </a:lnTo>
                    <a:lnTo>
                      <a:pt x="286" y="948"/>
                    </a:lnTo>
                    <a:lnTo>
                      <a:pt x="268" y="1001"/>
                    </a:lnTo>
                    <a:lnTo>
                      <a:pt x="254" y="1058"/>
                    </a:lnTo>
                    <a:lnTo>
                      <a:pt x="241" y="1120"/>
                    </a:lnTo>
                    <a:lnTo>
                      <a:pt x="233" y="1186"/>
                    </a:lnTo>
                    <a:lnTo>
                      <a:pt x="226" y="1257"/>
                    </a:lnTo>
                    <a:lnTo>
                      <a:pt x="224" y="1335"/>
                    </a:lnTo>
                    <a:lnTo>
                      <a:pt x="225" y="1416"/>
                    </a:lnTo>
                    <a:lnTo>
                      <a:pt x="230" y="1505"/>
                    </a:lnTo>
                    <a:lnTo>
                      <a:pt x="235" y="1552"/>
                    </a:lnTo>
                    <a:lnTo>
                      <a:pt x="246" y="1599"/>
                    </a:lnTo>
                    <a:lnTo>
                      <a:pt x="262" y="1644"/>
                    </a:lnTo>
                    <a:lnTo>
                      <a:pt x="284" y="1690"/>
                    </a:lnTo>
                    <a:lnTo>
                      <a:pt x="309" y="1734"/>
                    </a:lnTo>
                    <a:lnTo>
                      <a:pt x="339" y="1777"/>
                    </a:lnTo>
                    <a:lnTo>
                      <a:pt x="369" y="1818"/>
                    </a:lnTo>
                    <a:lnTo>
                      <a:pt x="401" y="1856"/>
                    </a:lnTo>
                    <a:lnTo>
                      <a:pt x="433" y="1892"/>
                    </a:lnTo>
                    <a:lnTo>
                      <a:pt x="465" y="1924"/>
                    </a:lnTo>
                    <a:lnTo>
                      <a:pt x="496" y="1953"/>
                    </a:lnTo>
                    <a:lnTo>
                      <a:pt x="524" y="1978"/>
                    </a:lnTo>
                    <a:lnTo>
                      <a:pt x="550" y="1997"/>
                    </a:lnTo>
                    <a:lnTo>
                      <a:pt x="602" y="1834"/>
                    </a:lnTo>
                    <a:lnTo>
                      <a:pt x="1151" y="1834"/>
                    </a:lnTo>
                    <a:lnTo>
                      <a:pt x="1203" y="1994"/>
                    </a:lnTo>
                    <a:lnTo>
                      <a:pt x="1246" y="1959"/>
                    </a:lnTo>
                    <a:lnTo>
                      <a:pt x="1289" y="1921"/>
                    </a:lnTo>
                    <a:lnTo>
                      <a:pt x="1341" y="1866"/>
                    </a:lnTo>
                    <a:lnTo>
                      <a:pt x="1386" y="1807"/>
                    </a:lnTo>
                    <a:lnTo>
                      <a:pt x="1427" y="1745"/>
                    </a:lnTo>
                    <a:lnTo>
                      <a:pt x="1463" y="1680"/>
                    </a:lnTo>
                    <a:lnTo>
                      <a:pt x="1492" y="1612"/>
                    </a:lnTo>
                    <a:lnTo>
                      <a:pt x="1516" y="1542"/>
                    </a:lnTo>
                    <a:lnTo>
                      <a:pt x="1535" y="1469"/>
                    </a:lnTo>
                    <a:lnTo>
                      <a:pt x="1549" y="1395"/>
                    </a:lnTo>
                    <a:lnTo>
                      <a:pt x="1554" y="1360"/>
                    </a:lnTo>
                    <a:lnTo>
                      <a:pt x="1558" y="1322"/>
                    </a:lnTo>
                    <a:lnTo>
                      <a:pt x="1561" y="1283"/>
                    </a:lnTo>
                    <a:lnTo>
                      <a:pt x="1565" y="1243"/>
                    </a:lnTo>
                    <a:lnTo>
                      <a:pt x="1567" y="1202"/>
                    </a:lnTo>
                    <a:lnTo>
                      <a:pt x="1569" y="1161"/>
                    </a:lnTo>
                    <a:lnTo>
                      <a:pt x="1567" y="1120"/>
                    </a:lnTo>
                    <a:lnTo>
                      <a:pt x="1566" y="1079"/>
                    </a:lnTo>
                    <a:lnTo>
                      <a:pt x="1564" y="1037"/>
                    </a:lnTo>
                    <a:lnTo>
                      <a:pt x="1558" y="996"/>
                    </a:lnTo>
                    <a:lnTo>
                      <a:pt x="1551" y="956"/>
                    </a:lnTo>
                    <a:lnTo>
                      <a:pt x="1542" y="918"/>
                    </a:lnTo>
                    <a:lnTo>
                      <a:pt x="1530" y="879"/>
                    </a:lnTo>
                    <a:lnTo>
                      <a:pt x="1516" y="843"/>
                    </a:lnTo>
                    <a:lnTo>
                      <a:pt x="1500" y="808"/>
                    </a:lnTo>
                    <a:lnTo>
                      <a:pt x="1479" y="775"/>
                    </a:lnTo>
                    <a:lnTo>
                      <a:pt x="1457" y="744"/>
                    </a:lnTo>
                    <a:lnTo>
                      <a:pt x="1431" y="714"/>
                    </a:lnTo>
                    <a:lnTo>
                      <a:pt x="1401" y="689"/>
                    </a:lnTo>
                    <a:lnTo>
                      <a:pt x="1368" y="665"/>
                    </a:lnTo>
                    <a:lnTo>
                      <a:pt x="1331" y="644"/>
                    </a:lnTo>
                    <a:lnTo>
                      <a:pt x="1290" y="628"/>
                    </a:lnTo>
                    <a:lnTo>
                      <a:pt x="1245" y="614"/>
                    </a:lnTo>
                    <a:lnTo>
                      <a:pt x="1196" y="604"/>
                    </a:lnTo>
                    <a:lnTo>
                      <a:pt x="1143" y="599"/>
                    </a:lnTo>
                    <a:lnTo>
                      <a:pt x="1083" y="596"/>
                    </a:lnTo>
                    <a:lnTo>
                      <a:pt x="1021" y="599"/>
                    </a:lnTo>
                    <a:lnTo>
                      <a:pt x="1018" y="599"/>
                    </a:lnTo>
                    <a:lnTo>
                      <a:pt x="1013" y="598"/>
                    </a:lnTo>
                    <a:lnTo>
                      <a:pt x="1005" y="595"/>
                    </a:lnTo>
                    <a:lnTo>
                      <a:pt x="994" y="593"/>
                    </a:lnTo>
                    <a:lnTo>
                      <a:pt x="979" y="590"/>
                    </a:lnTo>
                    <a:lnTo>
                      <a:pt x="962" y="588"/>
                    </a:lnTo>
                    <a:lnTo>
                      <a:pt x="943" y="585"/>
                    </a:lnTo>
                    <a:lnTo>
                      <a:pt x="921" y="582"/>
                    </a:lnTo>
                    <a:lnTo>
                      <a:pt x="898" y="580"/>
                    </a:lnTo>
                    <a:lnTo>
                      <a:pt x="872" y="579"/>
                    </a:lnTo>
                    <a:lnTo>
                      <a:pt x="845" y="578"/>
                    </a:lnTo>
                    <a:close/>
                    <a:moveTo>
                      <a:pt x="805" y="0"/>
                    </a:moveTo>
                    <a:lnTo>
                      <a:pt x="821" y="0"/>
                    </a:lnTo>
                    <a:lnTo>
                      <a:pt x="840" y="2"/>
                    </a:lnTo>
                    <a:lnTo>
                      <a:pt x="862" y="3"/>
                    </a:lnTo>
                    <a:lnTo>
                      <a:pt x="886" y="5"/>
                    </a:lnTo>
                    <a:lnTo>
                      <a:pt x="914" y="8"/>
                    </a:lnTo>
                    <a:lnTo>
                      <a:pt x="941" y="11"/>
                    </a:lnTo>
                    <a:lnTo>
                      <a:pt x="970" y="18"/>
                    </a:lnTo>
                    <a:lnTo>
                      <a:pt x="1000" y="24"/>
                    </a:lnTo>
                    <a:lnTo>
                      <a:pt x="1029" y="32"/>
                    </a:lnTo>
                    <a:lnTo>
                      <a:pt x="1058" y="42"/>
                    </a:lnTo>
                    <a:lnTo>
                      <a:pt x="1087" y="55"/>
                    </a:lnTo>
                    <a:lnTo>
                      <a:pt x="1113" y="69"/>
                    </a:lnTo>
                    <a:lnTo>
                      <a:pt x="1139" y="85"/>
                    </a:lnTo>
                    <a:lnTo>
                      <a:pt x="1162" y="104"/>
                    </a:lnTo>
                    <a:lnTo>
                      <a:pt x="1182" y="125"/>
                    </a:lnTo>
                    <a:lnTo>
                      <a:pt x="1199" y="149"/>
                    </a:lnTo>
                    <a:lnTo>
                      <a:pt x="1213" y="176"/>
                    </a:lnTo>
                    <a:lnTo>
                      <a:pt x="1221" y="206"/>
                    </a:lnTo>
                    <a:lnTo>
                      <a:pt x="1226" y="239"/>
                    </a:lnTo>
                    <a:lnTo>
                      <a:pt x="1225" y="276"/>
                    </a:lnTo>
                    <a:lnTo>
                      <a:pt x="1226" y="275"/>
                    </a:lnTo>
                    <a:lnTo>
                      <a:pt x="1231" y="274"/>
                    </a:lnTo>
                    <a:lnTo>
                      <a:pt x="1239" y="271"/>
                    </a:lnTo>
                    <a:lnTo>
                      <a:pt x="1248" y="268"/>
                    </a:lnTo>
                    <a:lnTo>
                      <a:pt x="1261" y="264"/>
                    </a:lnTo>
                    <a:lnTo>
                      <a:pt x="1276" y="260"/>
                    </a:lnTo>
                    <a:lnTo>
                      <a:pt x="1292" y="256"/>
                    </a:lnTo>
                    <a:lnTo>
                      <a:pt x="1310" y="253"/>
                    </a:lnTo>
                    <a:lnTo>
                      <a:pt x="1330" y="248"/>
                    </a:lnTo>
                    <a:lnTo>
                      <a:pt x="1351" y="245"/>
                    </a:lnTo>
                    <a:lnTo>
                      <a:pt x="1373" y="243"/>
                    </a:lnTo>
                    <a:lnTo>
                      <a:pt x="1396" y="240"/>
                    </a:lnTo>
                    <a:lnTo>
                      <a:pt x="1420" y="239"/>
                    </a:lnTo>
                    <a:lnTo>
                      <a:pt x="1444" y="239"/>
                    </a:lnTo>
                    <a:lnTo>
                      <a:pt x="1470" y="242"/>
                    </a:lnTo>
                    <a:lnTo>
                      <a:pt x="1495" y="244"/>
                    </a:lnTo>
                    <a:lnTo>
                      <a:pt x="1521" y="249"/>
                    </a:lnTo>
                    <a:lnTo>
                      <a:pt x="1545" y="256"/>
                    </a:lnTo>
                    <a:lnTo>
                      <a:pt x="1570" y="265"/>
                    </a:lnTo>
                    <a:lnTo>
                      <a:pt x="1593" y="277"/>
                    </a:lnTo>
                    <a:lnTo>
                      <a:pt x="1617" y="291"/>
                    </a:lnTo>
                    <a:lnTo>
                      <a:pt x="1639" y="307"/>
                    </a:lnTo>
                    <a:lnTo>
                      <a:pt x="1660" y="327"/>
                    </a:lnTo>
                    <a:lnTo>
                      <a:pt x="1678" y="349"/>
                    </a:lnTo>
                    <a:lnTo>
                      <a:pt x="1697" y="375"/>
                    </a:lnTo>
                    <a:lnTo>
                      <a:pt x="1713" y="404"/>
                    </a:lnTo>
                    <a:lnTo>
                      <a:pt x="1726" y="436"/>
                    </a:lnTo>
                    <a:lnTo>
                      <a:pt x="1737" y="473"/>
                    </a:lnTo>
                    <a:lnTo>
                      <a:pt x="1747" y="514"/>
                    </a:lnTo>
                    <a:lnTo>
                      <a:pt x="1753" y="558"/>
                    </a:lnTo>
                    <a:lnTo>
                      <a:pt x="1758" y="607"/>
                    </a:lnTo>
                    <a:lnTo>
                      <a:pt x="1758" y="662"/>
                    </a:lnTo>
                    <a:lnTo>
                      <a:pt x="1756" y="719"/>
                    </a:lnTo>
                    <a:lnTo>
                      <a:pt x="1751" y="783"/>
                    </a:lnTo>
                    <a:lnTo>
                      <a:pt x="1741" y="851"/>
                    </a:lnTo>
                    <a:lnTo>
                      <a:pt x="1727" y="925"/>
                    </a:lnTo>
                    <a:lnTo>
                      <a:pt x="1726" y="929"/>
                    </a:lnTo>
                    <a:lnTo>
                      <a:pt x="1724" y="939"/>
                    </a:lnTo>
                    <a:lnTo>
                      <a:pt x="1720" y="955"/>
                    </a:lnTo>
                    <a:lnTo>
                      <a:pt x="1714" y="976"/>
                    </a:lnTo>
                    <a:lnTo>
                      <a:pt x="1706" y="1003"/>
                    </a:lnTo>
                    <a:lnTo>
                      <a:pt x="1699" y="1033"/>
                    </a:lnTo>
                    <a:lnTo>
                      <a:pt x="1689" y="1068"/>
                    </a:lnTo>
                    <a:lnTo>
                      <a:pt x="1679" y="1107"/>
                    </a:lnTo>
                    <a:lnTo>
                      <a:pt x="1668" y="1149"/>
                    </a:lnTo>
                    <a:lnTo>
                      <a:pt x="1656" y="1193"/>
                    </a:lnTo>
                    <a:lnTo>
                      <a:pt x="1645" y="1240"/>
                    </a:lnTo>
                    <a:lnTo>
                      <a:pt x="1631" y="1288"/>
                    </a:lnTo>
                    <a:lnTo>
                      <a:pt x="1619" y="1339"/>
                    </a:lnTo>
                    <a:lnTo>
                      <a:pt x="1606" y="1389"/>
                    </a:lnTo>
                    <a:lnTo>
                      <a:pt x="1593" y="1441"/>
                    </a:lnTo>
                    <a:lnTo>
                      <a:pt x="1597" y="1441"/>
                    </a:lnTo>
                    <a:lnTo>
                      <a:pt x="1580" y="1512"/>
                    </a:lnTo>
                    <a:lnTo>
                      <a:pt x="1561" y="1585"/>
                    </a:lnTo>
                    <a:lnTo>
                      <a:pt x="1561" y="1587"/>
                    </a:lnTo>
                    <a:lnTo>
                      <a:pt x="1538" y="1661"/>
                    </a:lnTo>
                    <a:lnTo>
                      <a:pt x="1511" y="1733"/>
                    </a:lnTo>
                    <a:lnTo>
                      <a:pt x="1480" y="1804"/>
                    </a:lnTo>
                    <a:lnTo>
                      <a:pt x="1447" y="1872"/>
                    </a:lnTo>
                    <a:lnTo>
                      <a:pt x="1411" y="1937"/>
                    </a:lnTo>
                    <a:lnTo>
                      <a:pt x="1373" y="2000"/>
                    </a:lnTo>
                    <a:lnTo>
                      <a:pt x="1332" y="2058"/>
                    </a:lnTo>
                    <a:lnTo>
                      <a:pt x="1289" y="2113"/>
                    </a:lnTo>
                    <a:lnTo>
                      <a:pt x="1244" y="2162"/>
                    </a:lnTo>
                    <a:lnTo>
                      <a:pt x="1196" y="2208"/>
                    </a:lnTo>
                    <a:lnTo>
                      <a:pt x="1146" y="2247"/>
                    </a:lnTo>
                    <a:lnTo>
                      <a:pt x="1096" y="2281"/>
                    </a:lnTo>
                    <a:lnTo>
                      <a:pt x="1043" y="2307"/>
                    </a:lnTo>
                    <a:lnTo>
                      <a:pt x="989" y="2326"/>
                    </a:lnTo>
                    <a:lnTo>
                      <a:pt x="933" y="2339"/>
                    </a:lnTo>
                    <a:lnTo>
                      <a:pt x="875" y="2343"/>
                    </a:lnTo>
                    <a:lnTo>
                      <a:pt x="820" y="2339"/>
                    </a:lnTo>
                    <a:lnTo>
                      <a:pt x="765" y="2326"/>
                    </a:lnTo>
                    <a:lnTo>
                      <a:pt x="710" y="2307"/>
                    </a:lnTo>
                    <a:lnTo>
                      <a:pt x="657" y="2281"/>
                    </a:lnTo>
                    <a:lnTo>
                      <a:pt x="607" y="2247"/>
                    </a:lnTo>
                    <a:lnTo>
                      <a:pt x="558" y="2208"/>
                    </a:lnTo>
                    <a:lnTo>
                      <a:pt x="510" y="2162"/>
                    </a:lnTo>
                    <a:lnTo>
                      <a:pt x="464" y="2113"/>
                    </a:lnTo>
                    <a:lnTo>
                      <a:pt x="421" y="2058"/>
                    </a:lnTo>
                    <a:lnTo>
                      <a:pt x="380" y="2000"/>
                    </a:lnTo>
                    <a:lnTo>
                      <a:pt x="342" y="1937"/>
                    </a:lnTo>
                    <a:lnTo>
                      <a:pt x="307" y="1872"/>
                    </a:lnTo>
                    <a:lnTo>
                      <a:pt x="273" y="1804"/>
                    </a:lnTo>
                    <a:lnTo>
                      <a:pt x="243" y="1733"/>
                    </a:lnTo>
                    <a:lnTo>
                      <a:pt x="215" y="1661"/>
                    </a:lnTo>
                    <a:lnTo>
                      <a:pt x="192" y="1587"/>
                    </a:lnTo>
                    <a:lnTo>
                      <a:pt x="188" y="1579"/>
                    </a:lnTo>
                    <a:lnTo>
                      <a:pt x="182" y="1563"/>
                    </a:lnTo>
                    <a:lnTo>
                      <a:pt x="174" y="1542"/>
                    </a:lnTo>
                    <a:lnTo>
                      <a:pt x="165" y="1516"/>
                    </a:lnTo>
                    <a:lnTo>
                      <a:pt x="154" y="1485"/>
                    </a:lnTo>
                    <a:lnTo>
                      <a:pt x="142" y="1450"/>
                    </a:lnTo>
                    <a:lnTo>
                      <a:pt x="129" y="1411"/>
                    </a:lnTo>
                    <a:lnTo>
                      <a:pt x="117" y="1368"/>
                    </a:lnTo>
                    <a:lnTo>
                      <a:pt x="105" y="1323"/>
                    </a:lnTo>
                    <a:lnTo>
                      <a:pt x="92" y="1275"/>
                    </a:lnTo>
                    <a:lnTo>
                      <a:pt x="80" y="1224"/>
                    </a:lnTo>
                    <a:lnTo>
                      <a:pt x="70" y="1173"/>
                    </a:lnTo>
                    <a:lnTo>
                      <a:pt x="60" y="1118"/>
                    </a:lnTo>
                    <a:lnTo>
                      <a:pt x="54" y="1064"/>
                    </a:lnTo>
                    <a:lnTo>
                      <a:pt x="48" y="1009"/>
                    </a:lnTo>
                    <a:lnTo>
                      <a:pt x="46" y="955"/>
                    </a:lnTo>
                    <a:lnTo>
                      <a:pt x="46" y="899"/>
                    </a:lnTo>
                    <a:lnTo>
                      <a:pt x="48" y="846"/>
                    </a:lnTo>
                    <a:lnTo>
                      <a:pt x="54" y="793"/>
                    </a:lnTo>
                    <a:lnTo>
                      <a:pt x="64" y="743"/>
                    </a:lnTo>
                    <a:lnTo>
                      <a:pt x="78" y="694"/>
                    </a:lnTo>
                    <a:lnTo>
                      <a:pt x="96" y="647"/>
                    </a:lnTo>
                    <a:lnTo>
                      <a:pt x="0" y="763"/>
                    </a:lnTo>
                    <a:lnTo>
                      <a:pt x="0" y="760"/>
                    </a:lnTo>
                    <a:lnTo>
                      <a:pt x="1" y="751"/>
                    </a:lnTo>
                    <a:lnTo>
                      <a:pt x="4" y="739"/>
                    </a:lnTo>
                    <a:lnTo>
                      <a:pt x="7" y="723"/>
                    </a:lnTo>
                    <a:lnTo>
                      <a:pt x="11" y="702"/>
                    </a:lnTo>
                    <a:lnTo>
                      <a:pt x="17" y="678"/>
                    </a:lnTo>
                    <a:lnTo>
                      <a:pt x="25" y="650"/>
                    </a:lnTo>
                    <a:lnTo>
                      <a:pt x="34" y="621"/>
                    </a:lnTo>
                    <a:lnTo>
                      <a:pt x="46" y="588"/>
                    </a:lnTo>
                    <a:lnTo>
                      <a:pt x="60" y="553"/>
                    </a:lnTo>
                    <a:lnTo>
                      <a:pt x="75" y="516"/>
                    </a:lnTo>
                    <a:lnTo>
                      <a:pt x="94" y="478"/>
                    </a:lnTo>
                    <a:lnTo>
                      <a:pt x="116" y="440"/>
                    </a:lnTo>
                    <a:lnTo>
                      <a:pt x="139" y="401"/>
                    </a:lnTo>
                    <a:lnTo>
                      <a:pt x="166" y="361"/>
                    </a:lnTo>
                    <a:lnTo>
                      <a:pt x="196" y="320"/>
                    </a:lnTo>
                    <a:lnTo>
                      <a:pt x="229" y="282"/>
                    </a:lnTo>
                    <a:lnTo>
                      <a:pt x="266" y="244"/>
                    </a:lnTo>
                    <a:lnTo>
                      <a:pt x="307" y="207"/>
                    </a:lnTo>
                    <a:lnTo>
                      <a:pt x="351" y="171"/>
                    </a:lnTo>
                    <a:lnTo>
                      <a:pt x="400" y="138"/>
                    </a:lnTo>
                    <a:lnTo>
                      <a:pt x="452" y="107"/>
                    </a:lnTo>
                    <a:lnTo>
                      <a:pt x="510" y="79"/>
                    </a:lnTo>
                    <a:lnTo>
                      <a:pt x="571" y="55"/>
                    </a:lnTo>
                    <a:lnTo>
                      <a:pt x="637" y="32"/>
                    </a:lnTo>
                    <a:lnTo>
                      <a:pt x="708" y="15"/>
                    </a:lnTo>
                    <a:lnTo>
                      <a:pt x="784" y="0"/>
                    </a:lnTo>
                    <a:lnTo>
                      <a:pt x="787" y="0"/>
                    </a:lnTo>
                    <a:lnTo>
                      <a:pt x="794" y="0"/>
                    </a:lnTo>
                    <a:lnTo>
                      <a:pt x="80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1" name="Freeform 50"/>
              <p:cNvSpPr>
                <a:spLocks/>
              </p:cNvSpPr>
              <p:nvPr/>
            </p:nvSpPr>
            <p:spPr bwMode="auto">
              <a:xfrm>
                <a:off x="917575" y="-2244725"/>
                <a:ext cx="711200" cy="163513"/>
              </a:xfrm>
              <a:custGeom>
                <a:avLst/>
                <a:gdLst>
                  <a:gd name="T0" fmla="*/ 0 w 448"/>
                  <a:gd name="T1" fmla="*/ 0 h 103"/>
                  <a:gd name="T2" fmla="*/ 448 w 448"/>
                  <a:gd name="T3" fmla="*/ 0 h 103"/>
                  <a:gd name="T4" fmla="*/ 418 w 448"/>
                  <a:gd name="T5" fmla="*/ 30 h 103"/>
                  <a:gd name="T6" fmla="*/ 385 w 448"/>
                  <a:gd name="T7" fmla="*/ 54 h 103"/>
                  <a:gd name="T8" fmla="*/ 349 w 448"/>
                  <a:gd name="T9" fmla="*/ 75 h 103"/>
                  <a:gd name="T10" fmla="*/ 310 w 448"/>
                  <a:gd name="T11" fmla="*/ 90 h 103"/>
                  <a:gd name="T12" fmla="*/ 268 w 448"/>
                  <a:gd name="T13" fmla="*/ 99 h 103"/>
                  <a:gd name="T14" fmla="*/ 222 w 448"/>
                  <a:gd name="T15" fmla="*/ 103 h 103"/>
                  <a:gd name="T16" fmla="*/ 179 w 448"/>
                  <a:gd name="T17" fmla="*/ 99 h 103"/>
                  <a:gd name="T18" fmla="*/ 137 w 448"/>
                  <a:gd name="T19" fmla="*/ 89 h 103"/>
                  <a:gd name="T20" fmla="*/ 98 w 448"/>
                  <a:gd name="T21" fmla="*/ 74 h 103"/>
                  <a:gd name="T22" fmla="*/ 62 w 448"/>
                  <a:gd name="T23" fmla="*/ 53 h 103"/>
                  <a:gd name="T24" fmla="*/ 29 w 448"/>
                  <a:gd name="T25" fmla="*/ 29 h 103"/>
                  <a:gd name="T26" fmla="*/ 0 w 448"/>
                  <a:gd name="T27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8" h="103">
                    <a:moveTo>
                      <a:pt x="0" y="0"/>
                    </a:moveTo>
                    <a:lnTo>
                      <a:pt x="448" y="0"/>
                    </a:lnTo>
                    <a:lnTo>
                      <a:pt x="418" y="30"/>
                    </a:lnTo>
                    <a:lnTo>
                      <a:pt x="385" y="54"/>
                    </a:lnTo>
                    <a:lnTo>
                      <a:pt x="349" y="75"/>
                    </a:lnTo>
                    <a:lnTo>
                      <a:pt x="310" y="90"/>
                    </a:lnTo>
                    <a:lnTo>
                      <a:pt x="268" y="99"/>
                    </a:lnTo>
                    <a:lnTo>
                      <a:pt x="222" y="103"/>
                    </a:lnTo>
                    <a:lnTo>
                      <a:pt x="179" y="99"/>
                    </a:lnTo>
                    <a:lnTo>
                      <a:pt x="137" y="89"/>
                    </a:lnTo>
                    <a:lnTo>
                      <a:pt x="98" y="74"/>
                    </a:lnTo>
                    <a:lnTo>
                      <a:pt x="62" y="53"/>
                    </a:lnTo>
                    <a:lnTo>
                      <a:pt x="29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5D36C3D-87A9-46F1-A606-3D94B038FCD3}"/>
              </a:ext>
            </a:extLst>
          </p:cNvPr>
          <p:cNvGrpSpPr/>
          <p:nvPr userDrawn="1"/>
        </p:nvGrpSpPr>
        <p:grpSpPr>
          <a:xfrm>
            <a:off x="5417797" y="4414955"/>
            <a:ext cx="1305752" cy="1160263"/>
            <a:chOff x="5519406" y="4267806"/>
            <a:chExt cx="1177418" cy="1177418"/>
          </a:xfrm>
        </p:grpSpPr>
        <p:sp>
          <p:nvSpPr>
            <p:cNvPr id="143" name="Oval 142"/>
            <p:cNvSpPr/>
            <p:nvPr/>
          </p:nvSpPr>
          <p:spPr>
            <a:xfrm>
              <a:off x="5519406" y="426780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4" name="Freeform 21"/>
            <p:cNvSpPr>
              <a:spLocks/>
            </p:cNvSpPr>
            <p:nvPr/>
          </p:nvSpPr>
          <p:spPr bwMode="auto">
            <a:xfrm>
              <a:off x="5607330" y="4355730"/>
              <a:ext cx="1001570" cy="1001570"/>
            </a:xfrm>
            <a:custGeom>
              <a:avLst/>
              <a:gdLst>
                <a:gd name="T0" fmla="*/ 2140 w 4033"/>
                <a:gd name="T1" fmla="*/ 3 h 4033"/>
                <a:gd name="T2" fmla="*/ 2380 w 4033"/>
                <a:gd name="T3" fmla="*/ 33 h 4033"/>
                <a:gd name="T4" fmla="*/ 2609 w 4033"/>
                <a:gd name="T5" fmla="*/ 88 h 4033"/>
                <a:gd name="T6" fmla="*/ 2828 w 4033"/>
                <a:gd name="T7" fmla="*/ 170 h 4033"/>
                <a:gd name="T8" fmla="*/ 3035 w 4033"/>
                <a:gd name="T9" fmla="*/ 275 h 4033"/>
                <a:gd name="T10" fmla="*/ 3227 w 4033"/>
                <a:gd name="T11" fmla="*/ 403 h 4033"/>
                <a:gd name="T12" fmla="*/ 3401 w 4033"/>
                <a:gd name="T13" fmla="*/ 551 h 4033"/>
                <a:gd name="T14" fmla="*/ 3559 w 4033"/>
                <a:gd name="T15" fmla="*/ 717 h 4033"/>
                <a:gd name="T16" fmla="*/ 3697 w 4033"/>
                <a:gd name="T17" fmla="*/ 901 h 4033"/>
                <a:gd name="T18" fmla="*/ 3813 w 4033"/>
                <a:gd name="T19" fmla="*/ 1100 h 4033"/>
                <a:gd name="T20" fmla="*/ 3907 w 4033"/>
                <a:gd name="T21" fmla="*/ 1312 h 4033"/>
                <a:gd name="T22" fmla="*/ 3976 w 4033"/>
                <a:gd name="T23" fmla="*/ 1537 h 4033"/>
                <a:gd name="T24" fmla="*/ 4019 w 4033"/>
                <a:gd name="T25" fmla="*/ 1773 h 4033"/>
                <a:gd name="T26" fmla="*/ 4033 w 4033"/>
                <a:gd name="T27" fmla="*/ 2016 h 4033"/>
                <a:gd name="T28" fmla="*/ 4019 w 4033"/>
                <a:gd name="T29" fmla="*/ 2260 h 4033"/>
                <a:gd name="T30" fmla="*/ 3976 w 4033"/>
                <a:gd name="T31" fmla="*/ 2495 h 4033"/>
                <a:gd name="T32" fmla="*/ 3907 w 4033"/>
                <a:gd name="T33" fmla="*/ 2720 h 4033"/>
                <a:gd name="T34" fmla="*/ 3813 w 4033"/>
                <a:gd name="T35" fmla="*/ 2933 h 4033"/>
                <a:gd name="T36" fmla="*/ 3697 w 4033"/>
                <a:gd name="T37" fmla="*/ 3132 h 4033"/>
                <a:gd name="T38" fmla="*/ 3559 w 4033"/>
                <a:gd name="T39" fmla="*/ 3316 h 4033"/>
                <a:gd name="T40" fmla="*/ 3401 w 4033"/>
                <a:gd name="T41" fmla="*/ 3482 h 4033"/>
                <a:gd name="T42" fmla="*/ 3227 w 4033"/>
                <a:gd name="T43" fmla="*/ 3630 h 4033"/>
                <a:gd name="T44" fmla="*/ 3035 w 4033"/>
                <a:gd name="T45" fmla="*/ 3758 h 4033"/>
                <a:gd name="T46" fmla="*/ 2828 w 4033"/>
                <a:gd name="T47" fmla="*/ 3863 h 4033"/>
                <a:gd name="T48" fmla="*/ 2609 w 4033"/>
                <a:gd name="T49" fmla="*/ 3945 h 4033"/>
                <a:gd name="T50" fmla="*/ 2380 w 4033"/>
                <a:gd name="T51" fmla="*/ 4000 h 4033"/>
                <a:gd name="T52" fmla="*/ 2140 w 4033"/>
                <a:gd name="T53" fmla="*/ 4029 h 4033"/>
                <a:gd name="T54" fmla="*/ 1893 w 4033"/>
                <a:gd name="T55" fmla="*/ 4029 h 4033"/>
                <a:gd name="T56" fmla="*/ 1654 w 4033"/>
                <a:gd name="T57" fmla="*/ 4000 h 4033"/>
                <a:gd name="T58" fmla="*/ 1424 w 4033"/>
                <a:gd name="T59" fmla="*/ 3945 h 4033"/>
                <a:gd name="T60" fmla="*/ 1205 w 4033"/>
                <a:gd name="T61" fmla="*/ 3863 h 4033"/>
                <a:gd name="T62" fmla="*/ 999 w 4033"/>
                <a:gd name="T63" fmla="*/ 3758 h 4033"/>
                <a:gd name="T64" fmla="*/ 807 w 4033"/>
                <a:gd name="T65" fmla="*/ 3630 h 4033"/>
                <a:gd name="T66" fmla="*/ 632 w 4033"/>
                <a:gd name="T67" fmla="*/ 3482 h 4033"/>
                <a:gd name="T68" fmla="*/ 474 w 4033"/>
                <a:gd name="T69" fmla="*/ 3316 h 4033"/>
                <a:gd name="T70" fmla="*/ 336 w 4033"/>
                <a:gd name="T71" fmla="*/ 3132 h 4033"/>
                <a:gd name="T72" fmla="*/ 220 w 4033"/>
                <a:gd name="T73" fmla="*/ 2933 h 4033"/>
                <a:gd name="T74" fmla="*/ 126 w 4033"/>
                <a:gd name="T75" fmla="*/ 2720 h 4033"/>
                <a:gd name="T76" fmla="*/ 57 w 4033"/>
                <a:gd name="T77" fmla="*/ 2495 h 4033"/>
                <a:gd name="T78" fmla="*/ 15 w 4033"/>
                <a:gd name="T79" fmla="*/ 2260 h 4033"/>
                <a:gd name="T80" fmla="*/ 0 w 4033"/>
                <a:gd name="T81" fmla="*/ 2016 h 4033"/>
                <a:gd name="T82" fmla="*/ 15 w 4033"/>
                <a:gd name="T83" fmla="*/ 1773 h 4033"/>
                <a:gd name="T84" fmla="*/ 57 w 4033"/>
                <a:gd name="T85" fmla="*/ 1537 h 4033"/>
                <a:gd name="T86" fmla="*/ 126 w 4033"/>
                <a:gd name="T87" fmla="*/ 1312 h 4033"/>
                <a:gd name="T88" fmla="*/ 220 w 4033"/>
                <a:gd name="T89" fmla="*/ 1100 h 4033"/>
                <a:gd name="T90" fmla="*/ 336 w 4033"/>
                <a:gd name="T91" fmla="*/ 901 h 4033"/>
                <a:gd name="T92" fmla="*/ 474 w 4033"/>
                <a:gd name="T93" fmla="*/ 717 h 4033"/>
                <a:gd name="T94" fmla="*/ 632 w 4033"/>
                <a:gd name="T95" fmla="*/ 551 h 4033"/>
                <a:gd name="T96" fmla="*/ 807 w 4033"/>
                <a:gd name="T97" fmla="*/ 403 h 4033"/>
                <a:gd name="T98" fmla="*/ 999 w 4033"/>
                <a:gd name="T99" fmla="*/ 275 h 4033"/>
                <a:gd name="T100" fmla="*/ 1205 w 4033"/>
                <a:gd name="T101" fmla="*/ 170 h 4033"/>
                <a:gd name="T102" fmla="*/ 1424 w 4033"/>
                <a:gd name="T103" fmla="*/ 88 h 4033"/>
                <a:gd name="T104" fmla="*/ 1654 w 4033"/>
                <a:gd name="T105" fmla="*/ 33 h 4033"/>
                <a:gd name="T106" fmla="*/ 1893 w 4033"/>
                <a:gd name="T107" fmla="*/ 3 h 4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33" h="4033">
                  <a:moveTo>
                    <a:pt x="2015" y="0"/>
                  </a:moveTo>
                  <a:lnTo>
                    <a:pt x="2140" y="3"/>
                  </a:lnTo>
                  <a:lnTo>
                    <a:pt x="2260" y="14"/>
                  </a:lnTo>
                  <a:lnTo>
                    <a:pt x="2380" y="33"/>
                  </a:lnTo>
                  <a:lnTo>
                    <a:pt x="2496" y="57"/>
                  </a:lnTo>
                  <a:lnTo>
                    <a:pt x="2609" y="88"/>
                  </a:lnTo>
                  <a:lnTo>
                    <a:pt x="2721" y="126"/>
                  </a:lnTo>
                  <a:lnTo>
                    <a:pt x="2828" y="170"/>
                  </a:lnTo>
                  <a:lnTo>
                    <a:pt x="2933" y="220"/>
                  </a:lnTo>
                  <a:lnTo>
                    <a:pt x="3035" y="275"/>
                  </a:lnTo>
                  <a:lnTo>
                    <a:pt x="3132" y="336"/>
                  </a:lnTo>
                  <a:lnTo>
                    <a:pt x="3227" y="403"/>
                  </a:lnTo>
                  <a:lnTo>
                    <a:pt x="3316" y="474"/>
                  </a:lnTo>
                  <a:lnTo>
                    <a:pt x="3401" y="551"/>
                  </a:lnTo>
                  <a:lnTo>
                    <a:pt x="3482" y="632"/>
                  </a:lnTo>
                  <a:lnTo>
                    <a:pt x="3559" y="717"/>
                  </a:lnTo>
                  <a:lnTo>
                    <a:pt x="3630" y="806"/>
                  </a:lnTo>
                  <a:lnTo>
                    <a:pt x="3697" y="901"/>
                  </a:lnTo>
                  <a:lnTo>
                    <a:pt x="3758" y="998"/>
                  </a:lnTo>
                  <a:lnTo>
                    <a:pt x="3813" y="1100"/>
                  </a:lnTo>
                  <a:lnTo>
                    <a:pt x="3863" y="1205"/>
                  </a:lnTo>
                  <a:lnTo>
                    <a:pt x="3907" y="1312"/>
                  </a:lnTo>
                  <a:lnTo>
                    <a:pt x="3945" y="1424"/>
                  </a:lnTo>
                  <a:lnTo>
                    <a:pt x="3976" y="1537"/>
                  </a:lnTo>
                  <a:lnTo>
                    <a:pt x="4000" y="1653"/>
                  </a:lnTo>
                  <a:lnTo>
                    <a:pt x="4019" y="1773"/>
                  </a:lnTo>
                  <a:lnTo>
                    <a:pt x="4030" y="1893"/>
                  </a:lnTo>
                  <a:lnTo>
                    <a:pt x="4033" y="2016"/>
                  </a:lnTo>
                  <a:lnTo>
                    <a:pt x="4030" y="2140"/>
                  </a:lnTo>
                  <a:lnTo>
                    <a:pt x="4019" y="2260"/>
                  </a:lnTo>
                  <a:lnTo>
                    <a:pt x="4000" y="2379"/>
                  </a:lnTo>
                  <a:lnTo>
                    <a:pt x="3976" y="2495"/>
                  </a:lnTo>
                  <a:lnTo>
                    <a:pt x="3945" y="2609"/>
                  </a:lnTo>
                  <a:lnTo>
                    <a:pt x="3907" y="2720"/>
                  </a:lnTo>
                  <a:lnTo>
                    <a:pt x="3863" y="2828"/>
                  </a:lnTo>
                  <a:lnTo>
                    <a:pt x="3813" y="2933"/>
                  </a:lnTo>
                  <a:lnTo>
                    <a:pt x="3758" y="3034"/>
                  </a:lnTo>
                  <a:lnTo>
                    <a:pt x="3697" y="3132"/>
                  </a:lnTo>
                  <a:lnTo>
                    <a:pt x="3630" y="3226"/>
                  </a:lnTo>
                  <a:lnTo>
                    <a:pt x="3559" y="3316"/>
                  </a:lnTo>
                  <a:lnTo>
                    <a:pt x="3482" y="3401"/>
                  </a:lnTo>
                  <a:lnTo>
                    <a:pt x="3401" y="3482"/>
                  </a:lnTo>
                  <a:lnTo>
                    <a:pt x="3316" y="3559"/>
                  </a:lnTo>
                  <a:lnTo>
                    <a:pt x="3227" y="3630"/>
                  </a:lnTo>
                  <a:lnTo>
                    <a:pt x="3132" y="3697"/>
                  </a:lnTo>
                  <a:lnTo>
                    <a:pt x="3035" y="3758"/>
                  </a:lnTo>
                  <a:lnTo>
                    <a:pt x="2933" y="3813"/>
                  </a:lnTo>
                  <a:lnTo>
                    <a:pt x="2828" y="3863"/>
                  </a:lnTo>
                  <a:lnTo>
                    <a:pt x="2721" y="3907"/>
                  </a:lnTo>
                  <a:lnTo>
                    <a:pt x="2609" y="3945"/>
                  </a:lnTo>
                  <a:lnTo>
                    <a:pt x="2496" y="3976"/>
                  </a:lnTo>
                  <a:lnTo>
                    <a:pt x="2380" y="4000"/>
                  </a:lnTo>
                  <a:lnTo>
                    <a:pt x="2260" y="4018"/>
                  </a:lnTo>
                  <a:lnTo>
                    <a:pt x="2140" y="4029"/>
                  </a:lnTo>
                  <a:lnTo>
                    <a:pt x="2015" y="4033"/>
                  </a:lnTo>
                  <a:lnTo>
                    <a:pt x="1893" y="4029"/>
                  </a:lnTo>
                  <a:lnTo>
                    <a:pt x="1773" y="4018"/>
                  </a:lnTo>
                  <a:lnTo>
                    <a:pt x="1654" y="4000"/>
                  </a:lnTo>
                  <a:lnTo>
                    <a:pt x="1538" y="3976"/>
                  </a:lnTo>
                  <a:lnTo>
                    <a:pt x="1424" y="3945"/>
                  </a:lnTo>
                  <a:lnTo>
                    <a:pt x="1313" y="3907"/>
                  </a:lnTo>
                  <a:lnTo>
                    <a:pt x="1205" y="3863"/>
                  </a:lnTo>
                  <a:lnTo>
                    <a:pt x="1100" y="3813"/>
                  </a:lnTo>
                  <a:lnTo>
                    <a:pt x="999" y="3758"/>
                  </a:lnTo>
                  <a:lnTo>
                    <a:pt x="901" y="3697"/>
                  </a:lnTo>
                  <a:lnTo>
                    <a:pt x="807" y="3630"/>
                  </a:lnTo>
                  <a:lnTo>
                    <a:pt x="717" y="3559"/>
                  </a:lnTo>
                  <a:lnTo>
                    <a:pt x="632" y="3482"/>
                  </a:lnTo>
                  <a:lnTo>
                    <a:pt x="551" y="3401"/>
                  </a:lnTo>
                  <a:lnTo>
                    <a:pt x="474" y="3316"/>
                  </a:lnTo>
                  <a:lnTo>
                    <a:pt x="403" y="3226"/>
                  </a:lnTo>
                  <a:lnTo>
                    <a:pt x="336" y="3132"/>
                  </a:lnTo>
                  <a:lnTo>
                    <a:pt x="275" y="3034"/>
                  </a:lnTo>
                  <a:lnTo>
                    <a:pt x="220" y="2933"/>
                  </a:lnTo>
                  <a:lnTo>
                    <a:pt x="170" y="2828"/>
                  </a:lnTo>
                  <a:lnTo>
                    <a:pt x="126" y="2720"/>
                  </a:lnTo>
                  <a:lnTo>
                    <a:pt x="88" y="2609"/>
                  </a:lnTo>
                  <a:lnTo>
                    <a:pt x="57" y="2495"/>
                  </a:lnTo>
                  <a:lnTo>
                    <a:pt x="33" y="2379"/>
                  </a:lnTo>
                  <a:lnTo>
                    <a:pt x="15" y="2260"/>
                  </a:lnTo>
                  <a:lnTo>
                    <a:pt x="4" y="2140"/>
                  </a:lnTo>
                  <a:lnTo>
                    <a:pt x="0" y="2016"/>
                  </a:lnTo>
                  <a:lnTo>
                    <a:pt x="4" y="1893"/>
                  </a:lnTo>
                  <a:lnTo>
                    <a:pt x="15" y="1773"/>
                  </a:lnTo>
                  <a:lnTo>
                    <a:pt x="33" y="1653"/>
                  </a:lnTo>
                  <a:lnTo>
                    <a:pt x="57" y="1537"/>
                  </a:lnTo>
                  <a:lnTo>
                    <a:pt x="88" y="1424"/>
                  </a:lnTo>
                  <a:lnTo>
                    <a:pt x="126" y="1312"/>
                  </a:lnTo>
                  <a:lnTo>
                    <a:pt x="170" y="1205"/>
                  </a:lnTo>
                  <a:lnTo>
                    <a:pt x="220" y="1100"/>
                  </a:lnTo>
                  <a:lnTo>
                    <a:pt x="275" y="998"/>
                  </a:lnTo>
                  <a:lnTo>
                    <a:pt x="336" y="901"/>
                  </a:lnTo>
                  <a:lnTo>
                    <a:pt x="403" y="806"/>
                  </a:lnTo>
                  <a:lnTo>
                    <a:pt x="474" y="717"/>
                  </a:lnTo>
                  <a:lnTo>
                    <a:pt x="551" y="632"/>
                  </a:lnTo>
                  <a:lnTo>
                    <a:pt x="632" y="551"/>
                  </a:lnTo>
                  <a:lnTo>
                    <a:pt x="717" y="474"/>
                  </a:lnTo>
                  <a:lnTo>
                    <a:pt x="807" y="403"/>
                  </a:lnTo>
                  <a:lnTo>
                    <a:pt x="901" y="336"/>
                  </a:lnTo>
                  <a:lnTo>
                    <a:pt x="999" y="275"/>
                  </a:lnTo>
                  <a:lnTo>
                    <a:pt x="1100" y="220"/>
                  </a:lnTo>
                  <a:lnTo>
                    <a:pt x="1205" y="170"/>
                  </a:lnTo>
                  <a:lnTo>
                    <a:pt x="1313" y="126"/>
                  </a:lnTo>
                  <a:lnTo>
                    <a:pt x="1424" y="88"/>
                  </a:lnTo>
                  <a:lnTo>
                    <a:pt x="1538" y="57"/>
                  </a:lnTo>
                  <a:lnTo>
                    <a:pt x="1654" y="33"/>
                  </a:lnTo>
                  <a:lnTo>
                    <a:pt x="1773" y="14"/>
                  </a:lnTo>
                  <a:lnTo>
                    <a:pt x="1893" y="3"/>
                  </a:lnTo>
                  <a:lnTo>
                    <a:pt x="201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45" name="Group 144"/>
            <p:cNvGrpSpPr/>
            <p:nvPr/>
          </p:nvGrpSpPr>
          <p:grpSpPr>
            <a:xfrm>
              <a:off x="5772727" y="4468975"/>
              <a:ext cx="670776" cy="888325"/>
              <a:chOff x="-9182100" y="-4170363"/>
              <a:chExt cx="4287837" cy="5678488"/>
            </a:xfrm>
          </p:grpSpPr>
          <p:sp>
            <p:nvSpPr>
              <p:cNvPr id="146" name="Freeform 22"/>
              <p:cNvSpPr>
                <a:spLocks/>
              </p:cNvSpPr>
              <p:nvPr/>
            </p:nvSpPr>
            <p:spPr bwMode="auto">
              <a:xfrm>
                <a:off x="-7165975" y="-2735263"/>
                <a:ext cx="1501775" cy="2128838"/>
              </a:xfrm>
              <a:custGeom>
                <a:avLst/>
                <a:gdLst>
                  <a:gd name="T0" fmla="*/ 0 w 946"/>
                  <a:gd name="T1" fmla="*/ 0 h 1341"/>
                  <a:gd name="T2" fmla="*/ 836 w 946"/>
                  <a:gd name="T3" fmla="*/ 0 h 1341"/>
                  <a:gd name="T4" fmla="*/ 836 w 946"/>
                  <a:gd name="T5" fmla="*/ 4 h 1341"/>
                  <a:gd name="T6" fmla="*/ 835 w 946"/>
                  <a:gd name="T7" fmla="*/ 16 h 1341"/>
                  <a:gd name="T8" fmla="*/ 833 w 946"/>
                  <a:gd name="T9" fmla="*/ 36 h 1341"/>
                  <a:gd name="T10" fmla="*/ 831 w 946"/>
                  <a:gd name="T11" fmla="*/ 62 h 1341"/>
                  <a:gd name="T12" fmla="*/ 829 w 946"/>
                  <a:gd name="T13" fmla="*/ 95 h 1341"/>
                  <a:gd name="T14" fmla="*/ 826 w 946"/>
                  <a:gd name="T15" fmla="*/ 133 h 1341"/>
                  <a:gd name="T16" fmla="*/ 824 w 946"/>
                  <a:gd name="T17" fmla="*/ 179 h 1341"/>
                  <a:gd name="T18" fmla="*/ 821 w 946"/>
                  <a:gd name="T19" fmla="*/ 227 h 1341"/>
                  <a:gd name="T20" fmla="*/ 820 w 946"/>
                  <a:gd name="T21" fmla="*/ 282 h 1341"/>
                  <a:gd name="T22" fmla="*/ 819 w 946"/>
                  <a:gd name="T23" fmla="*/ 340 h 1341"/>
                  <a:gd name="T24" fmla="*/ 819 w 946"/>
                  <a:gd name="T25" fmla="*/ 402 h 1341"/>
                  <a:gd name="T26" fmla="*/ 819 w 946"/>
                  <a:gd name="T27" fmla="*/ 468 h 1341"/>
                  <a:gd name="T28" fmla="*/ 820 w 946"/>
                  <a:gd name="T29" fmla="*/ 537 h 1341"/>
                  <a:gd name="T30" fmla="*/ 822 w 946"/>
                  <a:gd name="T31" fmla="*/ 606 h 1341"/>
                  <a:gd name="T32" fmla="*/ 826 w 946"/>
                  <a:gd name="T33" fmla="*/ 680 h 1341"/>
                  <a:gd name="T34" fmla="*/ 832 w 946"/>
                  <a:gd name="T35" fmla="*/ 753 h 1341"/>
                  <a:gd name="T36" fmla="*/ 838 w 946"/>
                  <a:gd name="T37" fmla="*/ 829 h 1341"/>
                  <a:gd name="T38" fmla="*/ 847 w 946"/>
                  <a:gd name="T39" fmla="*/ 903 h 1341"/>
                  <a:gd name="T40" fmla="*/ 858 w 946"/>
                  <a:gd name="T41" fmla="*/ 979 h 1341"/>
                  <a:gd name="T42" fmla="*/ 871 w 946"/>
                  <a:gd name="T43" fmla="*/ 1055 h 1341"/>
                  <a:gd name="T44" fmla="*/ 886 w 946"/>
                  <a:gd name="T45" fmla="*/ 1128 h 1341"/>
                  <a:gd name="T46" fmla="*/ 903 w 946"/>
                  <a:gd name="T47" fmla="*/ 1201 h 1341"/>
                  <a:gd name="T48" fmla="*/ 923 w 946"/>
                  <a:gd name="T49" fmla="*/ 1272 h 1341"/>
                  <a:gd name="T50" fmla="*/ 946 w 946"/>
                  <a:gd name="T51" fmla="*/ 1341 h 1341"/>
                  <a:gd name="T52" fmla="*/ 0 w 946"/>
                  <a:gd name="T53" fmla="*/ 1341 h 1341"/>
                  <a:gd name="T54" fmla="*/ 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0" y="0"/>
                    </a:moveTo>
                    <a:lnTo>
                      <a:pt x="836" y="0"/>
                    </a:lnTo>
                    <a:lnTo>
                      <a:pt x="836" y="4"/>
                    </a:lnTo>
                    <a:lnTo>
                      <a:pt x="835" y="16"/>
                    </a:lnTo>
                    <a:lnTo>
                      <a:pt x="833" y="36"/>
                    </a:lnTo>
                    <a:lnTo>
                      <a:pt x="831" y="62"/>
                    </a:lnTo>
                    <a:lnTo>
                      <a:pt x="829" y="95"/>
                    </a:lnTo>
                    <a:lnTo>
                      <a:pt x="826" y="133"/>
                    </a:lnTo>
                    <a:lnTo>
                      <a:pt x="824" y="179"/>
                    </a:lnTo>
                    <a:lnTo>
                      <a:pt x="821" y="227"/>
                    </a:lnTo>
                    <a:lnTo>
                      <a:pt x="820" y="282"/>
                    </a:lnTo>
                    <a:lnTo>
                      <a:pt x="819" y="340"/>
                    </a:lnTo>
                    <a:lnTo>
                      <a:pt x="819" y="402"/>
                    </a:lnTo>
                    <a:lnTo>
                      <a:pt x="819" y="468"/>
                    </a:lnTo>
                    <a:lnTo>
                      <a:pt x="820" y="537"/>
                    </a:lnTo>
                    <a:lnTo>
                      <a:pt x="822" y="606"/>
                    </a:lnTo>
                    <a:lnTo>
                      <a:pt x="826" y="680"/>
                    </a:lnTo>
                    <a:lnTo>
                      <a:pt x="832" y="753"/>
                    </a:lnTo>
                    <a:lnTo>
                      <a:pt x="838" y="829"/>
                    </a:lnTo>
                    <a:lnTo>
                      <a:pt x="847" y="903"/>
                    </a:lnTo>
                    <a:lnTo>
                      <a:pt x="858" y="979"/>
                    </a:lnTo>
                    <a:lnTo>
                      <a:pt x="871" y="1055"/>
                    </a:lnTo>
                    <a:lnTo>
                      <a:pt x="886" y="1128"/>
                    </a:lnTo>
                    <a:lnTo>
                      <a:pt x="903" y="1201"/>
                    </a:lnTo>
                    <a:lnTo>
                      <a:pt x="923" y="1272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7" name="Freeform 23"/>
              <p:cNvSpPr>
                <a:spLocks/>
              </p:cNvSpPr>
              <p:nvPr/>
            </p:nvSpPr>
            <p:spPr bwMode="auto">
              <a:xfrm>
                <a:off x="-8412163" y="-2735263"/>
                <a:ext cx="1501775" cy="2128838"/>
              </a:xfrm>
              <a:custGeom>
                <a:avLst/>
                <a:gdLst>
                  <a:gd name="T0" fmla="*/ 110 w 946"/>
                  <a:gd name="T1" fmla="*/ 0 h 1341"/>
                  <a:gd name="T2" fmla="*/ 946 w 946"/>
                  <a:gd name="T3" fmla="*/ 0 h 1341"/>
                  <a:gd name="T4" fmla="*/ 946 w 946"/>
                  <a:gd name="T5" fmla="*/ 1341 h 1341"/>
                  <a:gd name="T6" fmla="*/ 0 w 946"/>
                  <a:gd name="T7" fmla="*/ 1341 h 1341"/>
                  <a:gd name="T8" fmla="*/ 24 w 946"/>
                  <a:gd name="T9" fmla="*/ 1272 h 1341"/>
                  <a:gd name="T10" fmla="*/ 43 w 946"/>
                  <a:gd name="T11" fmla="*/ 1201 h 1341"/>
                  <a:gd name="T12" fmla="*/ 60 w 946"/>
                  <a:gd name="T13" fmla="*/ 1128 h 1341"/>
                  <a:gd name="T14" fmla="*/ 75 w 946"/>
                  <a:gd name="T15" fmla="*/ 1055 h 1341"/>
                  <a:gd name="T16" fmla="*/ 88 w 946"/>
                  <a:gd name="T17" fmla="*/ 979 h 1341"/>
                  <a:gd name="T18" fmla="*/ 99 w 946"/>
                  <a:gd name="T19" fmla="*/ 903 h 1341"/>
                  <a:gd name="T20" fmla="*/ 108 w 946"/>
                  <a:gd name="T21" fmla="*/ 829 h 1341"/>
                  <a:gd name="T22" fmla="*/ 114 w 946"/>
                  <a:gd name="T23" fmla="*/ 753 h 1341"/>
                  <a:gd name="T24" fmla="*/ 120 w 946"/>
                  <a:gd name="T25" fmla="*/ 680 h 1341"/>
                  <a:gd name="T26" fmla="*/ 124 w 946"/>
                  <a:gd name="T27" fmla="*/ 606 h 1341"/>
                  <a:gd name="T28" fmla="*/ 126 w 946"/>
                  <a:gd name="T29" fmla="*/ 537 h 1341"/>
                  <a:gd name="T30" fmla="*/ 127 w 946"/>
                  <a:gd name="T31" fmla="*/ 468 h 1341"/>
                  <a:gd name="T32" fmla="*/ 127 w 946"/>
                  <a:gd name="T33" fmla="*/ 402 h 1341"/>
                  <a:gd name="T34" fmla="*/ 127 w 946"/>
                  <a:gd name="T35" fmla="*/ 340 h 1341"/>
                  <a:gd name="T36" fmla="*/ 126 w 946"/>
                  <a:gd name="T37" fmla="*/ 282 h 1341"/>
                  <a:gd name="T38" fmla="*/ 125 w 946"/>
                  <a:gd name="T39" fmla="*/ 227 h 1341"/>
                  <a:gd name="T40" fmla="*/ 123 w 946"/>
                  <a:gd name="T41" fmla="*/ 179 h 1341"/>
                  <a:gd name="T42" fmla="*/ 120 w 946"/>
                  <a:gd name="T43" fmla="*/ 133 h 1341"/>
                  <a:gd name="T44" fmla="*/ 118 w 946"/>
                  <a:gd name="T45" fmla="*/ 95 h 1341"/>
                  <a:gd name="T46" fmla="*/ 115 w 946"/>
                  <a:gd name="T47" fmla="*/ 62 h 1341"/>
                  <a:gd name="T48" fmla="*/ 113 w 946"/>
                  <a:gd name="T49" fmla="*/ 36 h 1341"/>
                  <a:gd name="T50" fmla="*/ 112 w 946"/>
                  <a:gd name="T51" fmla="*/ 16 h 1341"/>
                  <a:gd name="T52" fmla="*/ 110 w 946"/>
                  <a:gd name="T53" fmla="*/ 4 h 1341"/>
                  <a:gd name="T54" fmla="*/ 110 w 946"/>
                  <a:gd name="T55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341">
                    <a:moveTo>
                      <a:pt x="110" y="0"/>
                    </a:moveTo>
                    <a:lnTo>
                      <a:pt x="946" y="0"/>
                    </a:lnTo>
                    <a:lnTo>
                      <a:pt x="946" y="1341"/>
                    </a:lnTo>
                    <a:lnTo>
                      <a:pt x="0" y="1341"/>
                    </a:lnTo>
                    <a:lnTo>
                      <a:pt x="24" y="1272"/>
                    </a:lnTo>
                    <a:lnTo>
                      <a:pt x="43" y="1201"/>
                    </a:lnTo>
                    <a:lnTo>
                      <a:pt x="60" y="1128"/>
                    </a:lnTo>
                    <a:lnTo>
                      <a:pt x="75" y="1055"/>
                    </a:lnTo>
                    <a:lnTo>
                      <a:pt x="88" y="979"/>
                    </a:lnTo>
                    <a:lnTo>
                      <a:pt x="99" y="903"/>
                    </a:lnTo>
                    <a:lnTo>
                      <a:pt x="108" y="829"/>
                    </a:lnTo>
                    <a:lnTo>
                      <a:pt x="114" y="753"/>
                    </a:lnTo>
                    <a:lnTo>
                      <a:pt x="120" y="680"/>
                    </a:lnTo>
                    <a:lnTo>
                      <a:pt x="124" y="606"/>
                    </a:lnTo>
                    <a:lnTo>
                      <a:pt x="126" y="537"/>
                    </a:lnTo>
                    <a:lnTo>
                      <a:pt x="127" y="468"/>
                    </a:lnTo>
                    <a:lnTo>
                      <a:pt x="127" y="402"/>
                    </a:lnTo>
                    <a:lnTo>
                      <a:pt x="127" y="340"/>
                    </a:lnTo>
                    <a:lnTo>
                      <a:pt x="126" y="282"/>
                    </a:lnTo>
                    <a:lnTo>
                      <a:pt x="125" y="227"/>
                    </a:lnTo>
                    <a:lnTo>
                      <a:pt x="123" y="179"/>
                    </a:lnTo>
                    <a:lnTo>
                      <a:pt x="120" y="133"/>
                    </a:lnTo>
                    <a:lnTo>
                      <a:pt x="118" y="95"/>
                    </a:lnTo>
                    <a:lnTo>
                      <a:pt x="115" y="62"/>
                    </a:lnTo>
                    <a:lnTo>
                      <a:pt x="113" y="36"/>
                    </a:lnTo>
                    <a:lnTo>
                      <a:pt x="112" y="16"/>
                    </a:lnTo>
                    <a:lnTo>
                      <a:pt x="110" y="4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Freeform 24"/>
              <p:cNvSpPr>
                <a:spLocks/>
              </p:cNvSpPr>
              <p:nvPr/>
            </p:nvSpPr>
            <p:spPr bwMode="auto">
              <a:xfrm>
                <a:off x="-7713663" y="-2262188"/>
                <a:ext cx="1346200" cy="2082800"/>
              </a:xfrm>
              <a:custGeom>
                <a:avLst/>
                <a:gdLst>
                  <a:gd name="T0" fmla="*/ 463 w 848"/>
                  <a:gd name="T1" fmla="*/ 5 h 1312"/>
                  <a:gd name="T2" fmla="*/ 538 w 848"/>
                  <a:gd name="T3" fmla="*/ 37 h 1312"/>
                  <a:gd name="T4" fmla="*/ 606 w 848"/>
                  <a:gd name="T5" fmla="*/ 96 h 1312"/>
                  <a:gd name="T6" fmla="*/ 670 w 848"/>
                  <a:gd name="T7" fmla="*/ 178 h 1312"/>
                  <a:gd name="T8" fmla="*/ 725 w 848"/>
                  <a:gd name="T9" fmla="*/ 277 h 1312"/>
                  <a:gd name="T10" fmla="*/ 771 w 848"/>
                  <a:gd name="T11" fmla="*/ 390 h 1312"/>
                  <a:gd name="T12" fmla="*/ 808 w 848"/>
                  <a:gd name="T13" fmla="*/ 511 h 1312"/>
                  <a:gd name="T14" fmla="*/ 834 w 848"/>
                  <a:gd name="T15" fmla="*/ 637 h 1312"/>
                  <a:gd name="T16" fmla="*/ 847 w 848"/>
                  <a:gd name="T17" fmla="*/ 763 h 1312"/>
                  <a:gd name="T18" fmla="*/ 847 w 848"/>
                  <a:gd name="T19" fmla="*/ 885 h 1312"/>
                  <a:gd name="T20" fmla="*/ 833 w 848"/>
                  <a:gd name="T21" fmla="*/ 994 h 1312"/>
                  <a:gd name="T22" fmla="*/ 803 w 848"/>
                  <a:gd name="T23" fmla="*/ 1084 h 1312"/>
                  <a:gd name="T24" fmla="*/ 763 w 848"/>
                  <a:gd name="T25" fmla="*/ 1159 h 1312"/>
                  <a:gd name="T26" fmla="*/ 710 w 848"/>
                  <a:gd name="T27" fmla="*/ 1216 h 1312"/>
                  <a:gd name="T28" fmla="*/ 650 w 848"/>
                  <a:gd name="T29" fmla="*/ 1259 h 1312"/>
                  <a:gd name="T30" fmla="*/ 581 w 848"/>
                  <a:gd name="T31" fmla="*/ 1290 h 1312"/>
                  <a:gd name="T32" fmla="*/ 505 w 848"/>
                  <a:gd name="T33" fmla="*/ 1306 h 1312"/>
                  <a:gd name="T34" fmla="*/ 424 w 848"/>
                  <a:gd name="T35" fmla="*/ 1312 h 1312"/>
                  <a:gd name="T36" fmla="*/ 345 w 848"/>
                  <a:gd name="T37" fmla="*/ 1306 h 1312"/>
                  <a:gd name="T38" fmla="*/ 269 w 848"/>
                  <a:gd name="T39" fmla="*/ 1290 h 1312"/>
                  <a:gd name="T40" fmla="*/ 200 w 848"/>
                  <a:gd name="T41" fmla="*/ 1259 h 1312"/>
                  <a:gd name="T42" fmla="*/ 138 w 848"/>
                  <a:gd name="T43" fmla="*/ 1216 h 1312"/>
                  <a:gd name="T44" fmla="*/ 87 w 848"/>
                  <a:gd name="T45" fmla="*/ 1159 h 1312"/>
                  <a:gd name="T46" fmla="*/ 47 w 848"/>
                  <a:gd name="T47" fmla="*/ 1084 h 1312"/>
                  <a:gd name="T48" fmla="*/ 17 w 848"/>
                  <a:gd name="T49" fmla="*/ 994 h 1312"/>
                  <a:gd name="T50" fmla="*/ 3 w 848"/>
                  <a:gd name="T51" fmla="*/ 885 h 1312"/>
                  <a:gd name="T52" fmla="*/ 3 w 848"/>
                  <a:gd name="T53" fmla="*/ 763 h 1312"/>
                  <a:gd name="T54" fmla="*/ 16 w 848"/>
                  <a:gd name="T55" fmla="*/ 637 h 1312"/>
                  <a:gd name="T56" fmla="*/ 42 w 848"/>
                  <a:gd name="T57" fmla="*/ 511 h 1312"/>
                  <a:gd name="T58" fmla="*/ 79 w 848"/>
                  <a:gd name="T59" fmla="*/ 390 h 1312"/>
                  <a:gd name="T60" fmla="*/ 125 w 848"/>
                  <a:gd name="T61" fmla="*/ 277 h 1312"/>
                  <a:gd name="T62" fmla="*/ 180 w 848"/>
                  <a:gd name="T63" fmla="*/ 178 h 1312"/>
                  <a:gd name="T64" fmla="*/ 244 w 848"/>
                  <a:gd name="T65" fmla="*/ 96 h 1312"/>
                  <a:gd name="T66" fmla="*/ 312 w 848"/>
                  <a:gd name="T67" fmla="*/ 37 h 1312"/>
                  <a:gd name="T68" fmla="*/ 387 w 848"/>
                  <a:gd name="T69" fmla="*/ 5 h 1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48" h="1312">
                    <a:moveTo>
                      <a:pt x="424" y="0"/>
                    </a:moveTo>
                    <a:lnTo>
                      <a:pt x="463" y="5"/>
                    </a:lnTo>
                    <a:lnTo>
                      <a:pt x="501" y="17"/>
                    </a:lnTo>
                    <a:lnTo>
                      <a:pt x="538" y="37"/>
                    </a:lnTo>
                    <a:lnTo>
                      <a:pt x="573" y="63"/>
                    </a:lnTo>
                    <a:lnTo>
                      <a:pt x="606" y="96"/>
                    </a:lnTo>
                    <a:lnTo>
                      <a:pt x="639" y="134"/>
                    </a:lnTo>
                    <a:lnTo>
                      <a:pt x="670" y="178"/>
                    </a:lnTo>
                    <a:lnTo>
                      <a:pt x="698" y="225"/>
                    </a:lnTo>
                    <a:lnTo>
                      <a:pt x="725" y="277"/>
                    </a:lnTo>
                    <a:lnTo>
                      <a:pt x="749" y="332"/>
                    </a:lnTo>
                    <a:lnTo>
                      <a:pt x="771" y="390"/>
                    </a:lnTo>
                    <a:lnTo>
                      <a:pt x="791" y="450"/>
                    </a:lnTo>
                    <a:lnTo>
                      <a:pt x="808" y="511"/>
                    </a:lnTo>
                    <a:lnTo>
                      <a:pt x="823" y="575"/>
                    </a:lnTo>
                    <a:lnTo>
                      <a:pt x="834" y="637"/>
                    </a:lnTo>
                    <a:lnTo>
                      <a:pt x="842" y="701"/>
                    </a:lnTo>
                    <a:lnTo>
                      <a:pt x="847" y="763"/>
                    </a:lnTo>
                    <a:lnTo>
                      <a:pt x="848" y="824"/>
                    </a:lnTo>
                    <a:lnTo>
                      <a:pt x="847" y="885"/>
                    </a:lnTo>
                    <a:lnTo>
                      <a:pt x="841" y="943"/>
                    </a:lnTo>
                    <a:lnTo>
                      <a:pt x="833" y="994"/>
                    </a:lnTo>
                    <a:lnTo>
                      <a:pt x="819" y="1042"/>
                    </a:lnTo>
                    <a:lnTo>
                      <a:pt x="803" y="1084"/>
                    </a:lnTo>
                    <a:lnTo>
                      <a:pt x="785" y="1123"/>
                    </a:lnTo>
                    <a:lnTo>
                      <a:pt x="763" y="1159"/>
                    </a:lnTo>
                    <a:lnTo>
                      <a:pt x="738" y="1189"/>
                    </a:lnTo>
                    <a:lnTo>
                      <a:pt x="710" y="1216"/>
                    </a:lnTo>
                    <a:lnTo>
                      <a:pt x="681" y="1240"/>
                    </a:lnTo>
                    <a:lnTo>
                      <a:pt x="650" y="1259"/>
                    </a:lnTo>
                    <a:lnTo>
                      <a:pt x="616" y="1276"/>
                    </a:lnTo>
                    <a:lnTo>
                      <a:pt x="581" y="1290"/>
                    </a:lnTo>
                    <a:lnTo>
                      <a:pt x="544" y="1299"/>
                    </a:lnTo>
                    <a:lnTo>
                      <a:pt x="505" y="1306"/>
                    </a:lnTo>
                    <a:lnTo>
                      <a:pt x="466" y="1310"/>
                    </a:lnTo>
                    <a:lnTo>
                      <a:pt x="424" y="1312"/>
                    </a:lnTo>
                    <a:lnTo>
                      <a:pt x="384" y="1310"/>
                    </a:lnTo>
                    <a:lnTo>
                      <a:pt x="345" y="1306"/>
                    </a:lnTo>
                    <a:lnTo>
                      <a:pt x="306" y="1299"/>
                    </a:lnTo>
                    <a:lnTo>
                      <a:pt x="269" y="1290"/>
                    </a:lnTo>
                    <a:lnTo>
                      <a:pt x="234" y="1276"/>
                    </a:lnTo>
                    <a:lnTo>
                      <a:pt x="200" y="1259"/>
                    </a:lnTo>
                    <a:lnTo>
                      <a:pt x="169" y="1240"/>
                    </a:lnTo>
                    <a:lnTo>
                      <a:pt x="138" y="1216"/>
                    </a:lnTo>
                    <a:lnTo>
                      <a:pt x="112" y="1189"/>
                    </a:lnTo>
                    <a:lnTo>
                      <a:pt x="87" y="1159"/>
                    </a:lnTo>
                    <a:lnTo>
                      <a:pt x="65" y="1123"/>
                    </a:lnTo>
                    <a:lnTo>
                      <a:pt x="47" y="1084"/>
                    </a:lnTo>
                    <a:lnTo>
                      <a:pt x="31" y="1042"/>
                    </a:lnTo>
                    <a:lnTo>
                      <a:pt x="17" y="994"/>
                    </a:lnTo>
                    <a:lnTo>
                      <a:pt x="9" y="943"/>
                    </a:lnTo>
                    <a:lnTo>
                      <a:pt x="3" y="885"/>
                    </a:lnTo>
                    <a:lnTo>
                      <a:pt x="0" y="824"/>
                    </a:lnTo>
                    <a:lnTo>
                      <a:pt x="3" y="763"/>
                    </a:lnTo>
                    <a:lnTo>
                      <a:pt x="8" y="701"/>
                    </a:lnTo>
                    <a:lnTo>
                      <a:pt x="16" y="637"/>
                    </a:lnTo>
                    <a:lnTo>
                      <a:pt x="27" y="575"/>
                    </a:lnTo>
                    <a:lnTo>
                      <a:pt x="42" y="511"/>
                    </a:lnTo>
                    <a:lnTo>
                      <a:pt x="59" y="450"/>
                    </a:lnTo>
                    <a:lnTo>
                      <a:pt x="79" y="390"/>
                    </a:lnTo>
                    <a:lnTo>
                      <a:pt x="101" y="332"/>
                    </a:lnTo>
                    <a:lnTo>
                      <a:pt x="125" y="277"/>
                    </a:lnTo>
                    <a:lnTo>
                      <a:pt x="152" y="225"/>
                    </a:lnTo>
                    <a:lnTo>
                      <a:pt x="180" y="178"/>
                    </a:lnTo>
                    <a:lnTo>
                      <a:pt x="211" y="134"/>
                    </a:lnTo>
                    <a:lnTo>
                      <a:pt x="244" y="96"/>
                    </a:lnTo>
                    <a:lnTo>
                      <a:pt x="277" y="63"/>
                    </a:lnTo>
                    <a:lnTo>
                      <a:pt x="312" y="37"/>
                    </a:lnTo>
                    <a:lnTo>
                      <a:pt x="349" y="17"/>
                    </a:lnTo>
                    <a:lnTo>
                      <a:pt x="387" y="5"/>
                    </a:lnTo>
                    <a:lnTo>
                      <a:pt x="424" y="0"/>
                    </a:lnTo>
                    <a:close/>
                  </a:path>
                </a:pathLst>
              </a:custGeom>
              <a:solidFill>
                <a:srgbClr val="E6D1A8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9" name="Freeform 25"/>
              <p:cNvSpPr>
                <a:spLocks/>
              </p:cNvSpPr>
              <p:nvPr/>
            </p:nvSpPr>
            <p:spPr bwMode="auto">
              <a:xfrm>
                <a:off x="-8275638" y="-4170363"/>
                <a:ext cx="2474913" cy="2760663"/>
              </a:xfrm>
              <a:custGeom>
                <a:avLst/>
                <a:gdLst>
                  <a:gd name="T0" fmla="*/ 833 w 1559"/>
                  <a:gd name="T1" fmla="*/ 1 h 1739"/>
                  <a:gd name="T2" fmla="*/ 945 w 1559"/>
                  <a:gd name="T3" fmla="*/ 19 h 1739"/>
                  <a:gd name="T4" fmla="*/ 1056 w 1559"/>
                  <a:gd name="T5" fmla="*/ 56 h 1739"/>
                  <a:gd name="T6" fmla="*/ 1160 w 1559"/>
                  <a:gd name="T7" fmla="*/ 110 h 1739"/>
                  <a:gd name="T8" fmla="*/ 1272 w 1559"/>
                  <a:gd name="T9" fmla="*/ 195 h 1739"/>
                  <a:gd name="T10" fmla="*/ 1369 w 1559"/>
                  <a:gd name="T11" fmla="*/ 300 h 1739"/>
                  <a:gd name="T12" fmla="*/ 1449 w 1559"/>
                  <a:gd name="T13" fmla="*/ 423 h 1739"/>
                  <a:gd name="T14" fmla="*/ 1508 w 1559"/>
                  <a:gd name="T15" fmla="*/ 561 h 1739"/>
                  <a:gd name="T16" fmla="*/ 1546 w 1559"/>
                  <a:gd name="T17" fmla="*/ 710 h 1739"/>
                  <a:gd name="T18" fmla="*/ 1559 w 1559"/>
                  <a:gd name="T19" fmla="*/ 869 h 1739"/>
                  <a:gd name="T20" fmla="*/ 1552 w 1559"/>
                  <a:gd name="T21" fmla="*/ 985 h 1739"/>
                  <a:gd name="T22" fmla="*/ 1520 w 1559"/>
                  <a:gd name="T23" fmla="*/ 1140 h 1739"/>
                  <a:gd name="T24" fmla="*/ 1465 w 1559"/>
                  <a:gd name="T25" fmla="*/ 1283 h 1739"/>
                  <a:gd name="T26" fmla="*/ 1389 w 1559"/>
                  <a:gd name="T27" fmla="*/ 1410 h 1739"/>
                  <a:gd name="T28" fmla="*/ 1295 w 1559"/>
                  <a:gd name="T29" fmla="*/ 1521 h 1739"/>
                  <a:gd name="T30" fmla="*/ 1184 w 1559"/>
                  <a:gd name="T31" fmla="*/ 1613 h 1739"/>
                  <a:gd name="T32" fmla="*/ 1059 w 1559"/>
                  <a:gd name="T33" fmla="*/ 1681 h 1739"/>
                  <a:gd name="T34" fmla="*/ 924 w 1559"/>
                  <a:gd name="T35" fmla="*/ 1724 h 1739"/>
                  <a:gd name="T36" fmla="*/ 778 w 1559"/>
                  <a:gd name="T37" fmla="*/ 1739 h 1739"/>
                  <a:gd name="T38" fmla="*/ 640 w 1559"/>
                  <a:gd name="T39" fmla="*/ 1725 h 1739"/>
                  <a:gd name="T40" fmla="*/ 508 w 1559"/>
                  <a:gd name="T41" fmla="*/ 1685 h 1739"/>
                  <a:gd name="T42" fmla="*/ 387 w 1559"/>
                  <a:gd name="T43" fmla="*/ 1621 h 1739"/>
                  <a:gd name="T44" fmla="*/ 279 w 1559"/>
                  <a:gd name="T45" fmla="*/ 1536 h 1739"/>
                  <a:gd name="T46" fmla="*/ 186 w 1559"/>
                  <a:gd name="T47" fmla="*/ 1432 h 1739"/>
                  <a:gd name="T48" fmla="*/ 109 w 1559"/>
                  <a:gd name="T49" fmla="*/ 1311 h 1739"/>
                  <a:gd name="T50" fmla="*/ 50 w 1559"/>
                  <a:gd name="T51" fmla="*/ 1177 h 1739"/>
                  <a:gd name="T52" fmla="*/ 13 w 1559"/>
                  <a:gd name="T53" fmla="*/ 1029 h 1739"/>
                  <a:gd name="T54" fmla="*/ 0 w 1559"/>
                  <a:gd name="T55" fmla="*/ 869 h 1739"/>
                  <a:gd name="T56" fmla="*/ 13 w 1559"/>
                  <a:gd name="T57" fmla="*/ 712 h 1739"/>
                  <a:gd name="T58" fmla="*/ 49 w 1559"/>
                  <a:gd name="T59" fmla="*/ 566 h 1739"/>
                  <a:gd name="T60" fmla="*/ 106 w 1559"/>
                  <a:gd name="T61" fmla="*/ 430 h 1739"/>
                  <a:gd name="T62" fmla="*/ 183 w 1559"/>
                  <a:gd name="T63" fmla="*/ 309 h 1739"/>
                  <a:gd name="T64" fmla="*/ 277 w 1559"/>
                  <a:gd name="T65" fmla="*/ 204 h 1739"/>
                  <a:gd name="T66" fmla="*/ 386 w 1559"/>
                  <a:gd name="T67" fmla="*/ 118 h 1739"/>
                  <a:gd name="T68" fmla="*/ 507 w 1559"/>
                  <a:gd name="T69" fmla="*/ 53 h 1739"/>
                  <a:gd name="T70" fmla="*/ 639 w 1559"/>
                  <a:gd name="T71" fmla="*/ 13 h 1739"/>
                  <a:gd name="T72" fmla="*/ 778 w 1559"/>
                  <a:gd name="T73" fmla="*/ 0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59" h="1739">
                    <a:moveTo>
                      <a:pt x="778" y="0"/>
                    </a:moveTo>
                    <a:lnTo>
                      <a:pt x="833" y="1"/>
                    </a:lnTo>
                    <a:lnTo>
                      <a:pt x="887" y="7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0"/>
                    </a:lnTo>
                    <a:lnTo>
                      <a:pt x="1160" y="110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9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8"/>
                    </a:lnTo>
                    <a:lnTo>
                      <a:pt x="1559" y="869"/>
                    </a:lnTo>
                    <a:lnTo>
                      <a:pt x="1558" y="904"/>
                    </a:lnTo>
                    <a:lnTo>
                      <a:pt x="1552" y="985"/>
                    </a:lnTo>
                    <a:lnTo>
                      <a:pt x="1540" y="1064"/>
                    </a:lnTo>
                    <a:lnTo>
                      <a:pt x="1520" y="1140"/>
                    </a:lnTo>
                    <a:lnTo>
                      <a:pt x="1496" y="1212"/>
                    </a:lnTo>
                    <a:lnTo>
                      <a:pt x="1465" y="1283"/>
                    </a:lnTo>
                    <a:lnTo>
                      <a:pt x="1430" y="1349"/>
                    </a:lnTo>
                    <a:lnTo>
                      <a:pt x="1389" y="1410"/>
                    </a:lnTo>
                    <a:lnTo>
                      <a:pt x="1344" y="1469"/>
                    </a:lnTo>
                    <a:lnTo>
                      <a:pt x="1295" y="1521"/>
                    </a:lnTo>
                    <a:lnTo>
                      <a:pt x="1242" y="1570"/>
                    </a:lnTo>
                    <a:lnTo>
                      <a:pt x="1184" y="1613"/>
                    </a:lnTo>
                    <a:lnTo>
                      <a:pt x="1124" y="1650"/>
                    </a:lnTo>
                    <a:lnTo>
                      <a:pt x="1059" y="1681"/>
                    </a:lnTo>
                    <a:lnTo>
                      <a:pt x="993" y="1706"/>
                    </a:lnTo>
                    <a:lnTo>
                      <a:pt x="924" y="1724"/>
                    </a:lnTo>
                    <a:lnTo>
                      <a:pt x="853" y="1735"/>
                    </a:lnTo>
                    <a:lnTo>
                      <a:pt x="778" y="1739"/>
                    </a:lnTo>
                    <a:lnTo>
                      <a:pt x="709" y="1735"/>
                    </a:lnTo>
                    <a:lnTo>
                      <a:pt x="640" y="1725"/>
                    </a:lnTo>
                    <a:lnTo>
                      <a:pt x="573" y="1708"/>
                    </a:lnTo>
                    <a:lnTo>
                      <a:pt x="508" y="1685"/>
                    </a:lnTo>
                    <a:lnTo>
                      <a:pt x="447" y="1656"/>
                    </a:lnTo>
                    <a:lnTo>
                      <a:pt x="387" y="1621"/>
                    </a:lnTo>
                    <a:lnTo>
                      <a:pt x="332" y="1581"/>
                    </a:lnTo>
                    <a:lnTo>
                      <a:pt x="279" y="1536"/>
                    </a:lnTo>
                    <a:lnTo>
                      <a:pt x="230" y="1486"/>
                    </a:lnTo>
                    <a:lnTo>
                      <a:pt x="186" y="1432"/>
                    </a:lnTo>
                    <a:lnTo>
                      <a:pt x="144" y="1373"/>
                    </a:lnTo>
                    <a:lnTo>
                      <a:pt x="109" y="1311"/>
                    </a:lnTo>
                    <a:lnTo>
                      <a:pt x="77" y="1246"/>
                    </a:lnTo>
                    <a:lnTo>
                      <a:pt x="50" y="1177"/>
                    </a:lnTo>
                    <a:lnTo>
                      <a:pt x="29" y="1105"/>
                    </a:lnTo>
                    <a:lnTo>
                      <a:pt x="13" y="1029"/>
                    </a:lnTo>
                    <a:lnTo>
                      <a:pt x="4" y="949"/>
                    </a:lnTo>
                    <a:lnTo>
                      <a:pt x="0" y="869"/>
                    </a:lnTo>
                    <a:lnTo>
                      <a:pt x="4" y="790"/>
                    </a:lnTo>
                    <a:lnTo>
                      <a:pt x="13" y="712"/>
                    </a:lnTo>
                    <a:lnTo>
                      <a:pt x="28" y="638"/>
                    </a:lnTo>
                    <a:lnTo>
                      <a:pt x="49" y="566"/>
                    </a:lnTo>
                    <a:lnTo>
                      <a:pt x="76" y="496"/>
                    </a:lnTo>
                    <a:lnTo>
                      <a:pt x="106" y="430"/>
                    </a:lnTo>
                    <a:lnTo>
                      <a:pt x="143" y="368"/>
                    </a:lnTo>
                    <a:lnTo>
                      <a:pt x="183" y="309"/>
                    </a:lnTo>
                    <a:lnTo>
                      <a:pt x="228" y="254"/>
                    </a:lnTo>
                    <a:lnTo>
                      <a:pt x="277" y="204"/>
                    </a:lnTo>
                    <a:lnTo>
                      <a:pt x="330" y="159"/>
                    </a:lnTo>
                    <a:lnTo>
                      <a:pt x="386" y="118"/>
                    </a:lnTo>
                    <a:lnTo>
                      <a:pt x="446" y="83"/>
                    </a:lnTo>
                    <a:lnTo>
                      <a:pt x="507" y="53"/>
                    </a:lnTo>
                    <a:lnTo>
                      <a:pt x="572" y="30"/>
                    </a:lnTo>
                    <a:lnTo>
                      <a:pt x="639" y="13"/>
                    </a:lnTo>
                    <a:lnTo>
                      <a:pt x="709" y="2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rgbClr val="EAD8B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0" name="Freeform 26"/>
              <p:cNvSpPr>
                <a:spLocks/>
              </p:cNvSpPr>
              <p:nvPr/>
            </p:nvSpPr>
            <p:spPr bwMode="auto">
              <a:xfrm>
                <a:off x="-8275638" y="-4170363"/>
                <a:ext cx="2473325" cy="1755775"/>
              </a:xfrm>
              <a:custGeom>
                <a:avLst/>
                <a:gdLst>
                  <a:gd name="T0" fmla="*/ 833 w 1558"/>
                  <a:gd name="T1" fmla="*/ 2 h 1106"/>
                  <a:gd name="T2" fmla="*/ 945 w 1558"/>
                  <a:gd name="T3" fmla="*/ 19 h 1106"/>
                  <a:gd name="T4" fmla="*/ 1056 w 1558"/>
                  <a:gd name="T5" fmla="*/ 56 h 1106"/>
                  <a:gd name="T6" fmla="*/ 1160 w 1558"/>
                  <a:gd name="T7" fmla="*/ 111 h 1106"/>
                  <a:gd name="T8" fmla="*/ 1272 w 1558"/>
                  <a:gd name="T9" fmla="*/ 195 h 1106"/>
                  <a:gd name="T10" fmla="*/ 1369 w 1558"/>
                  <a:gd name="T11" fmla="*/ 300 h 1106"/>
                  <a:gd name="T12" fmla="*/ 1448 w 1558"/>
                  <a:gd name="T13" fmla="*/ 423 h 1106"/>
                  <a:gd name="T14" fmla="*/ 1508 w 1558"/>
                  <a:gd name="T15" fmla="*/ 561 h 1106"/>
                  <a:gd name="T16" fmla="*/ 1546 w 1558"/>
                  <a:gd name="T17" fmla="*/ 710 h 1106"/>
                  <a:gd name="T18" fmla="*/ 1558 w 1558"/>
                  <a:gd name="T19" fmla="*/ 870 h 1106"/>
                  <a:gd name="T20" fmla="*/ 1491 w 1558"/>
                  <a:gd name="T21" fmla="*/ 892 h 1106"/>
                  <a:gd name="T22" fmla="*/ 1365 w 1558"/>
                  <a:gd name="T23" fmla="*/ 847 h 1106"/>
                  <a:gd name="T24" fmla="*/ 1249 w 1558"/>
                  <a:gd name="T25" fmla="*/ 779 h 1106"/>
                  <a:gd name="T26" fmla="*/ 1146 w 1558"/>
                  <a:gd name="T27" fmla="*/ 693 h 1106"/>
                  <a:gd name="T28" fmla="*/ 1057 w 1558"/>
                  <a:gd name="T29" fmla="*/ 588 h 1106"/>
                  <a:gd name="T30" fmla="*/ 985 w 1558"/>
                  <a:gd name="T31" fmla="*/ 468 h 1106"/>
                  <a:gd name="T32" fmla="*/ 916 w 1558"/>
                  <a:gd name="T33" fmla="*/ 561 h 1106"/>
                  <a:gd name="T34" fmla="*/ 837 w 1558"/>
                  <a:gd name="T35" fmla="*/ 656 h 1106"/>
                  <a:gd name="T36" fmla="*/ 743 w 1558"/>
                  <a:gd name="T37" fmla="*/ 750 h 1106"/>
                  <a:gd name="T38" fmla="*/ 633 w 1558"/>
                  <a:gd name="T39" fmla="*/ 839 h 1106"/>
                  <a:gd name="T40" fmla="*/ 508 w 1558"/>
                  <a:gd name="T41" fmla="*/ 922 h 1106"/>
                  <a:gd name="T42" fmla="*/ 367 w 1558"/>
                  <a:gd name="T43" fmla="*/ 997 h 1106"/>
                  <a:gd name="T44" fmla="*/ 208 w 1558"/>
                  <a:gd name="T45" fmla="*/ 1058 h 1106"/>
                  <a:gd name="T46" fmla="*/ 29 w 1558"/>
                  <a:gd name="T47" fmla="*/ 1106 h 1106"/>
                  <a:gd name="T48" fmla="*/ 4 w 1558"/>
                  <a:gd name="T49" fmla="*/ 951 h 1106"/>
                  <a:gd name="T50" fmla="*/ 4 w 1558"/>
                  <a:gd name="T51" fmla="*/ 786 h 1106"/>
                  <a:gd name="T52" fmla="*/ 32 w 1558"/>
                  <a:gd name="T53" fmla="*/ 625 h 1106"/>
                  <a:gd name="T54" fmla="*/ 84 w 1558"/>
                  <a:gd name="T55" fmla="*/ 476 h 1106"/>
                  <a:gd name="T56" fmla="*/ 159 w 1558"/>
                  <a:gd name="T57" fmla="*/ 343 h 1106"/>
                  <a:gd name="T58" fmla="*/ 254 w 1558"/>
                  <a:gd name="T59" fmla="*/ 227 h 1106"/>
                  <a:gd name="T60" fmla="*/ 367 w 1558"/>
                  <a:gd name="T61" fmla="*/ 132 h 1106"/>
                  <a:gd name="T62" fmla="*/ 492 w 1558"/>
                  <a:gd name="T63" fmla="*/ 61 h 1106"/>
                  <a:gd name="T64" fmla="*/ 632 w 1558"/>
                  <a:gd name="T65" fmla="*/ 16 h 1106"/>
                  <a:gd name="T66" fmla="*/ 778 w 1558"/>
                  <a:gd name="T67" fmla="*/ 0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58" h="1106">
                    <a:moveTo>
                      <a:pt x="778" y="0"/>
                    </a:moveTo>
                    <a:lnTo>
                      <a:pt x="833" y="2"/>
                    </a:lnTo>
                    <a:lnTo>
                      <a:pt x="887" y="8"/>
                    </a:lnTo>
                    <a:lnTo>
                      <a:pt x="945" y="19"/>
                    </a:lnTo>
                    <a:lnTo>
                      <a:pt x="1002" y="35"/>
                    </a:lnTo>
                    <a:lnTo>
                      <a:pt x="1056" y="56"/>
                    </a:lnTo>
                    <a:lnTo>
                      <a:pt x="1110" y="82"/>
                    </a:lnTo>
                    <a:lnTo>
                      <a:pt x="1160" y="111"/>
                    </a:lnTo>
                    <a:lnTo>
                      <a:pt x="1217" y="150"/>
                    </a:lnTo>
                    <a:lnTo>
                      <a:pt x="1272" y="195"/>
                    </a:lnTo>
                    <a:lnTo>
                      <a:pt x="1322" y="245"/>
                    </a:lnTo>
                    <a:lnTo>
                      <a:pt x="1369" y="300"/>
                    </a:lnTo>
                    <a:lnTo>
                      <a:pt x="1411" y="359"/>
                    </a:lnTo>
                    <a:lnTo>
                      <a:pt x="1448" y="423"/>
                    </a:lnTo>
                    <a:lnTo>
                      <a:pt x="1481" y="490"/>
                    </a:lnTo>
                    <a:lnTo>
                      <a:pt x="1508" y="561"/>
                    </a:lnTo>
                    <a:lnTo>
                      <a:pt x="1530" y="634"/>
                    </a:lnTo>
                    <a:lnTo>
                      <a:pt x="1546" y="710"/>
                    </a:lnTo>
                    <a:lnTo>
                      <a:pt x="1556" y="789"/>
                    </a:lnTo>
                    <a:lnTo>
                      <a:pt x="1558" y="870"/>
                    </a:lnTo>
                    <a:lnTo>
                      <a:pt x="1557" y="905"/>
                    </a:lnTo>
                    <a:lnTo>
                      <a:pt x="1491" y="892"/>
                    </a:lnTo>
                    <a:lnTo>
                      <a:pt x="1427" y="872"/>
                    </a:lnTo>
                    <a:lnTo>
                      <a:pt x="1365" y="847"/>
                    </a:lnTo>
                    <a:lnTo>
                      <a:pt x="1305" y="816"/>
                    </a:lnTo>
                    <a:lnTo>
                      <a:pt x="1249" y="779"/>
                    </a:lnTo>
                    <a:lnTo>
                      <a:pt x="1195" y="738"/>
                    </a:lnTo>
                    <a:lnTo>
                      <a:pt x="1146" y="693"/>
                    </a:lnTo>
                    <a:lnTo>
                      <a:pt x="1100" y="641"/>
                    </a:lnTo>
                    <a:lnTo>
                      <a:pt x="1057" y="588"/>
                    </a:lnTo>
                    <a:lnTo>
                      <a:pt x="1018" y="529"/>
                    </a:lnTo>
                    <a:lnTo>
                      <a:pt x="985" y="468"/>
                    </a:lnTo>
                    <a:lnTo>
                      <a:pt x="952" y="514"/>
                    </a:lnTo>
                    <a:lnTo>
                      <a:pt x="916" y="561"/>
                    </a:lnTo>
                    <a:lnTo>
                      <a:pt x="879" y="608"/>
                    </a:lnTo>
                    <a:lnTo>
                      <a:pt x="837" y="656"/>
                    </a:lnTo>
                    <a:lnTo>
                      <a:pt x="792" y="704"/>
                    </a:lnTo>
                    <a:lnTo>
                      <a:pt x="743" y="750"/>
                    </a:lnTo>
                    <a:lnTo>
                      <a:pt x="690" y="795"/>
                    </a:lnTo>
                    <a:lnTo>
                      <a:pt x="633" y="839"/>
                    </a:lnTo>
                    <a:lnTo>
                      <a:pt x="573" y="882"/>
                    </a:lnTo>
                    <a:lnTo>
                      <a:pt x="508" y="922"/>
                    </a:lnTo>
                    <a:lnTo>
                      <a:pt x="440" y="960"/>
                    </a:lnTo>
                    <a:lnTo>
                      <a:pt x="367" y="997"/>
                    </a:lnTo>
                    <a:lnTo>
                      <a:pt x="290" y="1029"/>
                    </a:lnTo>
                    <a:lnTo>
                      <a:pt x="208" y="1058"/>
                    </a:lnTo>
                    <a:lnTo>
                      <a:pt x="121" y="1084"/>
                    </a:lnTo>
                    <a:lnTo>
                      <a:pt x="29" y="1106"/>
                    </a:lnTo>
                    <a:lnTo>
                      <a:pt x="13" y="1030"/>
                    </a:lnTo>
                    <a:lnTo>
                      <a:pt x="4" y="951"/>
                    </a:lnTo>
                    <a:lnTo>
                      <a:pt x="0" y="870"/>
                    </a:lnTo>
                    <a:lnTo>
                      <a:pt x="4" y="786"/>
                    </a:lnTo>
                    <a:lnTo>
                      <a:pt x="15" y="705"/>
                    </a:lnTo>
                    <a:lnTo>
                      <a:pt x="32" y="625"/>
                    </a:lnTo>
                    <a:lnTo>
                      <a:pt x="55" y="550"/>
                    </a:lnTo>
                    <a:lnTo>
                      <a:pt x="84" y="476"/>
                    </a:lnTo>
                    <a:lnTo>
                      <a:pt x="118" y="408"/>
                    </a:lnTo>
                    <a:lnTo>
                      <a:pt x="159" y="343"/>
                    </a:lnTo>
                    <a:lnTo>
                      <a:pt x="204" y="283"/>
                    </a:lnTo>
                    <a:lnTo>
                      <a:pt x="254" y="227"/>
                    </a:lnTo>
                    <a:lnTo>
                      <a:pt x="308" y="177"/>
                    </a:lnTo>
                    <a:lnTo>
                      <a:pt x="367" y="132"/>
                    </a:lnTo>
                    <a:lnTo>
                      <a:pt x="428" y="94"/>
                    </a:lnTo>
                    <a:lnTo>
                      <a:pt x="492" y="61"/>
                    </a:lnTo>
                    <a:lnTo>
                      <a:pt x="561" y="35"/>
                    </a:lnTo>
                    <a:lnTo>
                      <a:pt x="632" y="16"/>
                    </a:lnTo>
                    <a:lnTo>
                      <a:pt x="705" y="3"/>
                    </a:lnTo>
                    <a:lnTo>
                      <a:pt x="778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1" name="Freeform 27"/>
              <p:cNvSpPr>
                <a:spLocks/>
              </p:cNvSpPr>
              <p:nvPr/>
            </p:nvSpPr>
            <p:spPr bwMode="auto">
              <a:xfrm>
                <a:off x="-8415338" y="-715963"/>
                <a:ext cx="2570163" cy="1474788"/>
              </a:xfrm>
              <a:custGeom>
                <a:avLst/>
                <a:gdLst>
                  <a:gd name="T0" fmla="*/ 379 w 1619"/>
                  <a:gd name="T1" fmla="*/ 44 h 929"/>
                  <a:gd name="T2" fmla="*/ 507 w 1619"/>
                  <a:gd name="T3" fmla="*/ 116 h 929"/>
                  <a:gd name="T4" fmla="*/ 645 w 1619"/>
                  <a:gd name="T5" fmla="*/ 165 h 929"/>
                  <a:gd name="T6" fmla="*/ 792 w 1619"/>
                  <a:gd name="T7" fmla="*/ 192 h 929"/>
                  <a:gd name="T8" fmla="*/ 941 w 1619"/>
                  <a:gd name="T9" fmla="*/ 192 h 929"/>
                  <a:gd name="T10" fmla="*/ 1084 w 1619"/>
                  <a:gd name="T11" fmla="*/ 168 h 929"/>
                  <a:gd name="T12" fmla="*/ 1218 w 1619"/>
                  <a:gd name="T13" fmla="*/ 120 h 929"/>
                  <a:gd name="T14" fmla="*/ 1344 w 1619"/>
                  <a:gd name="T15" fmla="*/ 52 h 929"/>
                  <a:gd name="T16" fmla="*/ 1398 w 1619"/>
                  <a:gd name="T17" fmla="*/ 58 h 929"/>
                  <a:gd name="T18" fmla="*/ 1398 w 1619"/>
                  <a:gd name="T19" fmla="*/ 151 h 929"/>
                  <a:gd name="T20" fmla="*/ 1413 w 1619"/>
                  <a:gd name="T21" fmla="*/ 242 h 929"/>
                  <a:gd name="T22" fmla="*/ 1442 w 1619"/>
                  <a:gd name="T23" fmla="*/ 328 h 929"/>
                  <a:gd name="T24" fmla="*/ 1486 w 1619"/>
                  <a:gd name="T25" fmla="*/ 405 h 929"/>
                  <a:gd name="T26" fmla="*/ 1546 w 1619"/>
                  <a:gd name="T27" fmla="*/ 470 h 929"/>
                  <a:gd name="T28" fmla="*/ 1619 w 1619"/>
                  <a:gd name="T29" fmla="*/ 519 h 929"/>
                  <a:gd name="T30" fmla="*/ 1514 w 1619"/>
                  <a:gd name="T31" fmla="*/ 646 h 929"/>
                  <a:gd name="T32" fmla="*/ 1393 w 1619"/>
                  <a:gd name="T33" fmla="*/ 753 h 929"/>
                  <a:gd name="T34" fmla="*/ 1256 w 1619"/>
                  <a:gd name="T35" fmla="*/ 836 h 929"/>
                  <a:gd name="T36" fmla="*/ 1108 w 1619"/>
                  <a:gd name="T37" fmla="*/ 895 h 929"/>
                  <a:gd name="T38" fmla="*/ 949 w 1619"/>
                  <a:gd name="T39" fmla="*/ 926 h 929"/>
                  <a:gd name="T40" fmla="*/ 786 w 1619"/>
                  <a:gd name="T41" fmla="*/ 926 h 929"/>
                  <a:gd name="T42" fmla="*/ 628 w 1619"/>
                  <a:gd name="T43" fmla="*/ 896 h 929"/>
                  <a:gd name="T44" fmla="*/ 481 w 1619"/>
                  <a:gd name="T45" fmla="*/ 839 h 929"/>
                  <a:gd name="T46" fmla="*/ 346 w 1619"/>
                  <a:gd name="T47" fmla="*/ 756 h 929"/>
                  <a:gd name="T48" fmla="*/ 225 w 1619"/>
                  <a:gd name="T49" fmla="*/ 652 h 929"/>
                  <a:gd name="T50" fmla="*/ 121 w 1619"/>
                  <a:gd name="T51" fmla="*/ 527 h 929"/>
                  <a:gd name="T52" fmla="*/ 35 w 1619"/>
                  <a:gd name="T53" fmla="*/ 384 h 929"/>
                  <a:gd name="T54" fmla="*/ 45 w 1619"/>
                  <a:gd name="T55" fmla="*/ 299 h 929"/>
                  <a:gd name="T56" fmla="*/ 127 w 1619"/>
                  <a:gd name="T57" fmla="*/ 267 h 929"/>
                  <a:gd name="T58" fmla="*/ 194 w 1619"/>
                  <a:gd name="T59" fmla="*/ 218 h 929"/>
                  <a:gd name="T60" fmla="*/ 249 w 1619"/>
                  <a:gd name="T61" fmla="*/ 156 h 929"/>
                  <a:gd name="T62" fmla="*/ 291 w 1619"/>
                  <a:gd name="T63" fmla="*/ 82 h 929"/>
                  <a:gd name="T64" fmla="*/ 319 w 1619"/>
                  <a:gd name="T65" fmla="*/ 0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9" h="929">
                    <a:moveTo>
                      <a:pt x="319" y="0"/>
                    </a:moveTo>
                    <a:lnTo>
                      <a:pt x="379" y="44"/>
                    </a:lnTo>
                    <a:lnTo>
                      <a:pt x="441" y="82"/>
                    </a:lnTo>
                    <a:lnTo>
                      <a:pt x="507" y="116"/>
                    </a:lnTo>
                    <a:lnTo>
                      <a:pt x="574" y="143"/>
                    </a:lnTo>
                    <a:lnTo>
                      <a:pt x="645" y="165"/>
                    </a:lnTo>
                    <a:lnTo>
                      <a:pt x="717" y="182"/>
                    </a:lnTo>
                    <a:lnTo>
                      <a:pt x="792" y="192"/>
                    </a:lnTo>
                    <a:lnTo>
                      <a:pt x="866" y="195"/>
                    </a:lnTo>
                    <a:lnTo>
                      <a:pt x="941" y="192"/>
                    </a:lnTo>
                    <a:lnTo>
                      <a:pt x="1013" y="182"/>
                    </a:lnTo>
                    <a:lnTo>
                      <a:pt x="1084" y="168"/>
                    </a:lnTo>
                    <a:lnTo>
                      <a:pt x="1152" y="147"/>
                    </a:lnTo>
                    <a:lnTo>
                      <a:pt x="1218" y="120"/>
                    </a:lnTo>
                    <a:lnTo>
                      <a:pt x="1283" y="88"/>
                    </a:lnTo>
                    <a:lnTo>
                      <a:pt x="1344" y="52"/>
                    </a:lnTo>
                    <a:lnTo>
                      <a:pt x="1403" y="11"/>
                    </a:lnTo>
                    <a:lnTo>
                      <a:pt x="1398" y="58"/>
                    </a:lnTo>
                    <a:lnTo>
                      <a:pt x="1396" y="104"/>
                    </a:lnTo>
                    <a:lnTo>
                      <a:pt x="1398" y="151"/>
                    </a:lnTo>
                    <a:lnTo>
                      <a:pt x="1403" y="197"/>
                    </a:lnTo>
                    <a:lnTo>
                      <a:pt x="1413" y="242"/>
                    </a:lnTo>
                    <a:lnTo>
                      <a:pt x="1426" y="286"/>
                    </a:lnTo>
                    <a:lnTo>
                      <a:pt x="1442" y="328"/>
                    </a:lnTo>
                    <a:lnTo>
                      <a:pt x="1463" y="368"/>
                    </a:lnTo>
                    <a:lnTo>
                      <a:pt x="1486" y="405"/>
                    </a:lnTo>
                    <a:lnTo>
                      <a:pt x="1514" y="439"/>
                    </a:lnTo>
                    <a:lnTo>
                      <a:pt x="1546" y="470"/>
                    </a:lnTo>
                    <a:lnTo>
                      <a:pt x="1580" y="497"/>
                    </a:lnTo>
                    <a:lnTo>
                      <a:pt x="1619" y="519"/>
                    </a:lnTo>
                    <a:lnTo>
                      <a:pt x="1569" y="585"/>
                    </a:lnTo>
                    <a:lnTo>
                      <a:pt x="1514" y="646"/>
                    </a:lnTo>
                    <a:lnTo>
                      <a:pt x="1455" y="702"/>
                    </a:lnTo>
                    <a:lnTo>
                      <a:pt x="1393" y="753"/>
                    </a:lnTo>
                    <a:lnTo>
                      <a:pt x="1326" y="797"/>
                    </a:lnTo>
                    <a:lnTo>
                      <a:pt x="1256" y="836"/>
                    </a:lnTo>
                    <a:lnTo>
                      <a:pt x="1184" y="869"/>
                    </a:lnTo>
                    <a:lnTo>
                      <a:pt x="1108" y="895"/>
                    </a:lnTo>
                    <a:lnTo>
                      <a:pt x="1030" y="915"/>
                    </a:lnTo>
                    <a:lnTo>
                      <a:pt x="949" y="926"/>
                    </a:lnTo>
                    <a:lnTo>
                      <a:pt x="866" y="929"/>
                    </a:lnTo>
                    <a:lnTo>
                      <a:pt x="786" y="926"/>
                    </a:lnTo>
                    <a:lnTo>
                      <a:pt x="705" y="915"/>
                    </a:lnTo>
                    <a:lnTo>
                      <a:pt x="628" y="896"/>
                    </a:lnTo>
                    <a:lnTo>
                      <a:pt x="554" y="871"/>
                    </a:lnTo>
                    <a:lnTo>
                      <a:pt x="481" y="839"/>
                    </a:lnTo>
                    <a:lnTo>
                      <a:pt x="412" y="801"/>
                    </a:lnTo>
                    <a:lnTo>
                      <a:pt x="346" y="756"/>
                    </a:lnTo>
                    <a:lnTo>
                      <a:pt x="283" y="707"/>
                    </a:lnTo>
                    <a:lnTo>
                      <a:pt x="225" y="652"/>
                    </a:lnTo>
                    <a:lnTo>
                      <a:pt x="171" y="592"/>
                    </a:lnTo>
                    <a:lnTo>
                      <a:pt x="121" y="527"/>
                    </a:lnTo>
                    <a:lnTo>
                      <a:pt x="76" y="457"/>
                    </a:lnTo>
                    <a:lnTo>
                      <a:pt x="35" y="384"/>
                    </a:lnTo>
                    <a:lnTo>
                      <a:pt x="0" y="308"/>
                    </a:lnTo>
                    <a:lnTo>
                      <a:pt x="45" y="299"/>
                    </a:lnTo>
                    <a:lnTo>
                      <a:pt x="88" y="285"/>
                    </a:lnTo>
                    <a:lnTo>
                      <a:pt x="127" y="267"/>
                    </a:lnTo>
                    <a:lnTo>
                      <a:pt x="162" y="244"/>
                    </a:lnTo>
                    <a:lnTo>
                      <a:pt x="194" y="218"/>
                    </a:lnTo>
                    <a:lnTo>
                      <a:pt x="224" y="187"/>
                    </a:lnTo>
                    <a:lnTo>
                      <a:pt x="249" y="156"/>
                    </a:lnTo>
                    <a:lnTo>
                      <a:pt x="271" y="120"/>
                    </a:lnTo>
                    <a:lnTo>
                      <a:pt x="291" y="82"/>
                    </a:lnTo>
                    <a:lnTo>
                      <a:pt x="307" y="42"/>
                    </a:lnTo>
                    <a:lnTo>
                      <a:pt x="31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2" name="Freeform 28"/>
              <p:cNvSpPr>
                <a:spLocks/>
              </p:cNvSpPr>
              <p:nvPr/>
            </p:nvSpPr>
            <p:spPr bwMode="auto">
              <a:xfrm>
                <a:off x="-5367338" y="-457200"/>
                <a:ext cx="473075" cy="1495425"/>
              </a:xfrm>
              <a:custGeom>
                <a:avLst/>
                <a:gdLst>
                  <a:gd name="T0" fmla="*/ 217 w 298"/>
                  <a:gd name="T1" fmla="*/ 0 h 942"/>
                  <a:gd name="T2" fmla="*/ 219 w 298"/>
                  <a:gd name="T3" fmla="*/ 4 h 942"/>
                  <a:gd name="T4" fmla="*/ 220 w 298"/>
                  <a:gd name="T5" fmla="*/ 16 h 942"/>
                  <a:gd name="T6" fmla="*/ 222 w 298"/>
                  <a:gd name="T7" fmla="*/ 35 h 942"/>
                  <a:gd name="T8" fmla="*/ 225 w 298"/>
                  <a:gd name="T9" fmla="*/ 62 h 942"/>
                  <a:gd name="T10" fmla="*/ 228 w 298"/>
                  <a:gd name="T11" fmla="*/ 95 h 942"/>
                  <a:gd name="T12" fmla="*/ 233 w 298"/>
                  <a:gd name="T13" fmla="*/ 134 h 942"/>
                  <a:gd name="T14" fmla="*/ 238 w 298"/>
                  <a:gd name="T15" fmla="*/ 177 h 942"/>
                  <a:gd name="T16" fmla="*/ 244 w 298"/>
                  <a:gd name="T17" fmla="*/ 226 h 942"/>
                  <a:gd name="T18" fmla="*/ 250 w 298"/>
                  <a:gd name="T19" fmla="*/ 279 h 942"/>
                  <a:gd name="T20" fmla="*/ 257 w 298"/>
                  <a:gd name="T21" fmla="*/ 335 h 942"/>
                  <a:gd name="T22" fmla="*/ 264 w 298"/>
                  <a:gd name="T23" fmla="*/ 395 h 942"/>
                  <a:gd name="T24" fmla="*/ 270 w 298"/>
                  <a:gd name="T25" fmla="*/ 457 h 942"/>
                  <a:gd name="T26" fmla="*/ 277 w 298"/>
                  <a:gd name="T27" fmla="*/ 521 h 942"/>
                  <a:gd name="T28" fmla="*/ 285 w 298"/>
                  <a:gd name="T29" fmla="*/ 587 h 942"/>
                  <a:gd name="T30" fmla="*/ 292 w 298"/>
                  <a:gd name="T31" fmla="*/ 653 h 942"/>
                  <a:gd name="T32" fmla="*/ 298 w 298"/>
                  <a:gd name="T33" fmla="*/ 720 h 942"/>
                  <a:gd name="T34" fmla="*/ 228 w 298"/>
                  <a:gd name="T35" fmla="*/ 780 h 942"/>
                  <a:gd name="T36" fmla="*/ 155 w 298"/>
                  <a:gd name="T37" fmla="*/ 837 h 942"/>
                  <a:gd name="T38" fmla="*/ 78 w 298"/>
                  <a:gd name="T39" fmla="*/ 891 h 942"/>
                  <a:gd name="T40" fmla="*/ 0 w 298"/>
                  <a:gd name="T41" fmla="*/ 942 h 942"/>
                  <a:gd name="T42" fmla="*/ 12 w 298"/>
                  <a:gd name="T43" fmla="*/ 871 h 942"/>
                  <a:gd name="T44" fmla="*/ 26 w 298"/>
                  <a:gd name="T45" fmla="*/ 802 h 942"/>
                  <a:gd name="T46" fmla="*/ 39 w 298"/>
                  <a:gd name="T47" fmla="*/ 732 h 942"/>
                  <a:gd name="T48" fmla="*/ 54 w 298"/>
                  <a:gd name="T49" fmla="*/ 664 h 942"/>
                  <a:gd name="T50" fmla="*/ 67 w 298"/>
                  <a:gd name="T51" fmla="*/ 596 h 942"/>
                  <a:gd name="T52" fmla="*/ 82 w 298"/>
                  <a:gd name="T53" fmla="*/ 532 h 942"/>
                  <a:gd name="T54" fmla="*/ 96 w 298"/>
                  <a:gd name="T55" fmla="*/ 468 h 942"/>
                  <a:gd name="T56" fmla="*/ 111 w 298"/>
                  <a:gd name="T57" fmla="*/ 407 h 942"/>
                  <a:gd name="T58" fmla="*/ 125 w 298"/>
                  <a:gd name="T59" fmla="*/ 349 h 942"/>
                  <a:gd name="T60" fmla="*/ 139 w 298"/>
                  <a:gd name="T61" fmla="*/ 294 h 942"/>
                  <a:gd name="T62" fmla="*/ 151 w 298"/>
                  <a:gd name="T63" fmla="*/ 243 h 942"/>
                  <a:gd name="T64" fmla="*/ 164 w 298"/>
                  <a:gd name="T65" fmla="*/ 197 h 942"/>
                  <a:gd name="T66" fmla="*/ 176 w 298"/>
                  <a:gd name="T67" fmla="*/ 153 h 942"/>
                  <a:gd name="T68" fmla="*/ 186 w 298"/>
                  <a:gd name="T69" fmla="*/ 115 h 942"/>
                  <a:gd name="T70" fmla="*/ 194 w 298"/>
                  <a:gd name="T71" fmla="*/ 81 h 942"/>
                  <a:gd name="T72" fmla="*/ 203 w 298"/>
                  <a:gd name="T73" fmla="*/ 52 h 942"/>
                  <a:gd name="T74" fmla="*/ 209 w 298"/>
                  <a:gd name="T75" fmla="*/ 30 h 942"/>
                  <a:gd name="T76" fmla="*/ 214 w 298"/>
                  <a:gd name="T77" fmla="*/ 13 h 942"/>
                  <a:gd name="T78" fmla="*/ 216 w 298"/>
                  <a:gd name="T79" fmla="*/ 4 h 942"/>
                  <a:gd name="T80" fmla="*/ 217 w 298"/>
                  <a:gd name="T81" fmla="*/ 0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8" h="942">
                    <a:moveTo>
                      <a:pt x="217" y="0"/>
                    </a:moveTo>
                    <a:lnTo>
                      <a:pt x="219" y="4"/>
                    </a:lnTo>
                    <a:lnTo>
                      <a:pt x="220" y="16"/>
                    </a:lnTo>
                    <a:lnTo>
                      <a:pt x="222" y="35"/>
                    </a:lnTo>
                    <a:lnTo>
                      <a:pt x="225" y="62"/>
                    </a:lnTo>
                    <a:lnTo>
                      <a:pt x="228" y="95"/>
                    </a:lnTo>
                    <a:lnTo>
                      <a:pt x="233" y="134"/>
                    </a:lnTo>
                    <a:lnTo>
                      <a:pt x="238" y="177"/>
                    </a:lnTo>
                    <a:lnTo>
                      <a:pt x="244" y="226"/>
                    </a:lnTo>
                    <a:lnTo>
                      <a:pt x="250" y="279"/>
                    </a:lnTo>
                    <a:lnTo>
                      <a:pt x="257" y="335"/>
                    </a:lnTo>
                    <a:lnTo>
                      <a:pt x="264" y="395"/>
                    </a:lnTo>
                    <a:lnTo>
                      <a:pt x="270" y="457"/>
                    </a:lnTo>
                    <a:lnTo>
                      <a:pt x="277" y="521"/>
                    </a:lnTo>
                    <a:lnTo>
                      <a:pt x="285" y="587"/>
                    </a:lnTo>
                    <a:lnTo>
                      <a:pt x="292" y="653"/>
                    </a:lnTo>
                    <a:lnTo>
                      <a:pt x="298" y="720"/>
                    </a:lnTo>
                    <a:lnTo>
                      <a:pt x="228" y="780"/>
                    </a:lnTo>
                    <a:lnTo>
                      <a:pt x="155" y="837"/>
                    </a:lnTo>
                    <a:lnTo>
                      <a:pt x="78" y="891"/>
                    </a:lnTo>
                    <a:lnTo>
                      <a:pt x="0" y="942"/>
                    </a:lnTo>
                    <a:lnTo>
                      <a:pt x="12" y="871"/>
                    </a:lnTo>
                    <a:lnTo>
                      <a:pt x="26" y="802"/>
                    </a:lnTo>
                    <a:lnTo>
                      <a:pt x="39" y="732"/>
                    </a:lnTo>
                    <a:lnTo>
                      <a:pt x="54" y="664"/>
                    </a:lnTo>
                    <a:lnTo>
                      <a:pt x="67" y="596"/>
                    </a:lnTo>
                    <a:lnTo>
                      <a:pt x="82" y="532"/>
                    </a:lnTo>
                    <a:lnTo>
                      <a:pt x="96" y="468"/>
                    </a:lnTo>
                    <a:lnTo>
                      <a:pt x="111" y="407"/>
                    </a:lnTo>
                    <a:lnTo>
                      <a:pt x="125" y="349"/>
                    </a:lnTo>
                    <a:lnTo>
                      <a:pt x="139" y="294"/>
                    </a:lnTo>
                    <a:lnTo>
                      <a:pt x="151" y="243"/>
                    </a:lnTo>
                    <a:lnTo>
                      <a:pt x="164" y="197"/>
                    </a:lnTo>
                    <a:lnTo>
                      <a:pt x="176" y="153"/>
                    </a:lnTo>
                    <a:lnTo>
                      <a:pt x="186" y="115"/>
                    </a:lnTo>
                    <a:lnTo>
                      <a:pt x="194" y="81"/>
                    </a:lnTo>
                    <a:lnTo>
                      <a:pt x="203" y="52"/>
                    </a:lnTo>
                    <a:lnTo>
                      <a:pt x="209" y="30"/>
                    </a:lnTo>
                    <a:lnTo>
                      <a:pt x="214" y="13"/>
                    </a:lnTo>
                    <a:lnTo>
                      <a:pt x="216" y="4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3" name="Freeform 29"/>
              <p:cNvSpPr>
                <a:spLocks/>
              </p:cNvSpPr>
              <p:nvPr/>
            </p:nvSpPr>
            <p:spPr bwMode="auto">
              <a:xfrm>
                <a:off x="-7040563" y="-992188"/>
                <a:ext cx="2017713" cy="2500313"/>
              </a:xfrm>
              <a:custGeom>
                <a:avLst/>
                <a:gdLst>
                  <a:gd name="T0" fmla="*/ 424 w 1271"/>
                  <a:gd name="T1" fmla="*/ 11 h 1575"/>
                  <a:gd name="T2" fmla="*/ 585 w 1271"/>
                  <a:gd name="T3" fmla="*/ 57 h 1575"/>
                  <a:gd name="T4" fmla="*/ 751 w 1271"/>
                  <a:gd name="T5" fmla="*/ 113 h 1575"/>
                  <a:gd name="T6" fmla="*/ 945 w 1271"/>
                  <a:gd name="T7" fmla="*/ 185 h 1575"/>
                  <a:gd name="T8" fmla="*/ 1165 w 1271"/>
                  <a:gd name="T9" fmla="*/ 282 h 1575"/>
                  <a:gd name="T10" fmla="*/ 1270 w 1271"/>
                  <a:gd name="T11" fmla="*/ 341 h 1575"/>
                  <a:gd name="T12" fmla="*/ 1263 w 1271"/>
                  <a:gd name="T13" fmla="*/ 367 h 1575"/>
                  <a:gd name="T14" fmla="*/ 1248 w 1271"/>
                  <a:gd name="T15" fmla="*/ 418 h 1575"/>
                  <a:gd name="T16" fmla="*/ 1230 w 1271"/>
                  <a:gd name="T17" fmla="*/ 490 h 1575"/>
                  <a:gd name="T18" fmla="*/ 1205 w 1271"/>
                  <a:gd name="T19" fmla="*/ 580 h 1575"/>
                  <a:gd name="T20" fmla="*/ 1179 w 1271"/>
                  <a:gd name="T21" fmla="*/ 686 h 1575"/>
                  <a:gd name="T22" fmla="*/ 1150 w 1271"/>
                  <a:gd name="T23" fmla="*/ 805 h 1575"/>
                  <a:gd name="T24" fmla="*/ 1121 w 1271"/>
                  <a:gd name="T25" fmla="*/ 933 h 1575"/>
                  <a:gd name="T26" fmla="*/ 1093 w 1271"/>
                  <a:gd name="T27" fmla="*/ 1069 h 1575"/>
                  <a:gd name="T28" fmla="*/ 1066 w 1271"/>
                  <a:gd name="T29" fmla="*/ 1208 h 1575"/>
                  <a:gd name="T30" fmla="*/ 960 w 1271"/>
                  <a:gd name="T31" fmla="*/ 1333 h 1575"/>
                  <a:gd name="T32" fmla="*/ 764 w 1271"/>
                  <a:gd name="T33" fmla="*/ 1426 h 1575"/>
                  <a:gd name="T34" fmla="*/ 558 w 1271"/>
                  <a:gd name="T35" fmla="*/ 1498 h 1575"/>
                  <a:gd name="T36" fmla="*/ 341 w 1271"/>
                  <a:gd name="T37" fmla="*/ 1547 h 1575"/>
                  <a:gd name="T38" fmla="*/ 116 w 1271"/>
                  <a:gd name="T39" fmla="*/ 1571 h 1575"/>
                  <a:gd name="T40" fmla="*/ 0 w 1271"/>
                  <a:gd name="T41" fmla="*/ 1081 h 1575"/>
                  <a:gd name="T42" fmla="*/ 3 w 1271"/>
                  <a:gd name="T43" fmla="*/ 1076 h 1575"/>
                  <a:gd name="T44" fmla="*/ 8 w 1271"/>
                  <a:gd name="T45" fmla="*/ 1069 h 1575"/>
                  <a:gd name="T46" fmla="*/ 13 w 1271"/>
                  <a:gd name="T47" fmla="*/ 1056 h 1575"/>
                  <a:gd name="T48" fmla="*/ 28 w 1271"/>
                  <a:gd name="T49" fmla="*/ 1023 h 1575"/>
                  <a:gd name="T50" fmla="*/ 57 w 1271"/>
                  <a:gd name="T51" fmla="*/ 955 h 1575"/>
                  <a:gd name="T52" fmla="*/ 94 w 1271"/>
                  <a:gd name="T53" fmla="*/ 865 h 1575"/>
                  <a:gd name="T54" fmla="*/ 138 w 1271"/>
                  <a:gd name="T55" fmla="*/ 757 h 1575"/>
                  <a:gd name="T56" fmla="*/ 185 w 1271"/>
                  <a:gd name="T57" fmla="*/ 636 h 1575"/>
                  <a:gd name="T58" fmla="*/ 234 w 1271"/>
                  <a:gd name="T59" fmla="*/ 507 h 1575"/>
                  <a:gd name="T60" fmla="*/ 300 w 1271"/>
                  <a:gd name="T61" fmla="*/ 317 h 1575"/>
                  <a:gd name="T62" fmla="*/ 343 w 1271"/>
                  <a:gd name="T63" fmla="*/ 180 h 1575"/>
                  <a:gd name="T64" fmla="*/ 376 w 1271"/>
                  <a:gd name="T65" fmla="*/ 57 h 1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71" h="1575">
                    <a:moveTo>
                      <a:pt x="388" y="0"/>
                    </a:moveTo>
                    <a:lnTo>
                      <a:pt x="424" y="11"/>
                    </a:lnTo>
                    <a:lnTo>
                      <a:pt x="503" y="33"/>
                    </a:lnTo>
                    <a:lnTo>
                      <a:pt x="585" y="57"/>
                    </a:lnTo>
                    <a:lnTo>
                      <a:pt x="669" y="85"/>
                    </a:lnTo>
                    <a:lnTo>
                      <a:pt x="751" y="113"/>
                    </a:lnTo>
                    <a:lnTo>
                      <a:pt x="834" y="144"/>
                    </a:lnTo>
                    <a:lnTo>
                      <a:pt x="945" y="185"/>
                    </a:lnTo>
                    <a:lnTo>
                      <a:pt x="1056" y="232"/>
                    </a:lnTo>
                    <a:lnTo>
                      <a:pt x="1165" y="282"/>
                    </a:lnTo>
                    <a:lnTo>
                      <a:pt x="1271" y="337"/>
                    </a:lnTo>
                    <a:lnTo>
                      <a:pt x="1270" y="341"/>
                    </a:lnTo>
                    <a:lnTo>
                      <a:pt x="1268" y="350"/>
                    </a:lnTo>
                    <a:lnTo>
                      <a:pt x="1263" y="367"/>
                    </a:lnTo>
                    <a:lnTo>
                      <a:pt x="1257" y="389"/>
                    </a:lnTo>
                    <a:lnTo>
                      <a:pt x="1248" y="418"/>
                    </a:lnTo>
                    <a:lnTo>
                      <a:pt x="1240" y="452"/>
                    </a:lnTo>
                    <a:lnTo>
                      <a:pt x="1230" y="490"/>
                    </a:lnTo>
                    <a:lnTo>
                      <a:pt x="1218" y="532"/>
                    </a:lnTo>
                    <a:lnTo>
                      <a:pt x="1205" y="580"/>
                    </a:lnTo>
                    <a:lnTo>
                      <a:pt x="1193" y="631"/>
                    </a:lnTo>
                    <a:lnTo>
                      <a:pt x="1179" y="686"/>
                    </a:lnTo>
                    <a:lnTo>
                      <a:pt x="1165" y="744"/>
                    </a:lnTo>
                    <a:lnTo>
                      <a:pt x="1150" y="805"/>
                    </a:lnTo>
                    <a:lnTo>
                      <a:pt x="1136" y="867"/>
                    </a:lnTo>
                    <a:lnTo>
                      <a:pt x="1121" y="933"/>
                    </a:lnTo>
                    <a:lnTo>
                      <a:pt x="1108" y="1001"/>
                    </a:lnTo>
                    <a:lnTo>
                      <a:pt x="1093" y="1069"/>
                    </a:lnTo>
                    <a:lnTo>
                      <a:pt x="1080" y="1139"/>
                    </a:lnTo>
                    <a:lnTo>
                      <a:pt x="1066" y="1208"/>
                    </a:lnTo>
                    <a:lnTo>
                      <a:pt x="1054" y="1279"/>
                    </a:lnTo>
                    <a:lnTo>
                      <a:pt x="960" y="1333"/>
                    </a:lnTo>
                    <a:lnTo>
                      <a:pt x="863" y="1382"/>
                    </a:lnTo>
                    <a:lnTo>
                      <a:pt x="764" y="1426"/>
                    </a:lnTo>
                    <a:lnTo>
                      <a:pt x="662" y="1464"/>
                    </a:lnTo>
                    <a:lnTo>
                      <a:pt x="558" y="1498"/>
                    </a:lnTo>
                    <a:lnTo>
                      <a:pt x="450" y="1525"/>
                    </a:lnTo>
                    <a:lnTo>
                      <a:pt x="341" y="1547"/>
                    </a:lnTo>
                    <a:lnTo>
                      <a:pt x="230" y="1563"/>
                    </a:lnTo>
                    <a:lnTo>
                      <a:pt x="116" y="1571"/>
                    </a:lnTo>
                    <a:lnTo>
                      <a:pt x="0" y="1575"/>
                    </a:lnTo>
                    <a:lnTo>
                      <a:pt x="0" y="1081"/>
                    </a:lnTo>
                    <a:lnTo>
                      <a:pt x="2" y="1080"/>
                    </a:lnTo>
                    <a:lnTo>
                      <a:pt x="3" y="1076"/>
                    </a:lnTo>
                    <a:lnTo>
                      <a:pt x="5" y="1073"/>
                    </a:lnTo>
                    <a:lnTo>
                      <a:pt x="8" y="1069"/>
                    </a:lnTo>
                    <a:lnTo>
                      <a:pt x="13" y="1058"/>
                    </a:lnTo>
                    <a:lnTo>
                      <a:pt x="13" y="1056"/>
                    </a:lnTo>
                    <a:lnTo>
                      <a:pt x="14" y="1052"/>
                    </a:lnTo>
                    <a:lnTo>
                      <a:pt x="28" y="1023"/>
                    </a:lnTo>
                    <a:lnTo>
                      <a:pt x="41" y="993"/>
                    </a:lnTo>
                    <a:lnTo>
                      <a:pt x="57" y="955"/>
                    </a:lnTo>
                    <a:lnTo>
                      <a:pt x="75" y="913"/>
                    </a:lnTo>
                    <a:lnTo>
                      <a:pt x="94" y="865"/>
                    </a:lnTo>
                    <a:lnTo>
                      <a:pt x="115" y="812"/>
                    </a:lnTo>
                    <a:lnTo>
                      <a:pt x="138" y="757"/>
                    </a:lnTo>
                    <a:lnTo>
                      <a:pt x="162" y="697"/>
                    </a:lnTo>
                    <a:lnTo>
                      <a:pt x="185" y="636"/>
                    </a:lnTo>
                    <a:lnTo>
                      <a:pt x="209" y="573"/>
                    </a:lnTo>
                    <a:lnTo>
                      <a:pt x="234" y="507"/>
                    </a:lnTo>
                    <a:lnTo>
                      <a:pt x="258" y="441"/>
                    </a:lnTo>
                    <a:lnTo>
                      <a:pt x="300" y="317"/>
                    </a:lnTo>
                    <a:lnTo>
                      <a:pt x="323" y="244"/>
                    </a:lnTo>
                    <a:lnTo>
                      <a:pt x="343" y="180"/>
                    </a:lnTo>
                    <a:lnTo>
                      <a:pt x="360" y="118"/>
                    </a:lnTo>
                    <a:lnTo>
                      <a:pt x="376" y="57"/>
                    </a:lnTo>
                    <a:lnTo>
                      <a:pt x="388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4" name="Freeform 30"/>
              <p:cNvSpPr>
                <a:spLocks/>
              </p:cNvSpPr>
              <p:nvPr/>
            </p:nvSpPr>
            <p:spPr bwMode="auto">
              <a:xfrm>
                <a:off x="-7040563" y="-1260475"/>
                <a:ext cx="1190625" cy="1982788"/>
              </a:xfrm>
              <a:custGeom>
                <a:avLst/>
                <a:gdLst>
                  <a:gd name="T0" fmla="*/ 410 w 750"/>
                  <a:gd name="T1" fmla="*/ 0 h 1249"/>
                  <a:gd name="T2" fmla="*/ 412 w 750"/>
                  <a:gd name="T3" fmla="*/ 1 h 1249"/>
                  <a:gd name="T4" fmla="*/ 418 w 750"/>
                  <a:gd name="T5" fmla="*/ 7 h 1249"/>
                  <a:gd name="T6" fmla="*/ 428 w 750"/>
                  <a:gd name="T7" fmla="*/ 17 h 1249"/>
                  <a:gd name="T8" fmla="*/ 443 w 750"/>
                  <a:gd name="T9" fmla="*/ 29 h 1249"/>
                  <a:gd name="T10" fmla="*/ 459 w 750"/>
                  <a:gd name="T11" fmla="*/ 45 h 1249"/>
                  <a:gd name="T12" fmla="*/ 478 w 750"/>
                  <a:gd name="T13" fmla="*/ 63 h 1249"/>
                  <a:gd name="T14" fmla="*/ 499 w 750"/>
                  <a:gd name="T15" fmla="*/ 83 h 1249"/>
                  <a:gd name="T16" fmla="*/ 522 w 750"/>
                  <a:gd name="T17" fmla="*/ 105 h 1249"/>
                  <a:gd name="T18" fmla="*/ 545 w 750"/>
                  <a:gd name="T19" fmla="*/ 128 h 1249"/>
                  <a:gd name="T20" fmla="*/ 571 w 750"/>
                  <a:gd name="T21" fmla="*/ 151 h 1249"/>
                  <a:gd name="T22" fmla="*/ 596 w 750"/>
                  <a:gd name="T23" fmla="*/ 177 h 1249"/>
                  <a:gd name="T24" fmla="*/ 621 w 750"/>
                  <a:gd name="T25" fmla="*/ 202 h 1249"/>
                  <a:gd name="T26" fmla="*/ 646 w 750"/>
                  <a:gd name="T27" fmla="*/ 227 h 1249"/>
                  <a:gd name="T28" fmla="*/ 669 w 750"/>
                  <a:gd name="T29" fmla="*/ 252 h 1249"/>
                  <a:gd name="T30" fmla="*/ 693 w 750"/>
                  <a:gd name="T31" fmla="*/ 277 h 1249"/>
                  <a:gd name="T32" fmla="*/ 715 w 750"/>
                  <a:gd name="T33" fmla="*/ 302 h 1249"/>
                  <a:gd name="T34" fmla="*/ 734 w 750"/>
                  <a:gd name="T35" fmla="*/ 324 h 1249"/>
                  <a:gd name="T36" fmla="*/ 750 w 750"/>
                  <a:gd name="T37" fmla="*/ 345 h 1249"/>
                  <a:gd name="T38" fmla="*/ 580 w 750"/>
                  <a:gd name="T39" fmla="*/ 433 h 1249"/>
                  <a:gd name="T40" fmla="*/ 690 w 750"/>
                  <a:gd name="T41" fmla="*/ 698 h 1249"/>
                  <a:gd name="T42" fmla="*/ 39 w 750"/>
                  <a:gd name="T43" fmla="*/ 1218 h 1249"/>
                  <a:gd name="T44" fmla="*/ 0 w 750"/>
                  <a:gd name="T45" fmla="*/ 1249 h 1249"/>
                  <a:gd name="T46" fmla="*/ 3 w 750"/>
                  <a:gd name="T47" fmla="*/ 1247 h 1249"/>
                  <a:gd name="T48" fmla="*/ 6 w 750"/>
                  <a:gd name="T49" fmla="*/ 1239 h 1249"/>
                  <a:gd name="T50" fmla="*/ 13 w 750"/>
                  <a:gd name="T51" fmla="*/ 1226 h 1249"/>
                  <a:gd name="T52" fmla="*/ 20 w 750"/>
                  <a:gd name="T53" fmla="*/ 1209 h 1249"/>
                  <a:gd name="T54" fmla="*/ 30 w 750"/>
                  <a:gd name="T55" fmla="*/ 1187 h 1249"/>
                  <a:gd name="T56" fmla="*/ 39 w 750"/>
                  <a:gd name="T57" fmla="*/ 1161 h 1249"/>
                  <a:gd name="T58" fmla="*/ 57 w 750"/>
                  <a:gd name="T59" fmla="*/ 1121 h 1249"/>
                  <a:gd name="T60" fmla="*/ 76 w 750"/>
                  <a:gd name="T61" fmla="*/ 1074 h 1249"/>
                  <a:gd name="T62" fmla="*/ 97 w 750"/>
                  <a:gd name="T63" fmla="*/ 1023 h 1249"/>
                  <a:gd name="T64" fmla="*/ 120 w 750"/>
                  <a:gd name="T65" fmla="*/ 967 h 1249"/>
                  <a:gd name="T66" fmla="*/ 145 w 750"/>
                  <a:gd name="T67" fmla="*/ 907 h 1249"/>
                  <a:gd name="T68" fmla="*/ 169 w 750"/>
                  <a:gd name="T69" fmla="*/ 843 h 1249"/>
                  <a:gd name="T70" fmla="*/ 195 w 750"/>
                  <a:gd name="T71" fmla="*/ 777 h 1249"/>
                  <a:gd name="T72" fmla="*/ 220 w 750"/>
                  <a:gd name="T73" fmla="*/ 709 h 1249"/>
                  <a:gd name="T74" fmla="*/ 246 w 750"/>
                  <a:gd name="T75" fmla="*/ 639 h 1249"/>
                  <a:gd name="T76" fmla="*/ 270 w 750"/>
                  <a:gd name="T77" fmla="*/ 569 h 1249"/>
                  <a:gd name="T78" fmla="*/ 295 w 750"/>
                  <a:gd name="T79" fmla="*/ 499 h 1249"/>
                  <a:gd name="T80" fmla="*/ 317 w 750"/>
                  <a:gd name="T81" fmla="*/ 429 h 1249"/>
                  <a:gd name="T82" fmla="*/ 339 w 750"/>
                  <a:gd name="T83" fmla="*/ 359 h 1249"/>
                  <a:gd name="T84" fmla="*/ 357 w 750"/>
                  <a:gd name="T85" fmla="*/ 293 h 1249"/>
                  <a:gd name="T86" fmla="*/ 374 w 750"/>
                  <a:gd name="T87" fmla="*/ 228 h 1249"/>
                  <a:gd name="T88" fmla="*/ 388 w 750"/>
                  <a:gd name="T89" fmla="*/ 167 h 1249"/>
                  <a:gd name="T90" fmla="*/ 396 w 750"/>
                  <a:gd name="T91" fmla="*/ 121 h 1249"/>
                  <a:gd name="T92" fmla="*/ 404 w 750"/>
                  <a:gd name="T93" fmla="*/ 77 h 1249"/>
                  <a:gd name="T94" fmla="*/ 407 w 750"/>
                  <a:gd name="T95" fmla="*/ 37 h 1249"/>
                  <a:gd name="T96" fmla="*/ 410 w 750"/>
                  <a:gd name="T97" fmla="*/ 0 h 1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50" h="1249">
                    <a:moveTo>
                      <a:pt x="410" y="0"/>
                    </a:moveTo>
                    <a:lnTo>
                      <a:pt x="412" y="1"/>
                    </a:lnTo>
                    <a:lnTo>
                      <a:pt x="418" y="7"/>
                    </a:lnTo>
                    <a:lnTo>
                      <a:pt x="428" y="17"/>
                    </a:lnTo>
                    <a:lnTo>
                      <a:pt x="443" y="29"/>
                    </a:lnTo>
                    <a:lnTo>
                      <a:pt x="459" y="45"/>
                    </a:lnTo>
                    <a:lnTo>
                      <a:pt x="478" y="63"/>
                    </a:lnTo>
                    <a:lnTo>
                      <a:pt x="499" y="83"/>
                    </a:lnTo>
                    <a:lnTo>
                      <a:pt x="522" y="105"/>
                    </a:lnTo>
                    <a:lnTo>
                      <a:pt x="545" y="128"/>
                    </a:lnTo>
                    <a:lnTo>
                      <a:pt x="571" y="151"/>
                    </a:lnTo>
                    <a:lnTo>
                      <a:pt x="596" y="177"/>
                    </a:lnTo>
                    <a:lnTo>
                      <a:pt x="621" y="202"/>
                    </a:lnTo>
                    <a:lnTo>
                      <a:pt x="646" y="227"/>
                    </a:lnTo>
                    <a:lnTo>
                      <a:pt x="669" y="252"/>
                    </a:lnTo>
                    <a:lnTo>
                      <a:pt x="693" y="277"/>
                    </a:lnTo>
                    <a:lnTo>
                      <a:pt x="715" y="302"/>
                    </a:lnTo>
                    <a:lnTo>
                      <a:pt x="734" y="324"/>
                    </a:lnTo>
                    <a:lnTo>
                      <a:pt x="750" y="345"/>
                    </a:lnTo>
                    <a:lnTo>
                      <a:pt x="580" y="433"/>
                    </a:lnTo>
                    <a:lnTo>
                      <a:pt x="690" y="698"/>
                    </a:lnTo>
                    <a:lnTo>
                      <a:pt x="39" y="1218"/>
                    </a:lnTo>
                    <a:lnTo>
                      <a:pt x="0" y="1249"/>
                    </a:lnTo>
                    <a:lnTo>
                      <a:pt x="3" y="1247"/>
                    </a:lnTo>
                    <a:lnTo>
                      <a:pt x="6" y="1239"/>
                    </a:lnTo>
                    <a:lnTo>
                      <a:pt x="13" y="1226"/>
                    </a:lnTo>
                    <a:lnTo>
                      <a:pt x="20" y="1209"/>
                    </a:lnTo>
                    <a:lnTo>
                      <a:pt x="30" y="1187"/>
                    </a:lnTo>
                    <a:lnTo>
                      <a:pt x="39" y="1161"/>
                    </a:lnTo>
                    <a:lnTo>
                      <a:pt x="57" y="1121"/>
                    </a:lnTo>
                    <a:lnTo>
                      <a:pt x="76" y="1074"/>
                    </a:lnTo>
                    <a:lnTo>
                      <a:pt x="97" y="1023"/>
                    </a:lnTo>
                    <a:lnTo>
                      <a:pt x="120" y="967"/>
                    </a:lnTo>
                    <a:lnTo>
                      <a:pt x="145" y="907"/>
                    </a:lnTo>
                    <a:lnTo>
                      <a:pt x="169" y="843"/>
                    </a:lnTo>
                    <a:lnTo>
                      <a:pt x="195" y="777"/>
                    </a:lnTo>
                    <a:lnTo>
                      <a:pt x="220" y="709"/>
                    </a:lnTo>
                    <a:lnTo>
                      <a:pt x="246" y="639"/>
                    </a:lnTo>
                    <a:lnTo>
                      <a:pt x="270" y="569"/>
                    </a:lnTo>
                    <a:lnTo>
                      <a:pt x="295" y="499"/>
                    </a:lnTo>
                    <a:lnTo>
                      <a:pt x="317" y="429"/>
                    </a:lnTo>
                    <a:lnTo>
                      <a:pt x="339" y="359"/>
                    </a:lnTo>
                    <a:lnTo>
                      <a:pt x="357" y="293"/>
                    </a:lnTo>
                    <a:lnTo>
                      <a:pt x="374" y="228"/>
                    </a:lnTo>
                    <a:lnTo>
                      <a:pt x="388" y="167"/>
                    </a:lnTo>
                    <a:lnTo>
                      <a:pt x="396" y="121"/>
                    </a:lnTo>
                    <a:lnTo>
                      <a:pt x="404" y="77"/>
                    </a:lnTo>
                    <a:lnTo>
                      <a:pt x="407" y="37"/>
                    </a:lnTo>
                    <a:lnTo>
                      <a:pt x="41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5" name="Freeform 31"/>
              <p:cNvSpPr>
                <a:spLocks/>
              </p:cNvSpPr>
              <p:nvPr/>
            </p:nvSpPr>
            <p:spPr bwMode="auto">
              <a:xfrm>
                <a:off x="-9182100" y="-455613"/>
                <a:ext cx="473075" cy="1493838"/>
              </a:xfrm>
              <a:custGeom>
                <a:avLst/>
                <a:gdLst>
                  <a:gd name="T0" fmla="*/ 82 w 298"/>
                  <a:gd name="T1" fmla="*/ 0 h 941"/>
                  <a:gd name="T2" fmla="*/ 82 w 298"/>
                  <a:gd name="T3" fmla="*/ 3 h 941"/>
                  <a:gd name="T4" fmla="*/ 86 w 298"/>
                  <a:gd name="T5" fmla="*/ 14 h 941"/>
                  <a:gd name="T6" fmla="*/ 89 w 298"/>
                  <a:gd name="T7" fmla="*/ 29 h 941"/>
                  <a:gd name="T8" fmla="*/ 95 w 298"/>
                  <a:gd name="T9" fmla="*/ 51 h 941"/>
                  <a:gd name="T10" fmla="*/ 103 w 298"/>
                  <a:gd name="T11" fmla="*/ 78 h 941"/>
                  <a:gd name="T12" fmla="*/ 113 w 298"/>
                  <a:gd name="T13" fmla="*/ 110 h 941"/>
                  <a:gd name="T14" fmla="*/ 122 w 298"/>
                  <a:gd name="T15" fmla="*/ 148 h 941"/>
                  <a:gd name="T16" fmla="*/ 127 w 298"/>
                  <a:gd name="T17" fmla="*/ 168 h 941"/>
                  <a:gd name="T18" fmla="*/ 132 w 298"/>
                  <a:gd name="T19" fmla="*/ 188 h 941"/>
                  <a:gd name="T20" fmla="*/ 144 w 298"/>
                  <a:gd name="T21" fmla="*/ 231 h 941"/>
                  <a:gd name="T22" fmla="*/ 155 w 298"/>
                  <a:gd name="T23" fmla="*/ 279 h 941"/>
                  <a:gd name="T24" fmla="*/ 170 w 298"/>
                  <a:gd name="T25" fmla="*/ 331 h 941"/>
                  <a:gd name="T26" fmla="*/ 185 w 298"/>
                  <a:gd name="T27" fmla="*/ 395 h 941"/>
                  <a:gd name="T28" fmla="*/ 203 w 298"/>
                  <a:gd name="T29" fmla="*/ 473 h 941"/>
                  <a:gd name="T30" fmla="*/ 223 w 298"/>
                  <a:gd name="T31" fmla="*/ 555 h 941"/>
                  <a:gd name="T32" fmla="*/ 240 w 298"/>
                  <a:gd name="T33" fmla="*/ 638 h 941"/>
                  <a:gd name="T34" fmla="*/ 263 w 298"/>
                  <a:gd name="T35" fmla="*/ 748 h 941"/>
                  <a:gd name="T36" fmla="*/ 285 w 298"/>
                  <a:gd name="T37" fmla="*/ 861 h 941"/>
                  <a:gd name="T38" fmla="*/ 295 w 298"/>
                  <a:gd name="T39" fmla="*/ 916 h 941"/>
                  <a:gd name="T40" fmla="*/ 296 w 298"/>
                  <a:gd name="T41" fmla="*/ 929 h 941"/>
                  <a:gd name="T42" fmla="*/ 298 w 298"/>
                  <a:gd name="T43" fmla="*/ 941 h 941"/>
                  <a:gd name="T44" fmla="*/ 220 w 298"/>
                  <a:gd name="T45" fmla="*/ 890 h 941"/>
                  <a:gd name="T46" fmla="*/ 144 w 298"/>
                  <a:gd name="T47" fmla="*/ 836 h 941"/>
                  <a:gd name="T48" fmla="*/ 71 w 298"/>
                  <a:gd name="T49" fmla="*/ 779 h 941"/>
                  <a:gd name="T50" fmla="*/ 0 w 298"/>
                  <a:gd name="T51" fmla="*/ 719 h 941"/>
                  <a:gd name="T52" fmla="*/ 7 w 298"/>
                  <a:gd name="T53" fmla="*/ 652 h 941"/>
                  <a:gd name="T54" fmla="*/ 15 w 298"/>
                  <a:gd name="T55" fmla="*/ 586 h 941"/>
                  <a:gd name="T56" fmla="*/ 22 w 298"/>
                  <a:gd name="T57" fmla="*/ 520 h 941"/>
                  <a:gd name="T58" fmla="*/ 28 w 298"/>
                  <a:gd name="T59" fmla="*/ 456 h 941"/>
                  <a:gd name="T60" fmla="*/ 36 w 298"/>
                  <a:gd name="T61" fmla="*/ 395 h 941"/>
                  <a:gd name="T62" fmla="*/ 43 w 298"/>
                  <a:gd name="T63" fmla="*/ 335 h 941"/>
                  <a:gd name="T64" fmla="*/ 49 w 298"/>
                  <a:gd name="T65" fmla="*/ 279 h 941"/>
                  <a:gd name="T66" fmla="*/ 55 w 298"/>
                  <a:gd name="T67" fmla="*/ 226 h 941"/>
                  <a:gd name="T68" fmla="*/ 60 w 298"/>
                  <a:gd name="T69" fmla="*/ 177 h 941"/>
                  <a:gd name="T70" fmla="*/ 66 w 298"/>
                  <a:gd name="T71" fmla="*/ 133 h 941"/>
                  <a:gd name="T72" fmla="*/ 70 w 298"/>
                  <a:gd name="T73" fmla="*/ 95 h 941"/>
                  <a:gd name="T74" fmla="*/ 73 w 298"/>
                  <a:gd name="T75" fmla="*/ 62 h 941"/>
                  <a:gd name="T76" fmla="*/ 77 w 298"/>
                  <a:gd name="T77" fmla="*/ 36 h 941"/>
                  <a:gd name="T78" fmla="*/ 80 w 298"/>
                  <a:gd name="T79" fmla="*/ 16 h 941"/>
                  <a:gd name="T80" fmla="*/ 81 w 298"/>
                  <a:gd name="T81" fmla="*/ 4 h 941"/>
                  <a:gd name="T82" fmla="*/ 82 w 298"/>
                  <a:gd name="T83" fmla="*/ 0 h 9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8" h="941">
                    <a:moveTo>
                      <a:pt x="82" y="0"/>
                    </a:moveTo>
                    <a:lnTo>
                      <a:pt x="82" y="3"/>
                    </a:lnTo>
                    <a:lnTo>
                      <a:pt x="86" y="14"/>
                    </a:lnTo>
                    <a:lnTo>
                      <a:pt x="89" y="29"/>
                    </a:lnTo>
                    <a:lnTo>
                      <a:pt x="95" y="51"/>
                    </a:lnTo>
                    <a:lnTo>
                      <a:pt x="103" y="78"/>
                    </a:lnTo>
                    <a:lnTo>
                      <a:pt x="113" y="110"/>
                    </a:lnTo>
                    <a:lnTo>
                      <a:pt x="122" y="148"/>
                    </a:lnTo>
                    <a:lnTo>
                      <a:pt x="127" y="168"/>
                    </a:lnTo>
                    <a:lnTo>
                      <a:pt x="132" y="188"/>
                    </a:lnTo>
                    <a:lnTo>
                      <a:pt x="144" y="231"/>
                    </a:lnTo>
                    <a:lnTo>
                      <a:pt x="155" y="279"/>
                    </a:lnTo>
                    <a:lnTo>
                      <a:pt x="170" y="331"/>
                    </a:lnTo>
                    <a:lnTo>
                      <a:pt x="185" y="395"/>
                    </a:lnTo>
                    <a:lnTo>
                      <a:pt x="203" y="473"/>
                    </a:lnTo>
                    <a:lnTo>
                      <a:pt x="223" y="555"/>
                    </a:lnTo>
                    <a:lnTo>
                      <a:pt x="240" y="638"/>
                    </a:lnTo>
                    <a:lnTo>
                      <a:pt x="263" y="748"/>
                    </a:lnTo>
                    <a:lnTo>
                      <a:pt x="285" y="861"/>
                    </a:lnTo>
                    <a:lnTo>
                      <a:pt x="295" y="916"/>
                    </a:lnTo>
                    <a:lnTo>
                      <a:pt x="296" y="929"/>
                    </a:lnTo>
                    <a:lnTo>
                      <a:pt x="298" y="941"/>
                    </a:lnTo>
                    <a:lnTo>
                      <a:pt x="220" y="890"/>
                    </a:lnTo>
                    <a:lnTo>
                      <a:pt x="144" y="836"/>
                    </a:lnTo>
                    <a:lnTo>
                      <a:pt x="71" y="779"/>
                    </a:lnTo>
                    <a:lnTo>
                      <a:pt x="0" y="719"/>
                    </a:lnTo>
                    <a:lnTo>
                      <a:pt x="7" y="652"/>
                    </a:lnTo>
                    <a:lnTo>
                      <a:pt x="15" y="586"/>
                    </a:lnTo>
                    <a:lnTo>
                      <a:pt x="22" y="520"/>
                    </a:lnTo>
                    <a:lnTo>
                      <a:pt x="28" y="456"/>
                    </a:lnTo>
                    <a:lnTo>
                      <a:pt x="36" y="395"/>
                    </a:lnTo>
                    <a:lnTo>
                      <a:pt x="43" y="335"/>
                    </a:lnTo>
                    <a:lnTo>
                      <a:pt x="49" y="279"/>
                    </a:lnTo>
                    <a:lnTo>
                      <a:pt x="55" y="226"/>
                    </a:lnTo>
                    <a:lnTo>
                      <a:pt x="60" y="177"/>
                    </a:lnTo>
                    <a:lnTo>
                      <a:pt x="66" y="133"/>
                    </a:lnTo>
                    <a:lnTo>
                      <a:pt x="70" y="95"/>
                    </a:lnTo>
                    <a:lnTo>
                      <a:pt x="73" y="62"/>
                    </a:lnTo>
                    <a:lnTo>
                      <a:pt x="77" y="36"/>
                    </a:lnTo>
                    <a:lnTo>
                      <a:pt x="80" y="16"/>
                    </a:lnTo>
                    <a:lnTo>
                      <a:pt x="81" y="4"/>
                    </a:lnTo>
                    <a:lnTo>
                      <a:pt x="82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6" name="Freeform 32"/>
              <p:cNvSpPr>
                <a:spLocks/>
              </p:cNvSpPr>
              <p:nvPr/>
            </p:nvSpPr>
            <p:spPr bwMode="auto">
              <a:xfrm>
                <a:off x="-9055100" y="-995363"/>
                <a:ext cx="2014538" cy="2503488"/>
              </a:xfrm>
              <a:custGeom>
                <a:avLst/>
                <a:gdLst>
                  <a:gd name="T0" fmla="*/ 889 w 1269"/>
                  <a:gd name="T1" fmla="*/ 31 h 1577"/>
                  <a:gd name="T2" fmla="*/ 916 w 1269"/>
                  <a:gd name="T3" fmla="*/ 136 h 1577"/>
                  <a:gd name="T4" fmla="*/ 948 w 1269"/>
                  <a:gd name="T5" fmla="*/ 245 h 1577"/>
                  <a:gd name="T6" fmla="*/ 954 w 1269"/>
                  <a:gd name="T7" fmla="*/ 262 h 1577"/>
                  <a:gd name="T8" fmla="*/ 1014 w 1269"/>
                  <a:gd name="T9" fmla="*/ 442 h 1577"/>
                  <a:gd name="T10" fmla="*/ 1081 w 1269"/>
                  <a:gd name="T11" fmla="*/ 621 h 1577"/>
                  <a:gd name="T12" fmla="*/ 1119 w 1269"/>
                  <a:gd name="T13" fmla="*/ 720 h 1577"/>
                  <a:gd name="T14" fmla="*/ 1151 w 1269"/>
                  <a:gd name="T15" fmla="*/ 801 h 1577"/>
                  <a:gd name="T16" fmla="*/ 1174 w 1269"/>
                  <a:gd name="T17" fmla="*/ 857 h 1577"/>
                  <a:gd name="T18" fmla="*/ 1214 w 1269"/>
                  <a:gd name="T19" fmla="*/ 954 h 1577"/>
                  <a:gd name="T20" fmla="*/ 1244 w 1269"/>
                  <a:gd name="T21" fmla="*/ 1023 h 1577"/>
                  <a:gd name="T22" fmla="*/ 1265 w 1269"/>
                  <a:gd name="T23" fmla="*/ 1069 h 1577"/>
                  <a:gd name="T24" fmla="*/ 1269 w 1269"/>
                  <a:gd name="T25" fmla="*/ 1083 h 1577"/>
                  <a:gd name="T26" fmla="*/ 1156 w 1269"/>
                  <a:gd name="T27" fmla="*/ 1573 h 1577"/>
                  <a:gd name="T28" fmla="*/ 931 w 1269"/>
                  <a:gd name="T29" fmla="*/ 1549 h 1577"/>
                  <a:gd name="T30" fmla="*/ 715 w 1269"/>
                  <a:gd name="T31" fmla="*/ 1500 h 1577"/>
                  <a:gd name="T32" fmla="*/ 508 w 1269"/>
                  <a:gd name="T33" fmla="*/ 1428 h 1577"/>
                  <a:gd name="T34" fmla="*/ 312 w 1269"/>
                  <a:gd name="T35" fmla="*/ 1335 h 1577"/>
                  <a:gd name="T36" fmla="*/ 213 w 1269"/>
                  <a:gd name="T37" fmla="*/ 1256 h 1577"/>
                  <a:gd name="T38" fmla="*/ 182 w 1269"/>
                  <a:gd name="T39" fmla="*/ 1088 h 1577"/>
                  <a:gd name="T40" fmla="*/ 140 w 1269"/>
                  <a:gd name="T41" fmla="*/ 895 h 1577"/>
                  <a:gd name="T42" fmla="*/ 103 w 1269"/>
                  <a:gd name="T43" fmla="*/ 735 h 1577"/>
                  <a:gd name="T44" fmla="*/ 81 w 1269"/>
                  <a:gd name="T45" fmla="*/ 644 h 1577"/>
                  <a:gd name="T46" fmla="*/ 62 w 1269"/>
                  <a:gd name="T47" fmla="*/ 571 h 1577"/>
                  <a:gd name="T48" fmla="*/ 41 w 1269"/>
                  <a:gd name="T49" fmla="*/ 488 h 1577"/>
                  <a:gd name="T50" fmla="*/ 22 w 1269"/>
                  <a:gd name="T51" fmla="*/ 418 h 1577"/>
                  <a:gd name="T52" fmla="*/ 8 w 1269"/>
                  <a:gd name="T53" fmla="*/ 369 h 1577"/>
                  <a:gd name="T54" fmla="*/ 1 w 1269"/>
                  <a:gd name="T55" fmla="*/ 343 h 1577"/>
                  <a:gd name="T56" fmla="*/ 106 w 1269"/>
                  <a:gd name="T57" fmla="*/ 285 h 1577"/>
                  <a:gd name="T58" fmla="*/ 326 w 1269"/>
                  <a:gd name="T59" fmla="*/ 187 h 1577"/>
                  <a:gd name="T60" fmla="*/ 521 w 1269"/>
                  <a:gd name="T61" fmla="*/ 114 h 1577"/>
                  <a:gd name="T62" fmla="*/ 688 w 1269"/>
                  <a:gd name="T63" fmla="*/ 58 h 1577"/>
                  <a:gd name="T64" fmla="*/ 847 w 1269"/>
                  <a:gd name="T65" fmla="*/ 11 h 1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69" h="1577">
                    <a:moveTo>
                      <a:pt x="883" y="0"/>
                    </a:moveTo>
                    <a:lnTo>
                      <a:pt x="889" y="31"/>
                    </a:lnTo>
                    <a:lnTo>
                      <a:pt x="902" y="82"/>
                    </a:lnTo>
                    <a:lnTo>
                      <a:pt x="916" y="136"/>
                    </a:lnTo>
                    <a:lnTo>
                      <a:pt x="928" y="180"/>
                    </a:lnTo>
                    <a:lnTo>
                      <a:pt x="948" y="245"/>
                    </a:lnTo>
                    <a:lnTo>
                      <a:pt x="950" y="253"/>
                    </a:lnTo>
                    <a:lnTo>
                      <a:pt x="954" y="262"/>
                    </a:lnTo>
                    <a:lnTo>
                      <a:pt x="972" y="318"/>
                    </a:lnTo>
                    <a:lnTo>
                      <a:pt x="1014" y="442"/>
                    </a:lnTo>
                    <a:lnTo>
                      <a:pt x="1047" y="532"/>
                    </a:lnTo>
                    <a:lnTo>
                      <a:pt x="1081" y="621"/>
                    </a:lnTo>
                    <a:lnTo>
                      <a:pt x="1102" y="676"/>
                    </a:lnTo>
                    <a:lnTo>
                      <a:pt x="1119" y="720"/>
                    </a:lnTo>
                    <a:lnTo>
                      <a:pt x="1134" y="758"/>
                    </a:lnTo>
                    <a:lnTo>
                      <a:pt x="1151" y="801"/>
                    </a:lnTo>
                    <a:lnTo>
                      <a:pt x="1163" y="829"/>
                    </a:lnTo>
                    <a:lnTo>
                      <a:pt x="1174" y="857"/>
                    </a:lnTo>
                    <a:lnTo>
                      <a:pt x="1195" y="908"/>
                    </a:lnTo>
                    <a:lnTo>
                      <a:pt x="1214" y="954"/>
                    </a:lnTo>
                    <a:lnTo>
                      <a:pt x="1232" y="994"/>
                    </a:lnTo>
                    <a:lnTo>
                      <a:pt x="1244" y="1023"/>
                    </a:lnTo>
                    <a:lnTo>
                      <a:pt x="1258" y="1054"/>
                    </a:lnTo>
                    <a:lnTo>
                      <a:pt x="1265" y="1069"/>
                    </a:lnTo>
                    <a:lnTo>
                      <a:pt x="1268" y="1078"/>
                    </a:lnTo>
                    <a:lnTo>
                      <a:pt x="1269" y="1083"/>
                    </a:lnTo>
                    <a:lnTo>
                      <a:pt x="1269" y="1577"/>
                    </a:lnTo>
                    <a:lnTo>
                      <a:pt x="1156" y="1573"/>
                    </a:lnTo>
                    <a:lnTo>
                      <a:pt x="1042" y="1565"/>
                    </a:lnTo>
                    <a:lnTo>
                      <a:pt x="931" y="1549"/>
                    </a:lnTo>
                    <a:lnTo>
                      <a:pt x="822" y="1527"/>
                    </a:lnTo>
                    <a:lnTo>
                      <a:pt x="715" y="1500"/>
                    </a:lnTo>
                    <a:lnTo>
                      <a:pt x="611" y="1466"/>
                    </a:lnTo>
                    <a:lnTo>
                      <a:pt x="508" y="1428"/>
                    </a:lnTo>
                    <a:lnTo>
                      <a:pt x="409" y="1384"/>
                    </a:lnTo>
                    <a:lnTo>
                      <a:pt x="312" y="1335"/>
                    </a:lnTo>
                    <a:lnTo>
                      <a:pt x="218" y="1281"/>
                    </a:lnTo>
                    <a:lnTo>
                      <a:pt x="213" y="1256"/>
                    </a:lnTo>
                    <a:lnTo>
                      <a:pt x="204" y="1201"/>
                    </a:lnTo>
                    <a:lnTo>
                      <a:pt x="182" y="1088"/>
                    </a:lnTo>
                    <a:lnTo>
                      <a:pt x="158" y="978"/>
                    </a:lnTo>
                    <a:lnTo>
                      <a:pt x="140" y="895"/>
                    </a:lnTo>
                    <a:lnTo>
                      <a:pt x="122" y="813"/>
                    </a:lnTo>
                    <a:lnTo>
                      <a:pt x="103" y="735"/>
                    </a:lnTo>
                    <a:lnTo>
                      <a:pt x="88" y="671"/>
                    </a:lnTo>
                    <a:lnTo>
                      <a:pt x="81" y="644"/>
                    </a:lnTo>
                    <a:lnTo>
                      <a:pt x="74" y="619"/>
                    </a:lnTo>
                    <a:lnTo>
                      <a:pt x="62" y="571"/>
                    </a:lnTo>
                    <a:lnTo>
                      <a:pt x="51" y="528"/>
                    </a:lnTo>
                    <a:lnTo>
                      <a:pt x="41" y="488"/>
                    </a:lnTo>
                    <a:lnTo>
                      <a:pt x="30" y="450"/>
                    </a:lnTo>
                    <a:lnTo>
                      <a:pt x="22" y="418"/>
                    </a:lnTo>
                    <a:lnTo>
                      <a:pt x="14" y="391"/>
                    </a:lnTo>
                    <a:lnTo>
                      <a:pt x="8" y="369"/>
                    </a:lnTo>
                    <a:lnTo>
                      <a:pt x="3" y="354"/>
                    </a:lnTo>
                    <a:lnTo>
                      <a:pt x="1" y="343"/>
                    </a:lnTo>
                    <a:lnTo>
                      <a:pt x="0" y="340"/>
                    </a:lnTo>
                    <a:lnTo>
                      <a:pt x="106" y="285"/>
                    </a:lnTo>
                    <a:lnTo>
                      <a:pt x="215" y="234"/>
                    </a:lnTo>
                    <a:lnTo>
                      <a:pt x="326" y="187"/>
                    </a:lnTo>
                    <a:lnTo>
                      <a:pt x="437" y="143"/>
                    </a:lnTo>
                    <a:lnTo>
                      <a:pt x="521" y="114"/>
                    </a:lnTo>
                    <a:lnTo>
                      <a:pt x="602" y="86"/>
                    </a:lnTo>
                    <a:lnTo>
                      <a:pt x="688" y="58"/>
                    </a:lnTo>
                    <a:lnTo>
                      <a:pt x="770" y="33"/>
                    </a:lnTo>
                    <a:lnTo>
                      <a:pt x="847" y="11"/>
                    </a:lnTo>
                    <a:lnTo>
                      <a:pt x="88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7" name="Freeform 33"/>
              <p:cNvSpPr>
                <a:spLocks/>
              </p:cNvSpPr>
              <p:nvPr/>
            </p:nvSpPr>
            <p:spPr bwMode="auto">
              <a:xfrm>
                <a:off x="-8224838" y="-1260475"/>
                <a:ext cx="1184275" cy="1984375"/>
              </a:xfrm>
              <a:custGeom>
                <a:avLst/>
                <a:gdLst>
                  <a:gd name="T0" fmla="*/ 339 w 746"/>
                  <a:gd name="T1" fmla="*/ 0 h 1250"/>
                  <a:gd name="T2" fmla="*/ 342 w 746"/>
                  <a:gd name="T3" fmla="*/ 38 h 1250"/>
                  <a:gd name="T4" fmla="*/ 346 w 746"/>
                  <a:gd name="T5" fmla="*/ 78 h 1250"/>
                  <a:gd name="T6" fmla="*/ 353 w 746"/>
                  <a:gd name="T7" fmla="*/ 122 h 1250"/>
                  <a:gd name="T8" fmla="*/ 361 w 746"/>
                  <a:gd name="T9" fmla="*/ 169 h 1250"/>
                  <a:gd name="T10" fmla="*/ 375 w 746"/>
                  <a:gd name="T11" fmla="*/ 230 h 1250"/>
                  <a:gd name="T12" fmla="*/ 392 w 746"/>
                  <a:gd name="T13" fmla="*/ 293 h 1250"/>
                  <a:gd name="T14" fmla="*/ 410 w 746"/>
                  <a:gd name="T15" fmla="*/ 360 h 1250"/>
                  <a:gd name="T16" fmla="*/ 432 w 746"/>
                  <a:gd name="T17" fmla="*/ 429 h 1250"/>
                  <a:gd name="T18" fmla="*/ 454 w 746"/>
                  <a:gd name="T19" fmla="*/ 500 h 1250"/>
                  <a:gd name="T20" fmla="*/ 479 w 746"/>
                  <a:gd name="T21" fmla="*/ 569 h 1250"/>
                  <a:gd name="T22" fmla="*/ 503 w 746"/>
                  <a:gd name="T23" fmla="*/ 640 h 1250"/>
                  <a:gd name="T24" fmla="*/ 529 w 746"/>
                  <a:gd name="T25" fmla="*/ 710 h 1250"/>
                  <a:gd name="T26" fmla="*/ 555 w 746"/>
                  <a:gd name="T27" fmla="*/ 778 h 1250"/>
                  <a:gd name="T28" fmla="*/ 580 w 746"/>
                  <a:gd name="T29" fmla="*/ 844 h 1250"/>
                  <a:gd name="T30" fmla="*/ 605 w 746"/>
                  <a:gd name="T31" fmla="*/ 908 h 1250"/>
                  <a:gd name="T32" fmla="*/ 629 w 746"/>
                  <a:gd name="T33" fmla="*/ 968 h 1250"/>
                  <a:gd name="T34" fmla="*/ 652 w 746"/>
                  <a:gd name="T35" fmla="*/ 1024 h 1250"/>
                  <a:gd name="T36" fmla="*/ 673 w 746"/>
                  <a:gd name="T37" fmla="*/ 1075 h 1250"/>
                  <a:gd name="T38" fmla="*/ 693 w 746"/>
                  <a:gd name="T39" fmla="*/ 1122 h 1250"/>
                  <a:gd name="T40" fmla="*/ 710 w 746"/>
                  <a:gd name="T41" fmla="*/ 1161 h 1250"/>
                  <a:gd name="T42" fmla="*/ 720 w 746"/>
                  <a:gd name="T43" fmla="*/ 1188 h 1250"/>
                  <a:gd name="T44" fmla="*/ 729 w 746"/>
                  <a:gd name="T45" fmla="*/ 1210 h 1250"/>
                  <a:gd name="T46" fmla="*/ 737 w 746"/>
                  <a:gd name="T47" fmla="*/ 1227 h 1250"/>
                  <a:gd name="T48" fmla="*/ 743 w 746"/>
                  <a:gd name="T49" fmla="*/ 1239 h 1250"/>
                  <a:gd name="T50" fmla="*/ 746 w 746"/>
                  <a:gd name="T51" fmla="*/ 1248 h 1250"/>
                  <a:gd name="T52" fmla="*/ 746 w 746"/>
                  <a:gd name="T53" fmla="*/ 1250 h 1250"/>
                  <a:gd name="T54" fmla="*/ 710 w 746"/>
                  <a:gd name="T55" fmla="*/ 1220 h 1250"/>
                  <a:gd name="T56" fmla="*/ 60 w 746"/>
                  <a:gd name="T57" fmla="*/ 699 h 1250"/>
                  <a:gd name="T58" fmla="*/ 170 w 746"/>
                  <a:gd name="T59" fmla="*/ 433 h 1250"/>
                  <a:gd name="T60" fmla="*/ 0 w 746"/>
                  <a:gd name="T61" fmla="*/ 345 h 1250"/>
                  <a:gd name="T62" fmla="*/ 16 w 746"/>
                  <a:gd name="T63" fmla="*/ 325 h 1250"/>
                  <a:gd name="T64" fmla="*/ 34 w 746"/>
                  <a:gd name="T65" fmla="*/ 303 h 1250"/>
                  <a:gd name="T66" fmla="*/ 56 w 746"/>
                  <a:gd name="T67" fmla="*/ 279 h 1250"/>
                  <a:gd name="T68" fmla="*/ 80 w 746"/>
                  <a:gd name="T69" fmla="*/ 253 h 1250"/>
                  <a:gd name="T70" fmla="*/ 104 w 746"/>
                  <a:gd name="T71" fmla="*/ 227 h 1250"/>
                  <a:gd name="T72" fmla="*/ 128 w 746"/>
                  <a:gd name="T73" fmla="*/ 203 h 1250"/>
                  <a:gd name="T74" fmla="*/ 154 w 746"/>
                  <a:gd name="T75" fmla="*/ 177 h 1250"/>
                  <a:gd name="T76" fmla="*/ 178 w 746"/>
                  <a:gd name="T77" fmla="*/ 153 h 1250"/>
                  <a:gd name="T78" fmla="*/ 204 w 746"/>
                  <a:gd name="T79" fmla="*/ 128 h 1250"/>
                  <a:gd name="T80" fmla="*/ 227 w 746"/>
                  <a:gd name="T81" fmla="*/ 105 h 1250"/>
                  <a:gd name="T82" fmla="*/ 250 w 746"/>
                  <a:gd name="T83" fmla="*/ 84 h 1250"/>
                  <a:gd name="T84" fmla="*/ 271 w 746"/>
                  <a:gd name="T85" fmla="*/ 63 h 1250"/>
                  <a:gd name="T86" fmla="*/ 291 w 746"/>
                  <a:gd name="T87" fmla="*/ 46 h 1250"/>
                  <a:gd name="T88" fmla="*/ 306 w 746"/>
                  <a:gd name="T89" fmla="*/ 30 h 1250"/>
                  <a:gd name="T90" fmla="*/ 321 w 746"/>
                  <a:gd name="T91" fmla="*/ 18 h 1250"/>
                  <a:gd name="T92" fmla="*/ 331 w 746"/>
                  <a:gd name="T93" fmla="*/ 8 h 1250"/>
                  <a:gd name="T94" fmla="*/ 337 w 746"/>
                  <a:gd name="T95" fmla="*/ 2 h 1250"/>
                  <a:gd name="T96" fmla="*/ 339 w 746"/>
                  <a:gd name="T97" fmla="*/ 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6" h="1250">
                    <a:moveTo>
                      <a:pt x="339" y="0"/>
                    </a:moveTo>
                    <a:lnTo>
                      <a:pt x="342" y="38"/>
                    </a:lnTo>
                    <a:lnTo>
                      <a:pt x="346" y="78"/>
                    </a:lnTo>
                    <a:lnTo>
                      <a:pt x="353" y="122"/>
                    </a:lnTo>
                    <a:lnTo>
                      <a:pt x="361" y="169"/>
                    </a:lnTo>
                    <a:lnTo>
                      <a:pt x="375" y="230"/>
                    </a:lnTo>
                    <a:lnTo>
                      <a:pt x="392" y="293"/>
                    </a:lnTo>
                    <a:lnTo>
                      <a:pt x="410" y="360"/>
                    </a:lnTo>
                    <a:lnTo>
                      <a:pt x="432" y="429"/>
                    </a:lnTo>
                    <a:lnTo>
                      <a:pt x="454" y="500"/>
                    </a:lnTo>
                    <a:lnTo>
                      <a:pt x="479" y="569"/>
                    </a:lnTo>
                    <a:lnTo>
                      <a:pt x="503" y="640"/>
                    </a:lnTo>
                    <a:lnTo>
                      <a:pt x="529" y="710"/>
                    </a:lnTo>
                    <a:lnTo>
                      <a:pt x="555" y="778"/>
                    </a:lnTo>
                    <a:lnTo>
                      <a:pt x="580" y="844"/>
                    </a:lnTo>
                    <a:lnTo>
                      <a:pt x="605" y="908"/>
                    </a:lnTo>
                    <a:lnTo>
                      <a:pt x="629" y="968"/>
                    </a:lnTo>
                    <a:lnTo>
                      <a:pt x="652" y="1024"/>
                    </a:lnTo>
                    <a:lnTo>
                      <a:pt x="673" y="1075"/>
                    </a:lnTo>
                    <a:lnTo>
                      <a:pt x="693" y="1122"/>
                    </a:lnTo>
                    <a:lnTo>
                      <a:pt x="710" y="1161"/>
                    </a:lnTo>
                    <a:lnTo>
                      <a:pt x="720" y="1188"/>
                    </a:lnTo>
                    <a:lnTo>
                      <a:pt x="729" y="1210"/>
                    </a:lnTo>
                    <a:lnTo>
                      <a:pt x="737" y="1227"/>
                    </a:lnTo>
                    <a:lnTo>
                      <a:pt x="743" y="1239"/>
                    </a:lnTo>
                    <a:lnTo>
                      <a:pt x="746" y="1248"/>
                    </a:lnTo>
                    <a:lnTo>
                      <a:pt x="746" y="1250"/>
                    </a:lnTo>
                    <a:lnTo>
                      <a:pt x="710" y="1220"/>
                    </a:lnTo>
                    <a:lnTo>
                      <a:pt x="60" y="699"/>
                    </a:lnTo>
                    <a:lnTo>
                      <a:pt x="170" y="433"/>
                    </a:lnTo>
                    <a:lnTo>
                      <a:pt x="0" y="345"/>
                    </a:lnTo>
                    <a:lnTo>
                      <a:pt x="16" y="325"/>
                    </a:lnTo>
                    <a:lnTo>
                      <a:pt x="34" y="303"/>
                    </a:lnTo>
                    <a:lnTo>
                      <a:pt x="56" y="279"/>
                    </a:lnTo>
                    <a:lnTo>
                      <a:pt x="80" y="253"/>
                    </a:lnTo>
                    <a:lnTo>
                      <a:pt x="104" y="227"/>
                    </a:lnTo>
                    <a:lnTo>
                      <a:pt x="128" y="203"/>
                    </a:lnTo>
                    <a:lnTo>
                      <a:pt x="154" y="177"/>
                    </a:lnTo>
                    <a:lnTo>
                      <a:pt x="178" y="153"/>
                    </a:lnTo>
                    <a:lnTo>
                      <a:pt x="204" y="128"/>
                    </a:lnTo>
                    <a:lnTo>
                      <a:pt x="227" y="105"/>
                    </a:lnTo>
                    <a:lnTo>
                      <a:pt x="250" y="84"/>
                    </a:lnTo>
                    <a:lnTo>
                      <a:pt x="271" y="63"/>
                    </a:lnTo>
                    <a:lnTo>
                      <a:pt x="291" y="46"/>
                    </a:lnTo>
                    <a:lnTo>
                      <a:pt x="306" y="30"/>
                    </a:lnTo>
                    <a:lnTo>
                      <a:pt x="321" y="18"/>
                    </a:lnTo>
                    <a:lnTo>
                      <a:pt x="331" y="8"/>
                    </a:lnTo>
                    <a:lnTo>
                      <a:pt x="337" y="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440E133D-9802-4AC1-ACC2-DCB379DE74EE}"/>
              </a:ext>
            </a:extLst>
          </p:cNvPr>
          <p:cNvGrpSpPr/>
          <p:nvPr userDrawn="1"/>
        </p:nvGrpSpPr>
        <p:grpSpPr>
          <a:xfrm>
            <a:off x="9791255" y="4414955"/>
            <a:ext cx="1305752" cy="1160263"/>
            <a:chOff x="9463025" y="4267806"/>
            <a:chExt cx="1177418" cy="1177418"/>
          </a:xfrm>
        </p:grpSpPr>
        <p:sp>
          <p:nvSpPr>
            <p:cNvPr id="159" name="Oval 158"/>
            <p:cNvSpPr/>
            <p:nvPr/>
          </p:nvSpPr>
          <p:spPr>
            <a:xfrm>
              <a:off x="9463025" y="4267806"/>
              <a:ext cx="1177418" cy="117741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0" name="Freeform 6"/>
            <p:cNvSpPr>
              <a:spLocks/>
            </p:cNvSpPr>
            <p:nvPr/>
          </p:nvSpPr>
          <p:spPr bwMode="auto">
            <a:xfrm>
              <a:off x="9550807" y="4354819"/>
              <a:ext cx="1001855" cy="1002043"/>
            </a:xfrm>
            <a:custGeom>
              <a:avLst/>
              <a:gdLst>
                <a:gd name="T0" fmla="*/ 2804 w 5285"/>
                <a:gd name="T1" fmla="*/ 5 h 5286"/>
                <a:gd name="T2" fmla="*/ 3118 w 5285"/>
                <a:gd name="T3" fmla="*/ 44 h 5286"/>
                <a:gd name="T4" fmla="*/ 3419 w 5285"/>
                <a:gd name="T5" fmla="*/ 116 h 5286"/>
                <a:gd name="T6" fmla="*/ 3706 w 5285"/>
                <a:gd name="T7" fmla="*/ 223 h 5286"/>
                <a:gd name="T8" fmla="*/ 3976 w 5285"/>
                <a:gd name="T9" fmla="*/ 361 h 5286"/>
                <a:gd name="T10" fmla="*/ 4228 w 5285"/>
                <a:gd name="T11" fmla="*/ 529 h 5286"/>
                <a:gd name="T12" fmla="*/ 4457 w 5285"/>
                <a:gd name="T13" fmla="*/ 723 h 5286"/>
                <a:gd name="T14" fmla="*/ 4663 w 5285"/>
                <a:gd name="T15" fmla="*/ 941 h 5286"/>
                <a:gd name="T16" fmla="*/ 4844 w 5285"/>
                <a:gd name="T17" fmla="*/ 1181 h 5286"/>
                <a:gd name="T18" fmla="*/ 4996 w 5285"/>
                <a:gd name="T19" fmla="*/ 1442 h 5286"/>
                <a:gd name="T20" fmla="*/ 5120 w 5285"/>
                <a:gd name="T21" fmla="*/ 1721 h 5286"/>
                <a:gd name="T22" fmla="*/ 5209 w 5285"/>
                <a:gd name="T23" fmla="*/ 2015 h 5286"/>
                <a:gd name="T24" fmla="*/ 5265 w 5285"/>
                <a:gd name="T25" fmla="*/ 2324 h 5286"/>
                <a:gd name="T26" fmla="*/ 5285 w 5285"/>
                <a:gd name="T27" fmla="*/ 2643 h 5286"/>
                <a:gd name="T28" fmla="*/ 5265 w 5285"/>
                <a:gd name="T29" fmla="*/ 2962 h 5286"/>
                <a:gd name="T30" fmla="*/ 5209 w 5285"/>
                <a:gd name="T31" fmla="*/ 3271 h 5286"/>
                <a:gd name="T32" fmla="*/ 5120 w 5285"/>
                <a:gd name="T33" fmla="*/ 3566 h 5286"/>
                <a:gd name="T34" fmla="*/ 4996 w 5285"/>
                <a:gd name="T35" fmla="*/ 3844 h 5286"/>
                <a:gd name="T36" fmla="*/ 4844 w 5285"/>
                <a:gd name="T37" fmla="*/ 4106 h 5286"/>
                <a:gd name="T38" fmla="*/ 4663 w 5285"/>
                <a:gd name="T39" fmla="*/ 4346 h 5286"/>
                <a:gd name="T40" fmla="*/ 4457 w 5285"/>
                <a:gd name="T41" fmla="*/ 4564 h 5286"/>
                <a:gd name="T42" fmla="*/ 4228 w 5285"/>
                <a:gd name="T43" fmla="*/ 4757 h 5286"/>
                <a:gd name="T44" fmla="*/ 3976 w 5285"/>
                <a:gd name="T45" fmla="*/ 4926 h 5286"/>
                <a:gd name="T46" fmla="*/ 3706 w 5285"/>
                <a:gd name="T47" fmla="*/ 5063 h 5286"/>
                <a:gd name="T48" fmla="*/ 3419 w 5285"/>
                <a:gd name="T49" fmla="*/ 5171 h 5286"/>
                <a:gd name="T50" fmla="*/ 3118 w 5285"/>
                <a:gd name="T51" fmla="*/ 5243 h 5286"/>
                <a:gd name="T52" fmla="*/ 2804 w 5285"/>
                <a:gd name="T53" fmla="*/ 5281 h 5286"/>
                <a:gd name="T54" fmla="*/ 2481 w 5285"/>
                <a:gd name="T55" fmla="*/ 5281 h 5286"/>
                <a:gd name="T56" fmla="*/ 2167 w 5285"/>
                <a:gd name="T57" fmla="*/ 5243 h 5286"/>
                <a:gd name="T58" fmla="*/ 1866 w 5285"/>
                <a:gd name="T59" fmla="*/ 5171 h 5286"/>
                <a:gd name="T60" fmla="*/ 1579 w 5285"/>
                <a:gd name="T61" fmla="*/ 5063 h 5286"/>
                <a:gd name="T62" fmla="*/ 1308 w 5285"/>
                <a:gd name="T63" fmla="*/ 4926 h 5286"/>
                <a:gd name="T64" fmla="*/ 1057 w 5285"/>
                <a:gd name="T65" fmla="*/ 4757 h 5286"/>
                <a:gd name="T66" fmla="*/ 828 w 5285"/>
                <a:gd name="T67" fmla="*/ 4564 h 5286"/>
                <a:gd name="T68" fmla="*/ 621 w 5285"/>
                <a:gd name="T69" fmla="*/ 4346 h 5286"/>
                <a:gd name="T70" fmla="*/ 440 w 5285"/>
                <a:gd name="T71" fmla="*/ 4106 h 5286"/>
                <a:gd name="T72" fmla="*/ 288 w 5285"/>
                <a:gd name="T73" fmla="*/ 3844 h 5286"/>
                <a:gd name="T74" fmla="*/ 165 w 5285"/>
                <a:gd name="T75" fmla="*/ 3566 h 5286"/>
                <a:gd name="T76" fmla="*/ 75 w 5285"/>
                <a:gd name="T77" fmla="*/ 3271 h 5286"/>
                <a:gd name="T78" fmla="*/ 19 w 5285"/>
                <a:gd name="T79" fmla="*/ 2962 h 5286"/>
                <a:gd name="T80" fmla="*/ 0 w 5285"/>
                <a:gd name="T81" fmla="*/ 2643 h 5286"/>
                <a:gd name="T82" fmla="*/ 19 w 5285"/>
                <a:gd name="T83" fmla="*/ 2324 h 5286"/>
                <a:gd name="T84" fmla="*/ 75 w 5285"/>
                <a:gd name="T85" fmla="*/ 2015 h 5286"/>
                <a:gd name="T86" fmla="*/ 165 w 5285"/>
                <a:gd name="T87" fmla="*/ 1721 h 5286"/>
                <a:gd name="T88" fmla="*/ 288 w 5285"/>
                <a:gd name="T89" fmla="*/ 1442 h 5286"/>
                <a:gd name="T90" fmla="*/ 440 w 5285"/>
                <a:gd name="T91" fmla="*/ 1181 h 5286"/>
                <a:gd name="T92" fmla="*/ 621 w 5285"/>
                <a:gd name="T93" fmla="*/ 941 h 5286"/>
                <a:gd name="T94" fmla="*/ 828 w 5285"/>
                <a:gd name="T95" fmla="*/ 723 h 5286"/>
                <a:gd name="T96" fmla="*/ 1057 w 5285"/>
                <a:gd name="T97" fmla="*/ 529 h 5286"/>
                <a:gd name="T98" fmla="*/ 1308 w 5285"/>
                <a:gd name="T99" fmla="*/ 361 h 5286"/>
                <a:gd name="T100" fmla="*/ 1579 w 5285"/>
                <a:gd name="T101" fmla="*/ 223 h 5286"/>
                <a:gd name="T102" fmla="*/ 1866 w 5285"/>
                <a:gd name="T103" fmla="*/ 116 h 5286"/>
                <a:gd name="T104" fmla="*/ 2167 w 5285"/>
                <a:gd name="T105" fmla="*/ 44 h 5286"/>
                <a:gd name="T106" fmla="*/ 2481 w 5285"/>
                <a:gd name="T107" fmla="*/ 5 h 5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85" h="5286">
                  <a:moveTo>
                    <a:pt x="2641" y="0"/>
                  </a:moveTo>
                  <a:lnTo>
                    <a:pt x="2804" y="5"/>
                  </a:lnTo>
                  <a:lnTo>
                    <a:pt x="2961" y="20"/>
                  </a:lnTo>
                  <a:lnTo>
                    <a:pt x="3118" y="44"/>
                  </a:lnTo>
                  <a:lnTo>
                    <a:pt x="3270" y="76"/>
                  </a:lnTo>
                  <a:lnTo>
                    <a:pt x="3419" y="116"/>
                  </a:lnTo>
                  <a:lnTo>
                    <a:pt x="3565" y="165"/>
                  </a:lnTo>
                  <a:lnTo>
                    <a:pt x="3706" y="223"/>
                  </a:lnTo>
                  <a:lnTo>
                    <a:pt x="3843" y="289"/>
                  </a:lnTo>
                  <a:lnTo>
                    <a:pt x="3976" y="361"/>
                  </a:lnTo>
                  <a:lnTo>
                    <a:pt x="4104" y="441"/>
                  </a:lnTo>
                  <a:lnTo>
                    <a:pt x="4228" y="529"/>
                  </a:lnTo>
                  <a:lnTo>
                    <a:pt x="4345" y="622"/>
                  </a:lnTo>
                  <a:lnTo>
                    <a:pt x="4457" y="723"/>
                  </a:lnTo>
                  <a:lnTo>
                    <a:pt x="4562" y="828"/>
                  </a:lnTo>
                  <a:lnTo>
                    <a:pt x="4663" y="941"/>
                  </a:lnTo>
                  <a:lnTo>
                    <a:pt x="4756" y="1058"/>
                  </a:lnTo>
                  <a:lnTo>
                    <a:pt x="4844" y="1181"/>
                  </a:lnTo>
                  <a:lnTo>
                    <a:pt x="4924" y="1309"/>
                  </a:lnTo>
                  <a:lnTo>
                    <a:pt x="4996" y="1442"/>
                  </a:lnTo>
                  <a:lnTo>
                    <a:pt x="5062" y="1580"/>
                  </a:lnTo>
                  <a:lnTo>
                    <a:pt x="5120" y="1721"/>
                  </a:lnTo>
                  <a:lnTo>
                    <a:pt x="5169" y="1866"/>
                  </a:lnTo>
                  <a:lnTo>
                    <a:pt x="5209" y="2015"/>
                  </a:lnTo>
                  <a:lnTo>
                    <a:pt x="5241" y="2167"/>
                  </a:lnTo>
                  <a:lnTo>
                    <a:pt x="5265" y="2324"/>
                  </a:lnTo>
                  <a:lnTo>
                    <a:pt x="5280" y="2481"/>
                  </a:lnTo>
                  <a:lnTo>
                    <a:pt x="5285" y="2643"/>
                  </a:lnTo>
                  <a:lnTo>
                    <a:pt x="5280" y="2805"/>
                  </a:lnTo>
                  <a:lnTo>
                    <a:pt x="5265" y="2962"/>
                  </a:lnTo>
                  <a:lnTo>
                    <a:pt x="5241" y="3119"/>
                  </a:lnTo>
                  <a:lnTo>
                    <a:pt x="5209" y="3271"/>
                  </a:lnTo>
                  <a:lnTo>
                    <a:pt x="5169" y="3420"/>
                  </a:lnTo>
                  <a:lnTo>
                    <a:pt x="5120" y="3566"/>
                  </a:lnTo>
                  <a:lnTo>
                    <a:pt x="5062" y="3707"/>
                  </a:lnTo>
                  <a:lnTo>
                    <a:pt x="4996" y="3844"/>
                  </a:lnTo>
                  <a:lnTo>
                    <a:pt x="4924" y="3977"/>
                  </a:lnTo>
                  <a:lnTo>
                    <a:pt x="4844" y="4106"/>
                  </a:lnTo>
                  <a:lnTo>
                    <a:pt x="4756" y="4229"/>
                  </a:lnTo>
                  <a:lnTo>
                    <a:pt x="4663" y="4346"/>
                  </a:lnTo>
                  <a:lnTo>
                    <a:pt x="4562" y="4458"/>
                  </a:lnTo>
                  <a:lnTo>
                    <a:pt x="4457" y="4564"/>
                  </a:lnTo>
                  <a:lnTo>
                    <a:pt x="4345" y="4665"/>
                  </a:lnTo>
                  <a:lnTo>
                    <a:pt x="4228" y="4757"/>
                  </a:lnTo>
                  <a:lnTo>
                    <a:pt x="4104" y="4846"/>
                  </a:lnTo>
                  <a:lnTo>
                    <a:pt x="3976" y="4926"/>
                  </a:lnTo>
                  <a:lnTo>
                    <a:pt x="3843" y="4998"/>
                  </a:lnTo>
                  <a:lnTo>
                    <a:pt x="3706" y="5063"/>
                  </a:lnTo>
                  <a:lnTo>
                    <a:pt x="3565" y="5121"/>
                  </a:lnTo>
                  <a:lnTo>
                    <a:pt x="3419" y="5171"/>
                  </a:lnTo>
                  <a:lnTo>
                    <a:pt x="3270" y="5211"/>
                  </a:lnTo>
                  <a:lnTo>
                    <a:pt x="3118" y="5243"/>
                  </a:lnTo>
                  <a:lnTo>
                    <a:pt x="2961" y="5267"/>
                  </a:lnTo>
                  <a:lnTo>
                    <a:pt x="2804" y="5281"/>
                  </a:lnTo>
                  <a:lnTo>
                    <a:pt x="2641" y="5286"/>
                  </a:lnTo>
                  <a:lnTo>
                    <a:pt x="2481" y="5281"/>
                  </a:lnTo>
                  <a:lnTo>
                    <a:pt x="2324" y="5267"/>
                  </a:lnTo>
                  <a:lnTo>
                    <a:pt x="2167" y="5243"/>
                  </a:lnTo>
                  <a:lnTo>
                    <a:pt x="2015" y="5211"/>
                  </a:lnTo>
                  <a:lnTo>
                    <a:pt x="1866" y="5171"/>
                  </a:lnTo>
                  <a:lnTo>
                    <a:pt x="1720" y="5121"/>
                  </a:lnTo>
                  <a:lnTo>
                    <a:pt x="1579" y="5063"/>
                  </a:lnTo>
                  <a:lnTo>
                    <a:pt x="1441" y="4998"/>
                  </a:lnTo>
                  <a:lnTo>
                    <a:pt x="1308" y="4926"/>
                  </a:lnTo>
                  <a:lnTo>
                    <a:pt x="1180" y="4846"/>
                  </a:lnTo>
                  <a:lnTo>
                    <a:pt x="1057" y="4757"/>
                  </a:lnTo>
                  <a:lnTo>
                    <a:pt x="940" y="4665"/>
                  </a:lnTo>
                  <a:lnTo>
                    <a:pt x="828" y="4564"/>
                  </a:lnTo>
                  <a:lnTo>
                    <a:pt x="722" y="4458"/>
                  </a:lnTo>
                  <a:lnTo>
                    <a:pt x="621" y="4346"/>
                  </a:lnTo>
                  <a:lnTo>
                    <a:pt x="528" y="4229"/>
                  </a:lnTo>
                  <a:lnTo>
                    <a:pt x="440" y="4106"/>
                  </a:lnTo>
                  <a:lnTo>
                    <a:pt x="360" y="3977"/>
                  </a:lnTo>
                  <a:lnTo>
                    <a:pt x="288" y="3844"/>
                  </a:lnTo>
                  <a:lnTo>
                    <a:pt x="223" y="3707"/>
                  </a:lnTo>
                  <a:lnTo>
                    <a:pt x="165" y="3566"/>
                  </a:lnTo>
                  <a:lnTo>
                    <a:pt x="115" y="3420"/>
                  </a:lnTo>
                  <a:lnTo>
                    <a:pt x="75" y="3271"/>
                  </a:lnTo>
                  <a:lnTo>
                    <a:pt x="43" y="3119"/>
                  </a:lnTo>
                  <a:lnTo>
                    <a:pt x="19" y="2962"/>
                  </a:lnTo>
                  <a:lnTo>
                    <a:pt x="5" y="2805"/>
                  </a:lnTo>
                  <a:lnTo>
                    <a:pt x="0" y="2643"/>
                  </a:lnTo>
                  <a:lnTo>
                    <a:pt x="5" y="2481"/>
                  </a:lnTo>
                  <a:lnTo>
                    <a:pt x="19" y="2324"/>
                  </a:lnTo>
                  <a:lnTo>
                    <a:pt x="43" y="2167"/>
                  </a:lnTo>
                  <a:lnTo>
                    <a:pt x="75" y="2015"/>
                  </a:lnTo>
                  <a:lnTo>
                    <a:pt x="115" y="1866"/>
                  </a:lnTo>
                  <a:lnTo>
                    <a:pt x="165" y="1721"/>
                  </a:lnTo>
                  <a:lnTo>
                    <a:pt x="223" y="1580"/>
                  </a:lnTo>
                  <a:lnTo>
                    <a:pt x="288" y="1442"/>
                  </a:lnTo>
                  <a:lnTo>
                    <a:pt x="360" y="1309"/>
                  </a:lnTo>
                  <a:lnTo>
                    <a:pt x="440" y="1181"/>
                  </a:lnTo>
                  <a:lnTo>
                    <a:pt x="528" y="1058"/>
                  </a:lnTo>
                  <a:lnTo>
                    <a:pt x="621" y="941"/>
                  </a:lnTo>
                  <a:lnTo>
                    <a:pt x="722" y="828"/>
                  </a:lnTo>
                  <a:lnTo>
                    <a:pt x="828" y="723"/>
                  </a:lnTo>
                  <a:lnTo>
                    <a:pt x="940" y="622"/>
                  </a:lnTo>
                  <a:lnTo>
                    <a:pt x="1057" y="529"/>
                  </a:lnTo>
                  <a:lnTo>
                    <a:pt x="1180" y="441"/>
                  </a:lnTo>
                  <a:lnTo>
                    <a:pt x="1308" y="361"/>
                  </a:lnTo>
                  <a:lnTo>
                    <a:pt x="1441" y="289"/>
                  </a:lnTo>
                  <a:lnTo>
                    <a:pt x="1579" y="223"/>
                  </a:lnTo>
                  <a:lnTo>
                    <a:pt x="1720" y="165"/>
                  </a:lnTo>
                  <a:lnTo>
                    <a:pt x="1866" y="116"/>
                  </a:lnTo>
                  <a:lnTo>
                    <a:pt x="2015" y="76"/>
                  </a:lnTo>
                  <a:lnTo>
                    <a:pt x="2167" y="44"/>
                  </a:lnTo>
                  <a:lnTo>
                    <a:pt x="2324" y="20"/>
                  </a:lnTo>
                  <a:lnTo>
                    <a:pt x="2481" y="5"/>
                  </a:lnTo>
                  <a:lnTo>
                    <a:pt x="264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1" name="Freeform 7"/>
            <p:cNvSpPr>
              <a:spLocks/>
            </p:cNvSpPr>
            <p:nvPr/>
          </p:nvSpPr>
          <p:spPr bwMode="auto">
            <a:xfrm>
              <a:off x="10047659" y="5073883"/>
              <a:ext cx="6445" cy="948"/>
            </a:xfrm>
            <a:custGeom>
              <a:avLst/>
              <a:gdLst>
                <a:gd name="T0" fmla="*/ 0 w 34"/>
                <a:gd name="T1" fmla="*/ 0 h 5"/>
                <a:gd name="T2" fmla="*/ 34 w 34"/>
                <a:gd name="T3" fmla="*/ 0 h 5"/>
                <a:gd name="T4" fmla="*/ 31 w 34"/>
                <a:gd name="T5" fmla="*/ 1 h 5"/>
                <a:gd name="T6" fmla="*/ 28 w 34"/>
                <a:gd name="T7" fmla="*/ 3 h 5"/>
                <a:gd name="T8" fmla="*/ 23 w 34"/>
                <a:gd name="T9" fmla="*/ 5 h 5"/>
                <a:gd name="T10" fmla="*/ 16 w 34"/>
                <a:gd name="T11" fmla="*/ 5 h 5"/>
                <a:gd name="T12" fmla="*/ 13 w 34"/>
                <a:gd name="T13" fmla="*/ 5 h 5"/>
                <a:gd name="T14" fmla="*/ 10 w 34"/>
                <a:gd name="T15" fmla="*/ 3 h 5"/>
                <a:gd name="T16" fmla="*/ 5 w 34"/>
                <a:gd name="T17" fmla="*/ 1 h 5"/>
                <a:gd name="T18" fmla="*/ 0 w 3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">
                  <a:moveTo>
                    <a:pt x="0" y="0"/>
                  </a:moveTo>
                  <a:lnTo>
                    <a:pt x="34" y="0"/>
                  </a:lnTo>
                  <a:lnTo>
                    <a:pt x="31" y="1"/>
                  </a:lnTo>
                  <a:lnTo>
                    <a:pt x="28" y="3"/>
                  </a:lnTo>
                  <a:lnTo>
                    <a:pt x="23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0" y="3"/>
                  </a:lnTo>
                  <a:lnTo>
                    <a:pt x="5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2" name="Freeform 8"/>
            <p:cNvSpPr>
              <a:spLocks/>
            </p:cNvSpPr>
            <p:nvPr/>
          </p:nvSpPr>
          <p:spPr bwMode="auto">
            <a:xfrm>
              <a:off x="9647106" y="5016613"/>
              <a:ext cx="807740" cy="341597"/>
            </a:xfrm>
            <a:custGeom>
              <a:avLst/>
              <a:gdLst>
                <a:gd name="T0" fmla="*/ 1300 w 4261"/>
                <a:gd name="T1" fmla="*/ 111 h 1802"/>
                <a:gd name="T2" fmla="*/ 1314 w 4261"/>
                <a:gd name="T3" fmla="*/ 282 h 1802"/>
                <a:gd name="T4" fmla="*/ 1346 w 4261"/>
                <a:gd name="T5" fmla="*/ 444 h 1802"/>
                <a:gd name="T6" fmla="*/ 1385 w 4261"/>
                <a:gd name="T7" fmla="*/ 578 h 1802"/>
                <a:gd name="T8" fmla="*/ 1417 w 4261"/>
                <a:gd name="T9" fmla="*/ 670 h 1802"/>
                <a:gd name="T10" fmla="*/ 1431 w 4261"/>
                <a:gd name="T11" fmla="*/ 698 h 1802"/>
                <a:gd name="T12" fmla="*/ 1531 w 4261"/>
                <a:gd name="T13" fmla="*/ 549 h 1802"/>
                <a:gd name="T14" fmla="*/ 1665 w 4261"/>
                <a:gd name="T15" fmla="*/ 442 h 1802"/>
                <a:gd name="T16" fmla="*/ 1814 w 4261"/>
                <a:gd name="T17" fmla="*/ 372 h 1802"/>
                <a:gd name="T18" fmla="*/ 1953 w 4261"/>
                <a:gd name="T19" fmla="*/ 328 h 1802"/>
                <a:gd name="T20" fmla="*/ 2064 w 4261"/>
                <a:gd name="T21" fmla="*/ 306 h 1802"/>
                <a:gd name="T22" fmla="*/ 2121 w 4261"/>
                <a:gd name="T23" fmla="*/ 300 h 1802"/>
                <a:gd name="T24" fmla="*/ 2142 w 4261"/>
                <a:gd name="T25" fmla="*/ 301 h 1802"/>
                <a:gd name="T26" fmla="*/ 2221 w 4261"/>
                <a:gd name="T27" fmla="*/ 311 h 1802"/>
                <a:gd name="T28" fmla="*/ 2344 w 4261"/>
                <a:gd name="T29" fmla="*/ 338 h 1802"/>
                <a:gd name="T30" fmla="*/ 2488 w 4261"/>
                <a:gd name="T31" fmla="*/ 389 h 1802"/>
                <a:gd name="T32" fmla="*/ 2636 w 4261"/>
                <a:gd name="T33" fmla="*/ 473 h 1802"/>
                <a:gd name="T34" fmla="*/ 2762 w 4261"/>
                <a:gd name="T35" fmla="*/ 593 h 1802"/>
                <a:gd name="T36" fmla="*/ 2828 w 4261"/>
                <a:gd name="T37" fmla="*/ 697 h 1802"/>
                <a:gd name="T38" fmla="*/ 2849 w 4261"/>
                <a:gd name="T39" fmla="*/ 644 h 1802"/>
                <a:gd name="T40" fmla="*/ 2884 w 4261"/>
                <a:gd name="T41" fmla="*/ 535 h 1802"/>
                <a:gd name="T42" fmla="*/ 2921 w 4261"/>
                <a:gd name="T43" fmla="*/ 391 h 1802"/>
                <a:gd name="T44" fmla="*/ 2948 w 4261"/>
                <a:gd name="T45" fmla="*/ 224 h 1802"/>
                <a:gd name="T46" fmla="*/ 2954 w 4261"/>
                <a:gd name="T47" fmla="*/ 55 h 1802"/>
                <a:gd name="T48" fmla="*/ 3153 w 4261"/>
                <a:gd name="T49" fmla="*/ 58 h 1802"/>
                <a:gd name="T50" fmla="*/ 3467 w 4261"/>
                <a:gd name="T51" fmla="*/ 176 h 1802"/>
                <a:gd name="T52" fmla="*/ 3782 w 4261"/>
                <a:gd name="T53" fmla="*/ 338 h 1802"/>
                <a:gd name="T54" fmla="*/ 4078 w 4261"/>
                <a:gd name="T55" fmla="*/ 548 h 1802"/>
                <a:gd name="T56" fmla="*/ 4168 w 4261"/>
                <a:gd name="T57" fmla="*/ 839 h 1802"/>
                <a:gd name="T58" fmla="*/ 3849 w 4261"/>
                <a:gd name="T59" fmla="*/ 1165 h 1802"/>
                <a:gd name="T60" fmla="*/ 3478 w 4261"/>
                <a:gd name="T61" fmla="*/ 1432 h 1802"/>
                <a:gd name="T62" fmla="*/ 3062 w 4261"/>
                <a:gd name="T63" fmla="*/ 1632 h 1802"/>
                <a:gd name="T64" fmla="*/ 2610 w 4261"/>
                <a:gd name="T65" fmla="*/ 1759 h 1802"/>
                <a:gd name="T66" fmla="*/ 2129 w 4261"/>
                <a:gd name="T67" fmla="*/ 1802 h 1802"/>
                <a:gd name="T68" fmla="*/ 1651 w 4261"/>
                <a:gd name="T69" fmla="*/ 1759 h 1802"/>
                <a:gd name="T70" fmla="*/ 1199 w 4261"/>
                <a:gd name="T71" fmla="*/ 1632 h 1802"/>
                <a:gd name="T72" fmla="*/ 784 w 4261"/>
                <a:gd name="T73" fmla="*/ 1434 h 1802"/>
                <a:gd name="T74" fmla="*/ 413 w 4261"/>
                <a:gd name="T75" fmla="*/ 1166 h 1802"/>
                <a:gd name="T76" fmla="*/ 94 w 4261"/>
                <a:gd name="T77" fmla="*/ 841 h 1802"/>
                <a:gd name="T78" fmla="*/ 181 w 4261"/>
                <a:gd name="T79" fmla="*/ 548 h 1802"/>
                <a:gd name="T80" fmla="*/ 478 w 4261"/>
                <a:gd name="T81" fmla="*/ 338 h 1802"/>
                <a:gd name="T82" fmla="*/ 792 w 4261"/>
                <a:gd name="T83" fmla="*/ 176 h 1802"/>
                <a:gd name="T84" fmla="*/ 1105 w 4261"/>
                <a:gd name="T85" fmla="*/ 58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1" h="1802">
                  <a:moveTo>
                    <a:pt x="1306" y="0"/>
                  </a:moveTo>
                  <a:lnTo>
                    <a:pt x="1302" y="55"/>
                  </a:lnTo>
                  <a:lnTo>
                    <a:pt x="1300" y="111"/>
                  </a:lnTo>
                  <a:lnTo>
                    <a:pt x="1303" y="168"/>
                  </a:lnTo>
                  <a:lnTo>
                    <a:pt x="1308" y="224"/>
                  </a:lnTo>
                  <a:lnTo>
                    <a:pt x="1314" y="282"/>
                  </a:lnTo>
                  <a:lnTo>
                    <a:pt x="1324" y="338"/>
                  </a:lnTo>
                  <a:lnTo>
                    <a:pt x="1335" y="391"/>
                  </a:lnTo>
                  <a:lnTo>
                    <a:pt x="1346" y="444"/>
                  </a:lnTo>
                  <a:lnTo>
                    <a:pt x="1359" y="492"/>
                  </a:lnTo>
                  <a:lnTo>
                    <a:pt x="1372" y="537"/>
                  </a:lnTo>
                  <a:lnTo>
                    <a:pt x="1385" y="578"/>
                  </a:lnTo>
                  <a:lnTo>
                    <a:pt x="1396" y="615"/>
                  </a:lnTo>
                  <a:lnTo>
                    <a:pt x="1407" y="646"/>
                  </a:lnTo>
                  <a:lnTo>
                    <a:pt x="1417" y="670"/>
                  </a:lnTo>
                  <a:lnTo>
                    <a:pt x="1423" y="687"/>
                  </a:lnTo>
                  <a:lnTo>
                    <a:pt x="1428" y="697"/>
                  </a:lnTo>
                  <a:lnTo>
                    <a:pt x="1431" y="698"/>
                  </a:lnTo>
                  <a:lnTo>
                    <a:pt x="1459" y="644"/>
                  </a:lnTo>
                  <a:lnTo>
                    <a:pt x="1492" y="594"/>
                  </a:lnTo>
                  <a:lnTo>
                    <a:pt x="1531" y="549"/>
                  </a:lnTo>
                  <a:lnTo>
                    <a:pt x="1572" y="509"/>
                  </a:lnTo>
                  <a:lnTo>
                    <a:pt x="1619" y="474"/>
                  </a:lnTo>
                  <a:lnTo>
                    <a:pt x="1665" y="442"/>
                  </a:lnTo>
                  <a:lnTo>
                    <a:pt x="1715" y="415"/>
                  </a:lnTo>
                  <a:lnTo>
                    <a:pt x="1764" y="391"/>
                  </a:lnTo>
                  <a:lnTo>
                    <a:pt x="1814" y="372"/>
                  </a:lnTo>
                  <a:lnTo>
                    <a:pt x="1862" y="354"/>
                  </a:lnTo>
                  <a:lnTo>
                    <a:pt x="1909" y="340"/>
                  </a:lnTo>
                  <a:lnTo>
                    <a:pt x="1953" y="328"/>
                  </a:lnTo>
                  <a:lnTo>
                    <a:pt x="1995" y="319"/>
                  </a:lnTo>
                  <a:lnTo>
                    <a:pt x="2032" y="312"/>
                  </a:lnTo>
                  <a:lnTo>
                    <a:pt x="2064" y="306"/>
                  </a:lnTo>
                  <a:lnTo>
                    <a:pt x="2089" y="303"/>
                  </a:lnTo>
                  <a:lnTo>
                    <a:pt x="2109" y="301"/>
                  </a:lnTo>
                  <a:lnTo>
                    <a:pt x="2121" y="300"/>
                  </a:lnTo>
                  <a:lnTo>
                    <a:pt x="2126" y="300"/>
                  </a:lnTo>
                  <a:lnTo>
                    <a:pt x="2131" y="300"/>
                  </a:lnTo>
                  <a:lnTo>
                    <a:pt x="2142" y="301"/>
                  </a:lnTo>
                  <a:lnTo>
                    <a:pt x="2163" y="303"/>
                  </a:lnTo>
                  <a:lnTo>
                    <a:pt x="2189" y="306"/>
                  </a:lnTo>
                  <a:lnTo>
                    <a:pt x="2221" y="311"/>
                  </a:lnTo>
                  <a:lnTo>
                    <a:pt x="2258" y="319"/>
                  </a:lnTo>
                  <a:lnTo>
                    <a:pt x="2299" y="327"/>
                  </a:lnTo>
                  <a:lnTo>
                    <a:pt x="2344" y="338"/>
                  </a:lnTo>
                  <a:lnTo>
                    <a:pt x="2391" y="352"/>
                  </a:lnTo>
                  <a:lnTo>
                    <a:pt x="2439" y="368"/>
                  </a:lnTo>
                  <a:lnTo>
                    <a:pt x="2488" y="389"/>
                  </a:lnTo>
                  <a:lnTo>
                    <a:pt x="2539" y="413"/>
                  </a:lnTo>
                  <a:lnTo>
                    <a:pt x="2587" y="441"/>
                  </a:lnTo>
                  <a:lnTo>
                    <a:pt x="2636" y="473"/>
                  </a:lnTo>
                  <a:lnTo>
                    <a:pt x="2682" y="508"/>
                  </a:lnTo>
                  <a:lnTo>
                    <a:pt x="2724" y="548"/>
                  </a:lnTo>
                  <a:lnTo>
                    <a:pt x="2762" y="593"/>
                  </a:lnTo>
                  <a:lnTo>
                    <a:pt x="2796" y="644"/>
                  </a:lnTo>
                  <a:lnTo>
                    <a:pt x="2825" y="698"/>
                  </a:lnTo>
                  <a:lnTo>
                    <a:pt x="2828" y="697"/>
                  </a:lnTo>
                  <a:lnTo>
                    <a:pt x="2833" y="686"/>
                  </a:lnTo>
                  <a:lnTo>
                    <a:pt x="2839" y="668"/>
                  </a:lnTo>
                  <a:lnTo>
                    <a:pt x="2849" y="644"/>
                  </a:lnTo>
                  <a:lnTo>
                    <a:pt x="2860" y="612"/>
                  </a:lnTo>
                  <a:lnTo>
                    <a:pt x="2871" y="577"/>
                  </a:lnTo>
                  <a:lnTo>
                    <a:pt x="2884" y="535"/>
                  </a:lnTo>
                  <a:lnTo>
                    <a:pt x="2897" y="490"/>
                  </a:lnTo>
                  <a:lnTo>
                    <a:pt x="2909" y="442"/>
                  </a:lnTo>
                  <a:lnTo>
                    <a:pt x="2921" y="391"/>
                  </a:lnTo>
                  <a:lnTo>
                    <a:pt x="2932" y="336"/>
                  </a:lnTo>
                  <a:lnTo>
                    <a:pt x="2941" y="280"/>
                  </a:lnTo>
                  <a:lnTo>
                    <a:pt x="2948" y="224"/>
                  </a:lnTo>
                  <a:lnTo>
                    <a:pt x="2953" y="167"/>
                  </a:lnTo>
                  <a:lnTo>
                    <a:pt x="2956" y="111"/>
                  </a:lnTo>
                  <a:lnTo>
                    <a:pt x="2954" y="55"/>
                  </a:lnTo>
                  <a:lnTo>
                    <a:pt x="2949" y="0"/>
                  </a:lnTo>
                  <a:lnTo>
                    <a:pt x="3050" y="27"/>
                  </a:lnTo>
                  <a:lnTo>
                    <a:pt x="3153" y="58"/>
                  </a:lnTo>
                  <a:lnTo>
                    <a:pt x="3257" y="93"/>
                  </a:lnTo>
                  <a:lnTo>
                    <a:pt x="3363" y="131"/>
                  </a:lnTo>
                  <a:lnTo>
                    <a:pt x="3467" y="176"/>
                  </a:lnTo>
                  <a:lnTo>
                    <a:pt x="3572" y="224"/>
                  </a:lnTo>
                  <a:lnTo>
                    <a:pt x="3678" y="279"/>
                  </a:lnTo>
                  <a:lnTo>
                    <a:pt x="3782" y="338"/>
                  </a:lnTo>
                  <a:lnTo>
                    <a:pt x="3883" y="402"/>
                  </a:lnTo>
                  <a:lnTo>
                    <a:pt x="3982" y="473"/>
                  </a:lnTo>
                  <a:lnTo>
                    <a:pt x="4078" y="548"/>
                  </a:lnTo>
                  <a:lnTo>
                    <a:pt x="4171" y="631"/>
                  </a:lnTo>
                  <a:lnTo>
                    <a:pt x="4261" y="719"/>
                  </a:lnTo>
                  <a:lnTo>
                    <a:pt x="4168" y="839"/>
                  </a:lnTo>
                  <a:lnTo>
                    <a:pt x="4067" y="955"/>
                  </a:lnTo>
                  <a:lnTo>
                    <a:pt x="3961" y="1062"/>
                  </a:lnTo>
                  <a:lnTo>
                    <a:pt x="3849" y="1165"/>
                  </a:lnTo>
                  <a:lnTo>
                    <a:pt x="3731" y="1261"/>
                  </a:lnTo>
                  <a:lnTo>
                    <a:pt x="3606" y="1349"/>
                  </a:lnTo>
                  <a:lnTo>
                    <a:pt x="3478" y="1432"/>
                  </a:lnTo>
                  <a:lnTo>
                    <a:pt x="3343" y="1506"/>
                  </a:lnTo>
                  <a:lnTo>
                    <a:pt x="3206" y="1573"/>
                  </a:lnTo>
                  <a:lnTo>
                    <a:pt x="3062" y="1632"/>
                  </a:lnTo>
                  <a:lnTo>
                    <a:pt x="2916" y="1682"/>
                  </a:lnTo>
                  <a:lnTo>
                    <a:pt x="2764" y="1725"/>
                  </a:lnTo>
                  <a:lnTo>
                    <a:pt x="2610" y="1759"/>
                  </a:lnTo>
                  <a:lnTo>
                    <a:pt x="2453" y="1783"/>
                  </a:lnTo>
                  <a:lnTo>
                    <a:pt x="2293" y="1797"/>
                  </a:lnTo>
                  <a:lnTo>
                    <a:pt x="2129" y="1802"/>
                  </a:lnTo>
                  <a:lnTo>
                    <a:pt x="1968" y="1797"/>
                  </a:lnTo>
                  <a:lnTo>
                    <a:pt x="1808" y="1783"/>
                  </a:lnTo>
                  <a:lnTo>
                    <a:pt x="1651" y="1759"/>
                  </a:lnTo>
                  <a:lnTo>
                    <a:pt x="1497" y="1725"/>
                  </a:lnTo>
                  <a:lnTo>
                    <a:pt x="1346" y="1683"/>
                  </a:lnTo>
                  <a:lnTo>
                    <a:pt x="1199" y="1632"/>
                  </a:lnTo>
                  <a:lnTo>
                    <a:pt x="1057" y="1575"/>
                  </a:lnTo>
                  <a:lnTo>
                    <a:pt x="919" y="1507"/>
                  </a:lnTo>
                  <a:lnTo>
                    <a:pt x="784" y="1434"/>
                  </a:lnTo>
                  <a:lnTo>
                    <a:pt x="656" y="1352"/>
                  </a:lnTo>
                  <a:lnTo>
                    <a:pt x="531" y="1262"/>
                  </a:lnTo>
                  <a:lnTo>
                    <a:pt x="413" y="1166"/>
                  </a:lnTo>
                  <a:lnTo>
                    <a:pt x="301" y="1064"/>
                  </a:lnTo>
                  <a:lnTo>
                    <a:pt x="193" y="955"/>
                  </a:lnTo>
                  <a:lnTo>
                    <a:pt x="94" y="841"/>
                  </a:lnTo>
                  <a:lnTo>
                    <a:pt x="0" y="719"/>
                  </a:lnTo>
                  <a:lnTo>
                    <a:pt x="88" y="631"/>
                  </a:lnTo>
                  <a:lnTo>
                    <a:pt x="181" y="548"/>
                  </a:lnTo>
                  <a:lnTo>
                    <a:pt x="278" y="473"/>
                  </a:lnTo>
                  <a:lnTo>
                    <a:pt x="378" y="402"/>
                  </a:lnTo>
                  <a:lnTo>
                    <a:pt x="478" y="338"/>
                  </a:lnTo>
                  <a:lnTo>
                    <a:pt x="583" y="279"/>
                  </a:lnTo>
                  <a:lnTo>
                    <a:pt x="687" y="224"/>
                  </a:lnTo>
                  <a:lnTo>
                    <a:pt x="792" y="176"/>
                  </a:lnTo>
                  <a:lnTo>
                    <a:pt x="896" y="131"/>
                  </a:lnTo>
                  <a:lnTo>
                    <a:pt x="1002" y="93"/>
                  </a:lnTo>
                  <a:lnTo>
                    <a:pt x="1105" y="58"/>
                  </a:lnTo>
                  <a:lnTo>
                    <a:pt x="1207" y="27"/>
                  </a:lnTo>
                  <a:lnTo>
                    <a:pt x="13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3" name="Freeform 9"/>
            <p:cNvSpPr>
              <a:spLocks/>
            </p:cNvSpPr>
            <p:nvPr/>
          </p:nvSpPr>
          <p:spPr bwMode="auto">
            <a:xfrm>
              <a:off x="9926337" y="4904980"/>
              <a:ext cx="249279" cy="168903"/>
            </a:xfrm>
            <a:custGeom>
              <a:avLst/>
              <a:gdLst>
                <a:gd name="T0" fmla="*/ 75 w 1315"/>
                <a:gd name="T1" fmla="*/ 0 h 891"/>
                <a:gd name="T2" fmla="*/ 131 w 1315"/>
                <a:gd name="T3" fmla="*/ 61 h 891"/>
                <a:gd name="T4" fmla="*/ 190 w 1315"/>
                <a:gd name="T5" fmla="*/ 116 h 891"/>
                <a:gd name="T6" fmla="*/ 251 w 1315"/>
                <a:gd name="T7" fmla="*/ 165 h 891"/>
                <a:gd name="T8" fmla="*/ 315 w 1315"/>
                <a:gd name="T9" fmla="*/ 208 h 891"/>
                <a:gd name="T10" fmla="*/ 379 w 1315"/>
                <a:gd name="T11" fmla="*/ 244 h 891"/>
                <a:gd name="T12" fmla="*/ 447 w 1315"/>
                <a:gd name="T13" fmla="*/ 274 h 891"/>
                <a:gd name="T14" fmla="*/ 516 w 1315"/>
                <a:gd name="T15" fmla="*/ 295 h 891"/>
                <a:gd name="T16" fmla="*/ 586 w 1315"/>
                <a:gd name="T17" fmla="*/ 308 h 891"/>
                <a:gd name="T18" fmla="*/ 656 w 1315"/>
                <a:gd name="T19" fmla="*/ 313 h 891"/>
                <a:gd name="T20" fmla="*/ 737 w 1315"/>
                <a:gd name="T21" fmla="*/ 308 h 891"/>
                <a:gd name="T22" fmla="*/ 815 w 1315"/>
                <a:gd name="T23" fmla="*/ 292 h 891"/>
                <a:gd name="T24" fmla="*/ 890 w 1315"/>
                <a:gd name="T25" fmla="*/ 265 h 891"/>
                <a:gd name="T26" fmla="*/ 966 w 1315"/>
                <a:gd name="T27" fmla="*/ 229 h 891"/>
                <a:gd name="T28" fmla="*/ 1038 w 1315"/>
                <a:gd name="T29" fmla="*/ 183 h 891"/>
                <a:gd name="T30" fmla="*/ 1108 w 1315"/>
                <a:gd name="T31" fmla="*/ 130 h 891"/>
                <a:gd name="T32" fmla="*/ 1175 w 1315"/>
                <a:gd name="T33" fmla="*/ 69 h 891"/>
                <a:gd name="T34" fmla="*/ 1239 w 1315"/>
                <a:gd name="T35" fmla="*/ 0 h 891"/>
                <a:gd name="T36" fmla="*/ 1271 w 1315"/>
                <a:gd name="T37" fmla="*/ 77 h 891"/>
                <a:gd name="T38" fmla="*/ 1294 w 1315"/>
                <a:gd name="T39" fmla="*/ 156 h 891"/>
                <a:gd name="T40" fmla="*/ 1310 w 1315"/>
                <a:gd name="T41" fmla="*/ 236 h 891"/>
                <a:gd name="T42" fmla="*/ 1315 w 1315"/>
                <a:gd name="T43" fmla="*/ 317 h 891"/>
                <a:gd name="T44" fmla="*/ 1315 w 1315"/>
                <a:gd name="T45" fmla="*/ 329 h 891"/>
                <a:gd name="T46" fmla="*/ 1313 w 1315"/>
                <a:gd name="T47" fmla="*/ 343 h 891"/>
                <a:gd name="T48" fmla="*/ 1310 w 1315"/>
                <a:gd name="T49" fmla="*/ 362 h 891"/>
                <a:gd name="T50" fmla="*/ 1303 w 1315"/>
                <a:gd name="T51" fmla="*/ 385 h 891"/>
                <a:gd name="T52" fmla="*/ 1295 w 1315"/>
                <a:gd name="T53" fmla="*/ 410 h 891"/>
                <a:gd name="T54" fmla="*/ 1284 w 1315"/>
                <a:gd name="T55" fmla="*/ 438 h 891"/>
                <a:gd name="T56" fmla="*/ 1268 w 1315"/>
                <a:gd name="T57" fmla="*/ 470 h 891"/>
                <a:gd name="T58" fmla="*/ 1247 w 1315"/>
                <a:gd name="T59" fmla="*/ 502 h 891"/>
                <a:gd name="T60" fmla="*/ 1222 w 1315"/>
                <a:gd name="T61" fmla="*/ 537 h 891"/>
                <a:gd name="T62" fmla="*/ 1191 w 1315"/>
                <a:gd name="T63" fmla="*/ 574 h 891"/>
                <a:gd name="T64" fmla="*/ 1155 w 1315"/>
                <a:gd name="T65" fmla="*/ 612 h 891"/>
                <a:gd name="T66" fmla="*/ 1110 w 1315"/>
                <a:gd name="T67" fmla="*/ 651 h 891"/>
                <a:gd name="T68" fmla="*/ 1058 w 1315"/>
                <a:gd name="T69" fmla="*/ 691 h 891"/>
                <a:gd name="T70" fmla="*/ 999 w 1315"/>
                <a:gd name="T71" fmla="*/ 731 h 891"/>
                <a:gd name="T72" fmla="*/ 932 w 1315"/>
                <a:gd name="T73" fmla="*/ 772 h 891"/>
                <a:gd name="T74" fmla="*/ 855 w 1315"/>
                <a:gd name="T75" fmla="*/ 812 h 891"/>
                <a:gd name="T76" fmla="*/ 770 w 1315"/>
                <a:gd name="T77" fmla="*/ 852 h 891"/>
                <a:gd name="T78" fmla="*/ 674 w 1315"/>
                <a:gd name="T79" fmla="*/ 891 h 891"/>
                <a:gd name="T80" fmla="*/ 640 w 1315"/>
                <a:gd name="T81" fmla="*/ 891 h 891"/>
                <a:gd name="T82" fmla="*/ 544 w 1315"/>
                <a:gd name="T83" fmla="*/ 852 h 891"/>
                <a:gd name="T84" fmla="*/ 458 w 1315"/>
                <a:gd name="T85" fmla="*/ 812 h 891"/>
                <a:gd name="T86" fmla="*/ 383 w 1315"/>
                <a:gd name="T87" fmla="*/ 772 h 891"/>
                <a:gd name="T88" fmla="*/ 315 w 1315"/>
                <a:gd name="T89" fmla="*/ 731 h 891"/>
                <a:gd name="T90" fmla="*/ 256 w 1315"/>
                <a:gd name="T91" fmla="*/ 691 h 891"/>
                <a:gd name="T92" fmla="*/ 205 w 1315"/>
                <a:gd name="T93" fmla="*/ 651 h 891"/>
                <a:gd name="T94" fmla="*/ 160 w 1315"/>
                <a:gd name="T95" fmla="*/ 612 h 891"/>
                <a:gd name="T96" fmla="*/ 123 w 1315"/>
                <a:gd name="T97" fmla="*/ 574 h 891"/>
                <a:gd name="T98" fmla="*/ 93 w 1315"/>
                <a:gd name="T99" fmla="*/ 537 h 891"/>
                <a:gd name="T100" fmla="*/ 67 w 1315"/>
                <a:gd name="T101" fmla="*/ 502 h 891"/>
                <a:gd name="T102" fmla="*/ 46 w 1315"/>
                <a:gd name="T103" fmla="*/ 470 h 891"/>
                <a:gd name="T104" fmla="*/ 30 w 1315"/>
                <a:gd name="T105" fmla="*/ 438 h 891"/>
                <a:gd name="T106" fmla="*/ 19 w 1315"/>
                <a:gd name="T107" fmla="*/ 410 h 891"/>
                <a:gd name="T108" fmla="*/ 11 w 1315"/>
                <a:gd name="T109" fmla="*/ 385 h 891"/>
                <a:gd name="T110" fmla="*/ 5 w 1315"/>
                <a:gd name="T111" fmla="*/ 362 h 891"/>
                <a:gd name="T112" fmla="*/ 2 w 1315"/>
                <a:gd name="T113" fmla="*/ 343 h 891"/>
                <a:gd name="T114" fmla="*/ 0 w 1315"/>
                <a:gd name="T115" fmla="*/ 329 h 891"/>
                <a:gd name="T116" fmla="*/ 0 w 1315"/>
                <a:gd name="T117" fmla="*/ 317 h 891"/>
                <a:gd name="T118" fmla="*/ 6 w 1315"/>
                <a:gd name="T119" fmla="*/ 236 h 891"/>
                <a:gd name="T120" fmla="*/ 21 w 1315"/>
                <a:gd name="T121" fmla="*/ 156 h 891"/>
                <a:gd name="T122" fmla="*/ 45 w 1315"/>
                <a:gd name="T123" fmla="*/ 77 h 891"/>
                <a:gd name="T124" fmla="*/ 75 w 1315"/>
                <a:gd name="T125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891">
                  <a:moveTo>
                    <a:pt x="75" y="0"/>
                  </a:moveTo>
                  <a:lnTo>
                    <a:pt x="131" y="61"/>
                  </a:lnTo>
                  <a:lnTo>
                    <a:pt x="190" y="116"/>
                  </a:lnTo>
                  <a:lnTo>
                    <a:pt x="251" y="165"/>
                  </a:lnTo>
                  <a:lnTo>
                    <a:pt x="315" y="208"/>
                  </a:lnTo>
                  <a:lnTo>
                    <a:pt x="379" y="244"/>
                  </a:lnTo>
                  <a:lnTo>
                    <a:pt x="447" y="274"/>
                  </a:lnTo>
                  <a:lnTo>
                    <a:pt x="516" y="295"/>
                  </a:lnTo>
                  <a:lnTo>
                    <a:pt x="586" y="308"/>
                  </a:lnTo>
                  <a:lnTo>
                    <a:pt x="656" y="313"/>
                  </a:lnTo>
                  <a:lnTo>
                    <a:pt x="737" y="308"/>
                  </a:lnTo>
                  <a:lnTo>
                    <a:pt x="815" y="292"/>
                  </a:lnTo>
                  <a:lnTo>
                    <a:pt x="890" y="265"/>
                  </a:lnTo>
                  <a:lnTo>
                    <a:pt x="966" y="229"/>
                  </a:lnTo>
                  <a:lnTo>
                    <a:pt x="1038" y="183"/>
                  </a:lnTo>
                  <a:lnTo>
                    <a:pt x="1108" y="130"/>
                  </a:lnTo>
                  <a:lnTo>
                    <a:pt x="1175" y="69"/>
                  </a:lnTo>
                  <a:lnTo>
                    <a:pt x="1239" y="0"/>
                  </a:lnTo>
                  <a:lnTo>
                    <a:pt x="1271" y="77"/>
                  </a:lnTo>
                  <a:lnTo>
                    <a:pt x="1294" y="156"/>
                  </a:lnTo>
                  <a:lnTo>
                    <a:pt x="1310" y="236"/>
                  </a:lnTo>
                  <a:lnTo>
                    <a:pt x="1315" y="317"/>
                  </a:lnTo>
                  <a:lnTo>
                    <a:pt x="1315" y="329"/>
                  </a:lnTo>
                  <a:lnTo>
                    <a:pt x="1313" y="343"/>
                  </a:lnTo>
                  <a:lnTo>
                    <a:pt x="1310" y="362"/>
                  </a:lnTo>
                  <a:lnTo>
                    <a:pt x="1303" y="385"/>
                  </a:lnTo>
                  <a:lnTo>
                    <a:pt x="1295" y="410"/>
                  </a:lnTo>
                  <a:lnTo>
                    <a:pt x="1284" y="438"/>
                  </a:lnTo>
                  <a:lnTo>
                    <a:pt x="1268" y="470"/>
                  </a:lnTo>
                  <a:lnTo>
                    <a:pt x="1247" y="502"/>
                  </a:lnTo>
                  <a:lnTo>
                    <a:pt x="1222" y="537"/>
                  </a:lnTo>
                  <a:lnTo>
                    <a:pt x="1191" y="574"/>
                  </a:lnTo>
                  <a:lnTo>
                    <a:pt x="1155" y="612"/>
                  </a:lnTo>
                  <a:lnTo>
                    <a:pt x="1110" y="651"/>
                  </a:lnTo>
                  <a:lnTo>
                    <a:pt x="1058" y="691"/>
                  </a:lnTo>
                  <a:lnTo>
                    <a:pt x="999" y="731"/>
                  </a:lnTo>
                  <a:lnTo>
                    <a:pt x="932" y="772"/>
                  </a:lnTo>
                  <a:lnTo>
                    <a:pt x="855" y="812"/>
                  </a:lnTo>
                  <a:lnTo>
                    <a:pt x="770" y="852"/>
                  </a:lnTo>
                  <a:lnTo>
                    <a:pt x="674" y="891"/>
                  </a:lnTo>
                  <a:lnTo>
                    <a:pt x="640" y="891"/>
                  </a:lnTo>
                  <a:lnTo>
                    <a:pt x="544" y="852"/>
                  </a:lnTo>
                  <a:lnTo>
                    <a:pt x="458" y="812"/>
                  </a:lnTo>
                  <a:lnTo>
                    <a:pt x="383" y="772"/>
                  </a:lnTo>
                  <a:lnTo>
                    <a:pt x="315" y="731"/>
                  </a:lnTo>
                  <a:lnTo>
                    <a:pt x="256" y="691"/>
                  </a:lnTo>
                  <a:lnTo>
                    <a:pt x="205" y="651"/>
                  </a:lnTo>
                  <a:lnTo>
                    <a:pt x="160" y="612"/>
                  </a:lnTo>
                  <a:lnTo>
                    <a:pt x="123" y="574"/>
                  </a:lnTo>
                  <a:lnTo>
                    <a:pt x="93" y="537"/>
                  </a:lnTo>
                  <a:lnTo>
                    <a:pt x="67" y="502"/>
                  </a:lnTo>
                  <a:lnTo>
                    <a:pt x="46" y="470"/>
                  </a:lnTo>
                  <a:lnTo>
                    <a:pt x="30" y="438"/>
                  </a:lnTo>
                  <a:lnTo>
                    <a:pt x="19" y="410"/>
                  </a:lnTo>
                  <a:lnTo>
                    <a:pt x="11" y="385"/>
                  </a:lnTo>
                  <a:lnTo>
                    <a:pt x="5" y="362"/>
                  </a:lnTo>
                  <a:lnTo>
                    <a:pt x="2" y="343"/>
                  </a:lnTo>
                  <a:lnTo>
                    <a:pt x="0" y="329"/>
                  </a:lnTo>
                  <a:lnTo>
                    <a:pt x="0" y="317"/>
                  </a:lnTo>
                  <a:lnTo>
                    <a:pt x="6" y="236"/>
                  </a:lnTo>
                  <a:lnTo>
                    <a:pt x="21" y="156"/>
                  </a:lnTo>
                  <a:lnTo>
                    <a:pt x="45" y="77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4" name="Freeform 10"/>
            <p:cNvSpPr>
              <a:spLocks/>
            </p:cNvSpPr>
            <p:nvPr/>
          </p:nvSpPr>
          <p:spPr bwMode="auto">
            <a:xfrm>
              <a:off x="9982259" y="5074831"/>
              <a:ext cx="137056" cy="67675"/>
            </a:xfrm>
            <a:custGeom>
              <a:avLst/>
              <a:gdLst>
                <a:gd name="T0" fmla="*/ 361 w 723"/>
                <a:gd name="T1" fmla="*/ 0 h 357"/>
                <a:gd name="T2" fmla="*/ 368 w 723"/>
                <a:gd name="T3" fmla="*/ 0 h 357"/>
                <a:gd name="T4" fmla="*/ 382 w 723"/>
                <a:gd name="T5" fmla="*/ 1 h 357"/>
                <a:gd name="T6" fmla="*/ 406 w 723"/>
                <a:gd name="T7" fmla="*/ 4 h 357"/>
                <a:gd name="T8" fmla="*/ 438 w 723"/>
                <a:gd name="T9" fmla="*/ 9 h 357"/>
                <a:gd name="T10" fmla="*/ 477 w 723"/>
                <a:gd name="T11" fmla="*/ 16 h 357"/>
                <a:gd name="T12" fmla="*/ 520 w 723"/>
                <a:gd name="T13" fmla="*/ 25 h 357"/>
                <a:gd name="T14" fmla="*/ 566 w 723"/>
                <a:gd name="T15" fmla="*/ 36 h 357"/>
                <a:gd name="T16" fmla="*/ 618 w 723"/>
                <a:gd name="T17" fmla="*/ 51 h 357"/>
                <a:gd name="T18" fmla="*/ 671 w 723"/>
                <a:gd name="T19" fmla="*/ 70 h 357"/>
                <a:gd name="T20" fmla="*/ 723 w 723"/>
                <a:gd name="T21" fmla="*/ 91 h 357"/>
                <a:gd name="T22" fmla="*/ 590 w 723"/>
                <a:gd name="T23" fmla="*/ 357 h 357"/>
                <a:gd name="T24" fmla="*/ 132 w 723"/>
                <a:gd name="T25" fmla="*/ 357 h 357"/>
                <a:gd name="T26" fmla="*/ 0 w 723"/>
                <a:gd name="T27" fmla="*/ 91 h 357"/>
                <a:gd name="T28" fmla="*/ 54 w 723"/>
                <a:gd name="T29" fmla="*/ 70 h 357"/>
                <a:gd name="T30" fmla="*/ 108 w 723"/>
                <a:gd name="T31" fmla="*/ 51 h 357"/>
                <a:gd name="T32" fmla="*/ 160 w 723"/>
                <a:gd name="T33" fmla="*/ 36 h 357"/>
                <a:gd name="T34" fmla="*/ 206 w 723"/>
                <a:gd name="T35" fmla="*/ 25 h 357"/>
                <a:gd name="T36" fmla="*/ 249 w 723"/>
                <a:gd name="T37" fmla="*/ 16 h 357"/>
                <a:gd name="T38" fmla="*/ 288 w 723"/>
                <a:gd name="T39" fmla="*/ 9 h 357"/>
                <a:gd name="T40" fmla="*/ 318 w 723"/>
                <a:gd name="T41" fmla="*/ 4 h 357"/>
                <a:gd name="T42" fmla="*/ 342 w 723"/>
                <a:gd name="T43" fmla="*/ 1 h 357"/>
                <a:gd name="T44" fmla="*/ 357 w 723"/>
                <a:gd name="T45" fmla="*/ 0 h 357"/>
                <a:gd name="T46" fmla="*/ 361 w 723"/>
                <a:gd name="T4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3" h="357">
                  <a:moveTo>
                    <a:pt x="361" y="0"/>
                  </a:moveTo>
                  <a:lnTo>
                    <a:pt x="368" y="0"/>
                  </a:lnTo>
                  <a:lnTo>
                    <a:pt x="382" y="1"/>
                  </a:lnTo>
                  <a:lnTo>
                    <a:pt x="406" y="4"/>
                  </a:lnTo>
                  <a:lnTo>
                    <a:pt x="438" y="9"/>
                  </a:lnTo>
                  <a:lnTo>
                    <a:pt x="477" y="16"/>
                  </a:lnTo>
                  <a:lnTo>
                    <a:pt x="520" y="25"/>
                  </a:lnTo>
                  <a:lnTo>
                    <a:pt x="566" y="36"/>
                  </a:lnTo>
                  <a:lnTo>
                    <a:pt x="618" y="51"/>
                  </a:lnTo>
                  <a:lnTo>
                    <a:pt x="671" y="70"/>
                  </a:lnTo>
                  <a:lnTo>
                    <a:pt x="723" y="91"/>
                  </a:lnTo>
                  <a:lnTo>
                    <a:pt x="590" y="357"/>
                  </a:lnTo>
                  <a:lnTo>
                    <a:pt x="132" y="357"/>
                  </a:lnTo>
                  <a:lnTo>
                    <a:pt x="0" y="91"/>
                  </a:lnTo>
                  <a:lnTo>
                    <a:pt x="54" y="70"/>
                  </a:lnTo>
                  <a:lnTo>
                    <a:pt x="108" y="51"/>
                  </a:lnTo>
                  <a:lnTo>
                    <a:pt x="160" y="36"/>
                  </a:lnTo>
                  <a:lnTo>
                    <a:pt x="206" y="25"/>
                  </a:lnTo>
                  <a:lnTo>
                    <a:pt x="249" y="16"/>
                  </a:lnTo>
                  <a:lnTo>
                    <a:pt x="288" y="9"/>
                  </a:lnTo>
                  <a:lnTo>
                    <a:pt x="318" y="4"/>
                  </a:lnTo>
                  <a:lnTo>
                    <a:pt x="342" y="1"/>
                  </a:lnTo>
                  <a:lnTo>
                    <a:pt x="357" y="0"/>
                  </a:lnTo>
                  <a:lnTo>
                    <a:pt x="36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5" name="Freeform 11"/>
            <p:cNvSpPr>
              <a:spLocks/>
            </p:cNvSpPr>
            <p:nvPr/>
          </p:nvSpPr>
          <p:spPr bwMode="auto">
            <a:xfrm>
              <a:off x="9979394" y="5140757"/>
              <a:ext cx="141985" cy="216105"/>
            </a:xfrm>
            <a:custGeom>
              <a:avLst/>
              <a:gdLst>
                <a:gd name="T0" fmla="*/ 145 w 749"/>
                <a:gd name="T1" fmla="*/ 0 h 1140"/>
                <a:gd name="T2" fmla="*/ 603 w 749"/>
                <a:gd name="T3" fmla="*/ 0 h 1140"/>
                <a:gd name="T4" fmla="*/ 749 w 749"/>
                <a:gd name="T5" fmla="*/ 1114 h 1140"/>
                <a:gd name="T6" fmla="*/ 562 w 749"/>
                <a:gd name="T7" fmla="*/ 1134 h 1140"/>
                <a:gd name="T8" fmla="*/ 373 w 749"/>
                <a:gd name="T9" fmla="*/ 1140 h 1140"/>
                <a:gd name="T10" fmla="*/ 246 w 749"/>
                <a:gd name="T11" fmla="*/ 1137 h 1140"/>
                <a:gd name="T12" fmla="*/ 121 w 749"/>
                <a:gd name="T13" fmla="*/ 1129 h 1140"/>
                <a:gd name="T14" fmla="*/ 0 w 749"/>
                <a:gd name="T15" fmla="*/ 1114 h 1140"/>
                <a:gd name="T16" fmla="*/ 145 w 749"/>
                <a:gd name="T17" fmla="*/ 0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9" h="1140">
                  <a:moveTo>
                    <a:pt x="145" y="0"/>
                  </a:moveTo>
                  <a:lnTo>
                    <a:pt x="603" y="0"/>
                  </a:lnTo>
                  <a:lnTo>
                    <a:pt x="749" y="1114"/>
                  </a:lnTo>
                  <a:lnTo>
                    <a:pt x="562" y="1134"/>
                  </a:lnTo>
                  <a:lnTo>
                    <a:pt x="373" y="1140"/>
                  </a:lnTo>
                  <a:lnTo>
                    <a:pt x="246" y="1137"/>
                  </a:lnTo>
                  <a:lnTo>
                    <a:pt x="121" y="1129"/>
                  </a:lnTo>
                  <a:lnTo>
                    <a:pt x="0" y="1114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6" name="Freeform 12"/>
            <p:cNvSpPr>
              <a:spLocks/>
            </p:cNvSpPr>
            <p:nvPr/>
          </p:nvSpPr>
          <p:spPr bwMode="auto">
            <a:xfrm>
              <a:off x="10050692" y="4963556"/>
              <a:ext cx="157340" cy="186722"/>
            </a:xfrm>
            <a:custGeom>
              <a:avLst/>
              <a:gdLst>
                <a:gd name="T0" fmla="*/ 699 w 830"/>
                <a:gd name="T1" fmla="*/ 26 h 985"/>
                <a:gd name="T2" fmla="*/ 760 w 830"/>
                <a:gd name="T3" fmla="*/ 95 h 985"/>
                <a:gd name="T4" fmla="*/ 801 w 830"/>
                <a:gd name="T5" fmla="*/ 180 h 985"/>
                <a:gd name="T6" fmla="*/ 824 w 830"/>
                <a:gd name="T7" fmla="*/ 276 h 985"/>
                <a:gd name="T8" fmla="*/ 830 w 830"/>
                <a:gd name="T9" fmla="*/ 382 h 985"/>
                <a:gd name="T10" fmla="*/ 825 w 830"/>
                <a:gd name="T11" fmla="*/ 491 h 985"/>
                <a:gd name="T12" fmla="*/ 811 w 830"/>
                <a:gd name="T13" fmla="*/ 599 h 985"/>
                <a:gd name="T14" fmla="*/ 790 w 830"/>
                <a:gd name="T15" fmla="*/ 702 h 985"/>
                <a:gd name="T16" fmla="*/ 766 w 830"/>
                <a:gd name="T17" fmla="*/ 796 h 985"/>
                <a:gd name="T18" fmla="*/ 744 w 830"/>
                <a:gd name="T19" fmla="*/ 875 h 985"/>
                <a:gd name="T20" fmla="*/ 721 w 830"/>
                <a:gd name="T21" fmla="*/ 937 h 985"/>
                <a:gd name="T22" fmla="*/ 707 w 830"/>
                <a:gd name="T23" fmla="*/ 974 h 985"/>
                <a:gd name="T24" fmla="*/ 700 w 830"/>
                <a:gd name="T25" fmla="*/ 985 h 985"/>
                <a:gd name="T26" fmla="*/ 638 w 830"/>
                <a:gd name="T27" fmla="*/ 880 h 985"/>
                <a:gd name="T28" fmla="*/ 556 w 830"/>
                <a:gd name="T29" fmla="*/ 795 h 985"/>
                <a:gd name="T30" fmla="*/ 463 w 830"/>
                <a:gd name="T31" fmla="*/ 728 h 985"/>
                <a:gd name="T32" fmla="*/ 364 w 830"/>
                <a:gd name="T33" fmla="*/ 676 h 985"/>
                <a:gd name="T34" fmla="*/ 266 w 830"/>
                <a:gd name="T35" fmla="*/ 639 h 985"/>
                <a:gd name="T36" fmla="*/ 173 w 830"/>
                <a:gd name="T37" fmla="*/ 614 h 985"/>
                <a:gd name="T38" fmla="*/ 97 w 830"/>
                <a:gd name="T39" fmla="*/ 598 h 985"/>
                <a:gd name="T40" fmla="*/ 37 w 830"/>
                <a:gd name="T41" fmla="*/ 590 h 985"/>
                <a:gd name="T42" fmla="*/ 5 w 830"/>
                <a:gd name="T43" fmla="*/ 587 h 985"/>
                <a:gd name="T44" fmla="*/ 98 w 830"/>
                <a:gd name="T45" fmla="*/ 548 h 985"/>
                <a:gd name="T46" fmla="*/ 265 w 830"/>
                <a:gd name="T47" fmla="*/ 468 h 985"/>
                <a:gd name="T48" fmla="*/ 393 w 830"/>
                <a:gd name="T49" fmla="*/ 388 h 985"/>
                <a:gd name="T50" fmla="*/ 491 w 830"/>
                <a:gd name="T51" fmla="*/ 308 h 985"/>
                <a:gd name="T52" fmla="*/ 561 w 830"/>
                <a:gd name="T53" fmla="*/ 233 h 985"/>
                <a:gd name="T54" fmla="*/ 609 w 830"/>
                <a:gd name="T55" fmla="*/ 164 h 985"/>
                <a:gd name="T56" fmla="*/ 638 w 830"/>
                <a:gd name="T57" fmla="*/ 104 h 985"/>
                <a:gd name="T58" fmla="*/ 652 w 830"/>
                <a:gd name="T59" fmla="*/ 56 h 985"/>
                <a:gd name="T60" fmla="*/ 659 w 830"/>
                <a:gd name="T61" fmla="*/ 21 h 985"/>
                <a:gd name="T62" fmla="*/ 659 w 830"/>
                <a:gd name="T63" fmla="*/ 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659" y="0"/>
                  </a:moveTo>
                  <a:lnTo>
                    <a:pt x="699" y="26"/>
                  </a:lnTo>
                  <a:lnTo>
                    <a:pt x="732" y="58"/>
                  </a:lnTo>
                  <a:lnTo>
                    <a:pt x="760" y="95"/>
                  </a:lnTo>
                  <a:lnTo>
                    <a:pt x="784" y="135"/>
                  </a:lnTo>
                  <a:lnTo>
                    <a:pt x="801" y="180"/>
                  </a:lnTo>
                  <a:lnTo>
                    <a:pt x="814" y="226"/>
                  </a:lnTo>
                  <a:lnTo>
                    <a:pt x="824" y="276"/>
                  </a:lnTo>
                  <a:lnTo>
                    <a:pt x="828" y="329"/>
                  </a:lnTo>
                  <a:lnTo>
                    <a:pt x="830" y="382"/>
                  </a:lnTo>
                  <a:lnTo>
                    <a:pt x="828" y="436"/>
                  </a:lnTo>
                  <a:lnTo>
                    <a:pt x="825" y="491"/>
                  </a:lnTo>
                  <a:lnTo>
                    <a:pt x="819" y="545"/>
                  </a:lnTo>
                  <a:lnTo>
                    <a:pt x="811" y="599"/>
                  </a:lnTo>
                  <a:lnTo>
                    <a:pt x="801" y="652"/>
                  </a:lnTo>
                  <a:lnTo>
                    <a:pt x="790" y="702"/>
                  </a:lnTo>
                  <a:lnTo>
                    <a:pt x="779" y="750"/>
                  </a:lnTo>
                  <a:lnTo>
                    <a:pt x="766" y="796"/>
                  </a:lnTo>
                  <a:lnTo>
                    <a:pt x="755" y="838"/>
                  </a:lnTo>
                  <a:lnTo>
                    <a:pt x="744" y="875"/>
                  </a:lnTo>
                  <a:lnTo>
                    <a:pt x="732" y="909"/>
                  </a:lnTo>
                  <a:lnTo>
                    <a:pt x="721" y="937"/>
                  </a:lnTo>
                  <a:lnTo>
                    <a:pt x="713" y="958"/>
                  </a:lnTo>
                  <a:lnTo>
                    <a:pt x="707" y="974"/>
                  </a:lnTo>
                  <a:lnTo>
                    <a:pt x="702" y="984"/>
                  </a:lnTo>
                  <a:lnTo>
                    <a:pt x="700" y="985"/>
                  </a:lnTo>
                  <a:lnTo>
                    <a:pt x="671" y="931"/>
                  </a:lnTo>
                  <a:lnTo>
                    <a:pt x="638" y="880"/>
                  </a:lnTo>
                  <a:lnTo>
                    <a:pt x="599" y="835"/>
                  </a:lnTo>
                  <a:lnTo>
                    <a:pt x="556" y="795"/>
                  </a:lnTo>
                  <a:lnTo>
                    <a:pt x="511" y="760"/>
                  </a:lnTo>
                  <a:lnTo>
                    <a:pt x="463" y="728"/>
                  </a:lnTo>
                  <a:lnTo>
                    <a:pt x="414" y="700"/>
                  </a:lnTo>
                  <a:lnTo>
                    <a:pt x="364" y="676"/>
                  </a:lnTo>
                  <a:lnTo>
                    <a:pt x="314" y="655"/>
                  </a:lnTo>
                  <a:lnTo>
                    <a:pt x="266" y="639"/>
                  </a:lnTo>
                  <a:lnTo>
                    <a:pt x="218" y="625"/>
                  </a:lnTo>
                  <a:lnTo>
                    <a:pt x="173" y="614"/>
                  </a:lnTo>
                  <a:lnTo>
                    <a:pt x="133" y="606"/>
                  </a:lnTo>
                  <a:lnTo>
                    <a:pt x="97" y="598"/>
                  </a:lnTo>
                  <a:lnTo>
                    <a:pt x="65" y="593"/>
                  </a:lnTo>
                  <a:lnTo>
                    <a:pt x="37" y="590"/>
                  </a:lnTo>
                  <a:lnTo>
                    <a:pt x="18" y="588"/>
                  </a:lnTo>
                  <a:lnTo>
                    <a:pt x="5" y="587"/>
                  </a:lnTo>
                  <a:lnTo>
                    <a:pt x="0" y="587"/>
                  </a:lnTo>
                  <a:lnTo>
                    <a:pt x="98" y="548"/>
                  </a:lnTo>
                  <a:lnTo>
                    <a:pt x="186" y="508"/>
                  </a:lnTo>
                  <a:lnTo>
                    <a:pt x="265" y="468"/>
                  </a:lnTo>
                  <a:lnTo>
                    <a:pt x="334" y="428"/>
                  </a:lnTo>
                  <a:lnTo>
                    <a:pt x="393" y="388"/>
                  </a:lnTo>
                  <a:lnTo>
                    <a:pt x="446" y="348"/>
                  </a:lnTo>
                  <a:lnTo>
                    <a:pt x="491" y="308"/>
                  </a:lnTo>
                  <a:lnTo>
                    <a:pt x="529" y="271"/>
                  </a:lnTo>
                  <a:lnTo>
                    <a:pt x="561" y="233"/>
                  </a:lnTo>
                  <a:lnTo>
                    <a:pt x="587" y="197"/>
                  </a:lnTo>
                  <a:lnTo>
                    <a:pt x="609" y="164"/>
                  </a:lnTo>
                  <a:lnTo>
                    <a:pt x="625" y="133"/>
                  </a:lnTo>
                  <a:lnTo>
                    <a:pt x="638" y="104"/>
                  </a:lnTo>
                  <a:lnTo>
                    <a:pt x="646" y="79"/>
                  </a:lnTo>
                  <a:lnTo>
                    <a:pt x="652" y="56"/>
                  </a:lnTo>
                  <a:lnTo>
                    <a:pt x="655" y="36"/>
                  </a:lnTo>
                  <a:lnTo>
                    <a:pt x="659" y="21"/>
                  </a:lnTo>
                  <a:lnTo>
                    <a:pt x="659" y="10"/>
                  </a:lnTo>
                  <a:lnTo>
                    <a:pt x="659" y="2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7" name="Freeform 13"/>
            <p:cNvSpPr>
              <a:spLocks/>
            </p:cNvSpPr>
            <p:nvPr/>
          </p:nvSpPr>
          <p:spPr bwMode="auto">
            <a:xfrm>
              <a:off x="9894111" y="4963556"/>
              <a:ext cx="157340" cy="186722"/>
            </a:xfrm>
            <a:custGeom>
              <a:avLst/>
              <a:gdLst>
                <a:gd name="T0" fmla="*/ 170 w 830"/>
                <a:gd name="T1" fmla="*/ 2 h 985"/>
                <a:gd name="T2" fmla="*/ 170 w 830"/>
                <a:gd name="T3" fmla="*/ 21 h 985"/>
                <a:gd name="T4" fmla="*/ 176 w 830"/>
                <a:gd name="T5" fmla="*/ 56 h 985"/>
                <a:gd name="T6" fmla="*/ 191 w 830"/>
                <a:gd name="T7" fmla="*/ 104 h 985"/>
                <a:gd name="T8" fmla="*/ 220 w 830"/>
                <a:gd name="T9" fmla="*/ 164 h 985"/>
                <a:gd name="T10" fmla="*/ 268 w 830"/>
                <a:gd name="T11" fmla="*/ 233 h 985"/>
                <a:gd name="T12" fmla="*/ 338 w 830"/>
                <a:gd name="T13" fmla="*/ 308 h 985"/>
                <a:gd name="T14" fmla="*/ 436 w 830"/>
                <a:gd name="T15" fmla="*/ 388 h 985"/>
                <a:gd name="T16" fmla="*/ 567 w 830"/>
                <a:gd name="T17" fmla="*/ 468 h 985"/>
                <a:gd name="T18" fmla="*/ 734 w 830"/>
                <a:gd name="T19" fmla="*/ 548 h 985"/>
                <a:gd name="T20" fmla="*/ 826 w 830"/>
                <a:gd name="T21" fmla="*/ 587 h 985"/>
                <a:gd name="T22" fmla="*/ 794 w 830"/>
                <a:gd name="T23" fmla="*/ 590 h 985"/>
                <a:gd name="T24" fmla="*/ 735 w 830"/>
                <a:gd name="T25" fmla="*/ 599 h 985"/>
                <a:gd name="T26" fmla="*/ 657 w 830"/>
                <a:gd name="T27" fmla="*/ 615 h 985"/>
                <a:gd name="T28" fmla="*/ 565 w 830"/>
                <a:gd name="T29" fmla="*/ 641 h 985"/>
                <a:gd name="T30" fmla="*/ 466 w 830"/>
                <a:gd name="T31" fmla="*/ 678 h 985"/>
                <a:gd name="T32" fmla="*/ 367 w 830"/>
                <a:gd name="T33" fmla="*/ 729 h 985"/>
                <a:gd name="T34" fmla="*/ 274 w 830"/>
                <a:gd name="T35" fmla="*/ 796 h 985"/>
                <a:gd name="T36" fmla="*/ 194 w 830"/>
                <a:gd name="T37" fmla="*/ 881 h 985"/>
                <a:gd name="T38" fmla="*/ 131 w 830"/>
                <a:gd name="T39" fmla="*/ 985 h 985"/>
                <a:gd name="T40" fmla="*/ 125 w 830"/>
                <a:gd name="T41" fmla="*/ 974 h 985"/>
                <a:gd name="T42" fmla="*/ 109 w 830"/>
                <a:gd name="T43" fmla="*/ 936 h 985"/>
                <a:gd name="T44" fmla="*/ 88 w 830"/>
                <a:gd name="T45" fmla="*/ 873 h 985"/>
                <a:gd name="T46" fmla="*/ 64 w 830"/>
                <a:gd name="T47" fmla="*/ 795 h 985"/>
                <a:gd name="T48" fmla="*/ 40 w 830"/>
                <a:gd name="T49" fmla="*/ 700 h 985"/>
                <a:gd name="T50" fmla="*/ 19 w 830"/>
                <a:gd name="T51" fmla="*/ 598 h 985"/>
                <a:gd name="T52" fmla="*/ 5 w 830"/>
                <a:gd name="T53" fmla="*/ 489 h 985"/>
                <a:gd name="T54" fmla="*/ 0 w 830"/>
                <a:gd name="T55" fmla="*/ 382 h 985"/>
                <a:gd name="T56" fmla="*/ 7 w 830"/>
                <a:gd name="T57" fmla="*/ 276 h 985"/>
                <a:gd name="T58" fmla="*/ 29 w 830"/>
                <a:gd name="T59" fmla="*/ 178 h 985"/>
                <a:gd name="T60" fmla="*/ 69 w 830"/>
                <a:gd name="T61" fmla="*/ 93 h 985"/>
                <a:gd name="T62" fmla="*/ 130 w 830"/>
                <a:gd name="T63" fmla="*/ 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0" h="985">
                  <a:moveTo>
                    <a:pt x="170" y="0"/>
                  </a:moveTo>
                  <a:lnTo>
                    <a:pt x="170" y="2"/>
                  </a:lnTo>
                  <a:lnTo>
                    <a:pt x="170" y="10"/>
                  </a:lnTo>
                  <a:lnTo>
                    <a:pt x="170" y="21"/>
                  </a:lnTo>
                  <a:lnTo>
                    <a:pt x="172" y="36"/>
                  </a:lnTo>
                  <a:lnTo>
                    <a:pt x="176" y="56"/>
                  </a:lnTo>
                  <a:lnTo>
                    <a:pt x="183" y="79"/>
                  </a:lnTo>
                  <a:lnTo>
                    <a:pt x="191" y="104"/>
                  </a:lnTo>
                  <a:lnTo>
                    <a:pt x="204" y="133"/>
                  </a:lnTo>
                  <a:lnTo>
                    <a:pt x="220" y="164"/>
                  </a:lnTo>
                  <a:lnTo>
                    <a:pt x="242" y="197"/>
                  </a:lnTo>
                  <a:lnTo>
                    <a:pt x="268" y="233"/>
                  </a:lnTo>
                  <a:lnTo>
                    <a:pt x="300" y="271"/>
                  </a:lnTo>
                  <a:lnTo>
                    <a:pt x="338" y="308"/>
                  </a:lnTo>
                  <a:lnTo>
                    <a:pt x="385" y="348"/>
                  </a:lnTo>
                  <a:lnTo>
                    <a:pt x="436" y="388"/>
                  </a:lnTo>
                  <a:lnTo>
                    <a:pt x="497" y="428"/>
                  </a:lnTo>
                  <a:lnTo>
                    <a:pt x="567" y="468"/>
                  </a:lnTo>
                  <a:lnTo>
                    <a:pt x="646" y="508"/>
                  </a:lnTo>
                  <a:lnTo>
                    <a:pt x="734" y="548"/>
                  </a:lnTo>
                  <a:lnTo>
                    <a:pt x="830" y="587"/>
                  </a:lnTo>
                  <a:lnTo>
                    <a:pt x="826" y="587"/>
                  </a:lnTo>
                  <a:lnTo>
                    <a:pt x="814" y="588"/>
                  </a:lnTo>
                  <a:lnTo>
                    <a:pt x="794" y="590"/>
                  </a:lnTo>
                  <a:lnTo>
                    <a:pt x="767" y="593"/>
                  </a:lnTo>
                  <a:lnTo>
                    <a:pt x="735" y="599"/>
                  </a:lnTo>
                  <a:lnTo>
                    <a:pt x="698" y="606"/>
                  </a:lnTo>
                  <a:lnTo>
                    <a:pt x="657" y="615"/>
                  </a:lnTo>
                  <a:lnTo>
                    <a:pt x="612" y="627"/>
                  </a:lnTo>
                  <a:lnTo>
                    <a:pt x="565" y="641"/>
                  </a:lnTo>
                  <a:lnTo>
                    <a:pt x="516" y="659"/>
                  </a:lnTo>
                  <a:lnTo>
                    <a:pt x="466" y="678"/>
                  </a:lnTo>
                  <a:lnTo>
                    <a:pt x="417" y="702"/>
                  </a:lnTo>
                  <a:lnTo>
                    <a:pt x="367" y="729"/>
                  </a:lnTo>
                  <a:lnTo>
                    <a:pt x="320" y="761"/>
                  </a:lnTo>
                  <a:lnTo>
                    <a:pt x="274" y="796"/>
                  </a:lnTo>
                  <a:lnTo>
                    <a:pt x="232" y="836"/>
                  </a:lnTo>
                  <a:lnTo>
                    <a:pt x="194" y="881"/>
                  </a:lnTo>
                  <a:lnTo>
                    <a:pt x="160" y="931"/>
                  </a:lnTo>
                  <a:lnTo>
                    <a:pt x="131" y="985"/>
                  </a:lnTo>
                  <a:lnTo>
                    <a:pt x="130" y="984"/>
                  </a:lnTo>
                  <a:lnTo>
                    <a:pt x="125" y="974"/>
                  </a:lnTo>
                  <a:lnTo>
                    <a:pt x="119" y="958"/>
                  </a:lnTo>
                  <a:lnTo>
                    <a:pt x="109" y="936"/>
                  </a:lnTo>
                  <a:lnTo>
                    <a:pt x="99" y="907"/>
                  </a:lnTo>
                  <a:lnTo>
                    <a:pt x="88" y="873"/>
                  </a:lnTo>
                  <a:lnTo>
                    <a:pt x="75" y="836"/>
                  </a:lnTo>
                  <a:lnTo>
                    <a:pt x="64" y="795"/>
                  </a:lnTo>
                  <a:lnTo>
                    <a:pt x="51" y="748"/>
                  </a:lnTo>
                  <a:lnTo>
                    <a:pt x="40" y="700"/>
                  </a:lnTo>
                  <a:lnTo>
                    <a:pt x="29" y="651"/>
                  </a:lnTo>
                  <a:lnTo>
                    <a:pt x="19" y="598"/>
                  </a:lnTo>
                  <a:lnTo>
                    <a:pt x="11" y="543"/>
                  </a:lnTo>
                  <a:lnTo>
                    <a:pt x="5" y="489"/>
                  </a:lnTo>
                  <a:lnTo>
                    <a:pt x="2" y="434"/>
                  </a:lnTo>
                  <a:lnTo>
                    <a:pt x="0" y="382"/>
                  </a:lnTo>
                  <a:lnTo>
                    <a:pt x="2" y="327"/>
                  </a:lnTo>
                  <a:lnTo>
                    <a:pt x="7" y="276"/>
                  </a:lnTo>
                  <a:lnTo>
                    <a:pt x="16" y="226"/>
                  </a:lnTo>
                  <a:lnTo>
                    <a:pt x="29" y="178"/>
                  </a:lnTo>
                  <a:lnTo>
                    <a:pt x="47" y="135"/>
                  </a:lnTo>
                  <a:lnTo>
                    <a:pt x="69" y="93"/>
                  </a:lnTo>
                  <a:lnTo>
                    <a:pt x="96" y="58"/>
                  </a:lnTo>
                  <a:lnTo>
                    <a:pt x="130" y="26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8" name="Freeform 14"/>
            <p:cNvSpPr>
              <a:spLocks/>
            </p:cNvSpPr>
            <p:nvPr/>
          </p:nvSpPr>
          <p:spPr bwMode="auto">
            <a:xfrm>
              <a:off x="9934298" y="4904980"/>
              <a:ext cx="233355" cy="74499"/>
            </a:xfrm>
            <a:custGeom>
              <a:avLst/>
              <a:gdLst>
                <a:gd name="T0" fmla="*/ 33 w 1231"/>
                <a:gd name="T1" fmla="*/ 0 h 393"/>
                <a:gd name="T2" fmla="*/ 89 w 1231"/>
                <a:gd name="T3" fmla="*/ 61 h 393"/>
                <a:gd name="T4" fmla="*/ 148 w 1231"/>
                <a:gd name="T5" fmla="*/ 116 h 393"/>
                <a:gd name="T6" fmla="*/ 209 w 1231"/>
                <a:gd name="T7" fmla="*/ 165 h 393"/>
                <a:gd name="T8" fmla="*/ 273 w 1231"/>
                <a:gd name="T9" fmla="*/ 208 h 393"/>
                <a:gd name="T10" fmla="*/ 337 w 1231"/>
                <a:gd name="T11" fmla="*/ 244 h 393"/>
                <a:gd name="T12" fmla="*/ 405 w 1231"/>
                <a:gd name="T13" fmla="*/ 274 h 393"/>
                <a:gd name="T14" fmla="*/ 474 w 1231"/>
                <a:gd name="T15" fmla="*/ 295 h 393"/>
                <a:gd name="T16" fmla="*/ 544 w 1231"/>
                <a:gd name="T17" fmla="*/ 308 h 393"/>
                <a:gd name="T18" fmla="*/ 614 w 1231"/>
                <a:gd name="T19" fmla="*/ 313 h 393"/>
                <a:gd name="T20" fmla="*/ 687 w 1231"/>
                <a:gd name="T21" fmla="*/ 308 h 393"/>
                <a:gd name="T22" fmla="*/ 757 w 1231"/>
                <a:gd name="T23" fmla="*/ 295 h 393"/>
                <a:gd name="T24" fmla="*/ 826 w 1231"/>
                <a:gd name="T25" fmla="*/ 274 h 393"/>
                <a:gd name="T26" fmla="*/ 892 w 1231"/>
                <a:gd name="T27" fmla="*/ 245 h 393"/>
                <a:gd name="T28" fmla="*/ 957 w 1231"/>
                <a:gd name="T29" fmla="*/ 210 h 393"/>
                <a:gd name="T30" fmla="*/ 1021 w 1231"/>
                <a:gd name="T31" fmla="*/ 167 h 393"/>
                <a:gd name="T32" fmla="*/ 1082 w 1231"/>
                <a:gd name="T33" fmla="*/ 117 h 393"/>
                <a:gd name="T34" fmla="*/ 1141 w 1231"/>
                <a:gd name="T35" fmla="*/ 61 h 393"/>
                <a:gd name="T36" fmla="*/ 1197 w 1231"/>
                <a:gd name="T37" fmla="*/ 0 h 393"/>
                <a:gd name="T38" fmla="*/ 1217 w 1231"/>
                <a:gd name="T39" fmla="*/ 40 h 393"/>
                <a:gd name="T40" fmla="*/ 1231 w 1231"/>
                <a:gd name="T41" fmla="*/ 84 h 393"/>
                <a:gd name="T42" fmla="*/ 1172 w 1231"/>
                <a:gd name="T43" fmla="*/ 144 h 393"/>
                <a:gd name="T44" fmla="*/ 1109 w 1231"/>
                <a:gd name="T45" fmla="*/ 199 h 393"/>
                <a:gd name="T46" fmla="*/ 1045 w 1231"/>
                <a:gd name="T47" fmla="*/ 247 h 393"/>
                <a:gd name="T48" fmla="*/ 980 w 1231"/>
                <a:gd name="T49" fmla="*/ 290 h 393"/>
                <a:gd name="T50" fmla="*/ 911 w 1231"/>
                <a:gd name="T51" fmla="*/ 325 h 393"/>
                <a:gd name="T52" fmla="*/ 840 w 1231"/>
                <a:gd name="T53" fmla="*/ 354 h 393"/>
                <a:gd name="T54" fmla="*/ 767 w 1231"/>
                <a:gd name="T55" fmla="*/ 375 h 393"/>
                <a:gd name="T56" fmla="*/ 691 w 1231"/>
                <a:gd name="T57" fmla="*/ 388 h 393"/>
                <a:gd name="T58" fmla="*/ 614 w 1231"/>
                <a:gd name="T59" fmla="*/ 393 h 393"/>
                <a:gd name="T60" fmla="*/ 538 w 1231"/>
                <a:gd name="T61" fmla="*/ 388 h 393"/>
                <a:gd name="T62" fmla="*/ 464 w 1231"/>
                <a:gd name="T63" fmla="*/ 375 h 393"/>
                <a:gd name="T64" fmla="*/ 390 w 1231"/>
                <a:gd name="T65" fmla="*/ 354 h 393"/>
                <a:gd name="T66" fmla="*/ 320 w 1231"/>
                <a:gd name="T67" fmla="*/ 325 h 393"/>
                <a:gd name="T68" fmla="*/ 251 w 1231"/>
                <a:gd name="T69" fmla="*/ 290 h 393"/>
                <a:gd name="T70" fmla="*/ 185 w 1231"/>
                <a:gd name="T71" fmla="*/ 247 h 393"/>
                <a:gd name="T72" fmla="*/ 121 w 1231"/>
                <a:gd name="T73" fmla="*/ 199 h 393"/>
                <a:gd name="T74" fmla="*/ 59 w 1231"/>
                <a:gd name="T75" fmla="*/ 144 h 393"/>
                <a:gd name="T76" fmla="*/ 0 w 1231"/>
                <a:gd name="T77" fmla="*/ 84 h 393"/>
                <a:gd name="T78" fmla="*/ 14 w 1231"/>
                <a:gd name="T79" fmla="*/ 40 h 393"/>
                <a:gd name="T80" fmla="*/ 33 w 1231"/>
                <a:gd name="T81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31" h="393">
                  <a:moveTo>
                    <a:pt x="33" y="0"/>
                  </a:moveTo>
                  <a:lnTo>
                    <a:pt x="89" y="61"/>
                  </a:lnTo>
                  <a:lnTo>
                    <a:pt x="148" y="116"/>
                  </a:lnTo>
                  <a:lnTo>
                    <a:pt x="209" y="165"/>
                  </a:lnTo>
                  <a:lnTo>
                    <a:pt x="273" y="208"/>
                  </a:lnTo>
                  <a:lnTo>
                    <a:pt x="337" y="244"/>
                  </a:lnTo>
                  <a:lnTo>
                    <a:pt x="405" y="274"/>
                  </a:lnTo>
                  <a:lnTo>
                    <a:pt x="474" y="295"/>
                  </a:lnTo>
                  <a:lnTo>
                    <a:pt x="544" y="308"/>
                  </a:lnTo>
                  <a:lnTo>
                    <a:pt x="614" y="313"/>
                  </a:lnTo>
                  <a:lnTo>
                    <a:pt x="687" y="308"/>
                  </a:lnTo>
                  <a:lnTo>
                    <a:pt x="757" y="295"/>
                  </a:lnTo>
                  <a:lnTo>
                    <a:pt x="826" y="274"/>
                  </a:lnTo>
                  <a:lnTo>
                    <a:pt x="892" y="245"/>
                  </a:lnTo>
                  <a:lnTo>
                    <a:pt x="957" y="210"/>
                  </a:lnTo>
                  <a:lnTo>
                    <a:pt x="1021" y="167"/>
                  </a:lnTo>
                  <a:lnTo>
                    <a:pt x="1082" y="117"/>
                  </a:lnTo>
                  <a:lnTo>
                    <a:pt x="1141" y="61"/>
                  </a:lnTo>
                  <a:lnTo>
                    <a:pt x="1197" y="0"/>
                  </a:lnTo>
                  <a:lnTo>
                    <a:pt x="1217" y="40"/>
                  </a:lnTo>
                  <a:lnTo>
                    <a:pt x="1231" y="84"/>
                  </a:lnTo>
                  <a:lnTo>
                    <a:pt x="1172" y="144"/>
                  </a:lnTo>
                  <a:lnTo>
                    <a:pt x="1109" y="199"/>
                  </a:lnTo>
                  <a:lnTo>
                    <a:pt x="1045" y="247"/>
                  </a:lnTo>
                  <a:lnTo>
                    <a:pt x="980" y="290"/>
                  </a:lnTo>
                  <a:lnTo>
                    <a:pt x="911" y="325"/>
                  </a:lnTo>
                  <a:lnTo>
                    <a:pt x="840" y="354"/>
                  </a:lnTo>
                  <a:lnTo>
                    <a:pt x="767" y="375"/>
                  </a:lnTo>
                  <a:lnTo>
                    <a:pt x="691" y="388"/>
                  </a:lnTo>
                  <a:lnTo>
                    <a:pt x="614" y="393"/>
                  </a:lnTo>
                  <a:lnTo>
                    <a:pt x="538" y="388"/>
                  </a:lnTo>
                  <a:lnTo>
                    <a:pt x="464" y="375"/>
                  </a:lnTo>
                  <a:lnTo>
                    <a:pt x="390" y="354"/>
                  </a:lnTo>
                  <a:lnTo>
                    <a:pt x="320" y="325"/>
                  </a:lnTo>
                  <a:lnTo>
                    <a:pt x="251" y="290"/>
                  </a:lnTo>
                  <a:lnTo>
                    <a:pt x="185" y="247"/>
                  </a:lnTo>
                  <a:lnTo>
                    <a:pt x="121" y="199"/>
                  </a:lnTo>
                  <a:lnTo>
                    <a:pt x="59" y="144"/>
                  </a:lnTo>
                  <a:lnTo>
                    <a:pt x="0" y="84"/>
                  </a:lnTo>
                  <a:lnTo>
                    <a:pt x="14" y="4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6D1A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9" name="Freeform 15"/>
            <p:cNvSpPr>
              <a:spLocks/>
            </p:cNvSpPr>
            <p:nvPr/>
          </p:nvSpPr>
          <p:spPr bwMode="auto">
            <a:xfrm>
              <a:off x="9820370" y="4561867"/>
              <a:ext cx="460834" cy="401689"/>
            </a:xfrm>
            <a:custGeom>
              <a:avLst/>
              <a:gdLst>
                <a:gd name="T0" fmla="*/ 543 w 2431"/>
                <a:gd name="T1" fmla="*/ 10 h 2119"/>
                <a:gd name="T2" fmla="*/ 567 w 2431"/>
                <a:gd name="T3" fmla="*/ 50 h 2119"/>
                <a:gd name="T4" fmla="*/ 613 w 2431"/>
                <a:gd name="T5" fmla="*/ 112 h 2119"/>
                <a:gd name="T6" fmla="*/ 685 w 2431"/>
                <a:gd name="T7" fmla="*/ 181 h 2119"/>
                <a:gd name="T8" fmla="*/ 785 w 2431"/>
                <a:gd name="T9" fmla="*/ 244 h 2119"/>
                <a:gd name="T10" fmla="*/ 913 w 2431"/>
                <a:gd name="T11" fmla="*/ 287 h 2119"/>
                <a:gd name="T12" fmla="*/ 1070 w 2431"/>
                <a:gd name="T13" fmla="*/ 298 h 2119"/>
                <a:gd name="T14" fmla="*/ 1262 w 2431"/>
                <a:gd name="T15" fmla="*/ 260 h 2119"/>
                <a:gd name="T16" fmla="*/ 1486 w 2431"/>
                <a:gd name="T17" fmla="*/ 162 h 2119"/>
                <a:gd name="T18" fmla="*/ 1584 w 2431"/>
                <a:gd name="T19" fmla="*/ 242 h 2119"/>
                <a:gd name="T20" fmla="*/ 1770 w 2431"/>
                <a:gd name="T21" fmla="*/ 247 h 2119"/>
                <a:gd name="T22" fmla="*/ 1911 w 2431"/>
                <a:gd name="T23" fmla="*/ 297 h 2119"/>
                <a:gd name="T24" fmla="*/ 2011 w 2431"/>
                <a:gd name="T25" fmla="*/ 378 h 2119"/>
                <a:gd name="T26" fmla="*/ 2080 w 2431"/>
                <a:gd name="T27" fmla="*/ 487 h 2119"/>
                <a:gd name="T28" fmla="*/ 2119 w 2431"/>
                <a:gd name="T29" fmla="*/ 612 h 2119"/>
                <a:gd name="T30" fmla="*/ 2135 w 2431"/>
                <a:gd name="T31" fmla="*/ 745 h 2119"/>
                <a:gd name="T32" fmla="*/ 2135 w 2431"/>
                <a:gd name="T33" fmla="*/ 878 h 2119"/>
                <a:gd name="T34" fmla="*/ 2123 w 2431"/>
                <a:gd name="T35" fmla="*/ 1000 h 2119"/>
                <a:gd name="T36" fmla="*/ 2107 w 2431"/>
                <a:gd name="T37" fmla="*/ 1106 h 2119"/>
                <a:gd name="T38" fmla="*/ 2090 w 2431"/>
                <a:gd name="T39" fmla="*/ 1184 h 2119"/>
                <a:gd name="T40" fmla="*/ 2079 w 2431"/>
                <a:gd name="T41" fmla="*/ 1227 h 2119"/>
                <a:gd name="T42" fmla="*/ 2192 w 2431"/>
                <a:gd name="T43" fmla="*/ 1064 h 2119"/>
                <a:gd name="T44" fmla="*/ 2303 w 2431"/>
                <a:gd name="T45" fmla="*/ 820 h 2119"/>
                <a:gd name="T46" fmla="*/ 2352 w 2431"/>
                <a:gd name="T47" fmla="*/ 836 h 2119"/>
                <a:gd name="T48" fmla="*/ 2417 w 2431"/>
                <a:gd name="T49" fmla="*/ 912 h 2119"/>
                <a:gd name="T50" fmla="*/ 2431 w 2431"/>
                <a:gd name="T51" fmla="*/ 1025 h 2119"/>
                <a:gd name="T52" fmla="*/ 2399 w 2431"/>
                <a:gd name="T53" fmla="*/ 1163 h 2119"/>
                <a:gd name="T54" fmla="*/ 2322 w 2431"/>
                <a:gd name="T55" fmla="*/ 1304 h 2119"/>
                <a:gd name="T56" fmla="*/ 2215 w 2431"/>
                <a:gd name="T57" fmla="*/ 1413 h 2119"/>
                <a:gd name="T58" fmla="*/ 2103 w 2431"/>
                <a:gd name="T59" fmla="*/ 1469 h 2119"/>
                <a:gd name="T60" fmla="*/ 1984 w 2431"/>
                <a:gd name="T61" fmla="*/ 1557 h 2119"/>
                <a:gd name="T62" fmla="*/ 1822 w 2431"/>
                <a:gd name="T63" fmla="*/ 1783 h 2119"/>
                <a:gd name="T64" fmla="*/ 1638 w 2431"/>
                <a:gd name="T65" fmla="*/ 1961 h 2119"/>
                <a:gd name="T66" fmla="*/ 1435 w 2431"/>
                <a:gd name="T67" fmla="*/ 2078 h 2119"/>
                <a:gd name="T68" fmla="*/ 1215 w 2431"/>
                <a:gd name="T69" fmla="*/ 2119 h 2119"/>
                <a:gd name="T70" fmla="*/ 998 w 2431"/>
                <a:gd name="T71" fmla="*/ 2076 h 2119"/>
                <a:gd name="T72" fmla="*/ 794 w 2431"/>
                <a:gd name="T73" fmla="*/ 1959 h 2119"/>
                <a:gd name="T74" fmla="*/ 609 w 2431"/>
                <a:gd name="T75" fmla="*/ 1781 h 2119"/>
                <a:gd name="T76" fmla="*/ 448 w 2431"/>
                <a:gd name="T77" fmla="*/ 1557 h 2119"/>
                <a:gd name="T78" fmla="*/ 320 w 2431"/>
                <a:gd name="T79" fmla="*/ 1466 h 2119"/>
                <a:gd name="T80" fmla="*/ 194 w 2431"/>
                <a:gd name="T81" fmla="*/ 1392 h 2119"/>
                <a:gd name="T82" fmla="*/ 80 w 2431"/>
                <a:gd name="T83" fmla="*/ 1258 h 2119"/>
                <a:gd name="T84" fmla="*/ 18 w 2431"/>
                <a:gd name="T85" fmla="*/ 1117 h 2119"/>
                <a:gd name="T86" fmla="*/ 0 w 2431"/>
                <a:gd name="T87" fmla="*/ 985 h 2119"/>
                <a:gd name="T88" fmla="*/ 27 w 2431"/>
                <a:gd name="T89" fmla="*/ 883 h 2119"/>
                <a:gd name="T90" fmla="*/ 98 w 2431"/>
                <a:gd name="T91" fmla="*/ 827 h 2119"/>
                <a:gd name="T92" fmla="*/ 171 w 2431"/>
                <a:gd name="T93" fmla="*/ 870 h 2119"/>
                <a:gd name="T94" fmla="*/ 235 w 2431"/>
                <a:gd name="T95" fmla="*/ 990 h 2119"/>
                <a:gd name="T96" fmla="*/ 287 w 2431"/>
                <a:gd name="T97" fmla="*/ 1067 h 2119"/>
                <a:gd name="T98" fmla="*/ 309 w 2431"/>
                <a:gd name="T99" fmla="*/ 1094 h 2119"/>
                <a:gd name="T100" fmla="*/ 295 w 2431"/>
                <a:gd name="T101" fmla="*/ 902 h 2119"/>
                <a:gd name="T102" fmla="*/ 320 w 2431"/>
                <a:gd name="T103" fmla="*/ 748 h 2119"/>
                <a:gd name="T104" fmla="*/ 372 w 2431"/>
                <a:gd name="T105" fmla="*/ 619 h 2119"/>
                <a:gd name="T106" fmla="*/ 434 w 2431"/>
                <a:gd name="T107" fmla="*/ 500 h 2119"/>
                <a:gd name="T108" fmla="*/ 493 w 2431"/>
                <a:gd name="T109" fmla="*/ 378 h 2119"/>
                <a:gd name="T110" fmla="*/ 535 w 2431"/>
                <a:gd name="T111" fmla="*/ 239 h 2119"/>
                <a:gd name="T112" fmla="*/ 545 w 2431"/>
                <a:gd name="T113" fmla="*/ 68 h 2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31" h="2119">
                  <a:moveTo>
                    <a:pt x="538" y="0"/>
                  </a:moveTo>
                  <a:lnTo>
                    <a:pt x="540" y="2"/>
                  </a:lnTo>
                  <a:lnTo>
                    <a:pt x="543" y="10"/>
                  </a:lnTo>
                  <a:lnTo>
                    <a:pt x="548" y="20"/>
                  </a:lnTo>
                  <a:lnTo>
                    <a:pt x="556" y="34"/>
                  </a:lnTo>
                  <a:lnTo>
                    <a:pt x="567" y="50"/>
                  </a:lnTo>
                  <a:lnTo>
                    <a:pt x="580" y="69"/>
                  </a:lnTo>
                  <a:lnTo>
                    <a:pt x="596" y="90"/>
                  </a:lnTo>
                  <a:lnTo>
                    <a:pt x="613" y="112"/>
                  </a:lnTo>
                  <a:lnTo>
                    <a:pt x="634" y="135"/>
                  </a:lnTo>
                  <a:lnTo>
                    <a:pt x="658" y="159"/>
                  </a:lnTo>
                  <a:lnTo>
                    <a:pt x="685" y="181"/>
                  </a:lnTo>
                  <a:lnTo>
                    <a:pt x="716" y="204"/>
                  </a:lnTo>
                  <a:lnTo>
                    <a:pt x="748" y="225"/>
                  </a:lnTo>
                  <a:lnTo>
                    <a:pt x="785" y="244"/>
                  </a:lnTo>
                  <a:lnTo>
                    <a:pt x="823" y="261"/>
                  </a:lnTo>
                  <a:lnTo>
                    <a:pt x="866" y="276"/>
                  </a:lnTo>
                  <a:lnTo>
                    <a:pt x="913" y="287"/>
                  </a:lnTo>
                  <a:lnTo>
                    <a:pt x="961" y="295"/>
                  </a:lnTo>
                  <a:lnTo>
                    <a:pt x="1014" y="298"/>
                  </a:lnTo>
                  <a:lnTo>
                    <a:pt x="1070" y="298"/>
                  </a:lnTo>
                  <a:lnTo>
                    <a:pt x="1131" y="292"/>
                  </a:lnTo>
                  <a:lnTo>
                    <a:pt x="1193" y="279"/>
                  </a:lnTo>
                  <a:lnTo>
                    <a:pt x="1262" y="260"/>
                  </a:lnTo>
                  <a:lnTo>
                    <a:pt x="1332" y="236"/>
                  </a:lnTo>
                  <a:lnTo>
                    <a:pt x="1408" y="202"/>
                  </a:lnTo>
                  <a:lnTo>
                    <a:pt x="1486" y="162"/>
                  </a:lnTo>
                  <a:lnTo>
                    <a:pt x="1433" y="266"/>
                  </a:lnTo>
                  <a:lnTo>
                    <a:pt x="1512" y="252"/>
                  </a:lnTo>
                  <a:lnTo>
                    <a:pt x="1584" y="242"/>
                  </a:lnTo>
                  <a:lnTo>
                    <a:pt x="1651" y="239"/>
                  </a:lnTo>
                  <a:lnTo>
                    <a:pt x="1714" y="241"/>
                  </a:lnTo>
                  <a:lnTo>
                    <a:pt x="1770" y="247"/>
                  </a:lnTo>
                  <a:lnTo>
                    <a:pt x="1822" y="260"/>
                  </a:lnTo>
                  <a:lnTo>
                    <a:pt x="1869" y="276"/>
                  </a:lnTo>
                  <a:lnTo>
                    <a:pt x="1911" y="297"/>
                  </a:lnTo>
                  <a:lnTo>
                    <a:pt x="1949" y="321"/>
                  </a:lnTo>
                  <a:lnTo>
                    <a:pt x="1983" y="348"/>
                  </a:lnTo>
                  <a:lnTo>
                    <a:pt x="2011" y="378"/>
                  </a:lnTo>
                  <a:lnTo>
                    <a:pt x="2039" y="412"/>
                  </a:lnTo>
                  <a:lnTo>
                    <a:pt x="2061" y="449"/>
                  </a:lnTo>
                  <a:lnTo>
                    <a:pt x="2080" y="487"/>
                  </a:lnTo>
                  <a:lnTo>
                    <a:pt x="2095" y="527"/>
                  </a:lnTo>
                  <a:lnTo>
                    <a:pt x="2109" y="569"/>
                  </a:lnTo>
                  <a:lnTo>
                    <a:pt x="2119" y="612"/>
                  </a:lnTo>
                  <a:lnTo>
                    <a:pt x="2127" y="655"/>
                  </a:lnTo>
                  <a:lnTo>
                    <a:pt x="2131" y="700"/>
                  </a:lnTo>
                  <a:lnTo>
                    <a:pt x="2135" y="745"/>
                  </a:lnTo>
                  <a:lnTo>
                    <a:pt x="2136" y="790"/>
                  </a:lnTo>
                  <a:lnTo>
                    <a:pt x="2136" y="833"/>
                  </a:lnTo>
                  <a:lnTo>
                    <a:pt x="2135" y="878"/>
                  </a:lnTo>
                  <a:lnTo>
                    <a:pt x="2131" y="920"/>
                  </a:lnTo>
                  <a:lnTo>
                    <a:pt x="2128" y="961"/>
                  </a:lnTo>
                  <a:lnTo>
                    <a:pt x="2123" y="1000"/>
                  </a:lnTo>
                  <a:lnTo>
                    <a:pt x="2119" y="1038"/>
                  </a:lnTo>
                  <a:lnTo>
                    <a:pt x="2112" y="1073"/>
                  </a:lnTo>
                  <a:lnTo>
                    <a:pt x="2107" y="1106"/>
                  </a:lnTo>
                  <a:lnTo>
                    <a:pt x="2101" y="1136"/>
                  </a:lnTo>
                  <a:lnTo>
                    <a:pt x="2095" y="1162"/>
                  </a:lnTo>
                  <a:lnTo>
                    <a:pt x="2090" y="1184"/>
                  </a:lnTo>
                  <a:lnTo>
                    <a:pt x="2085" y="1203"/>
                  </a:lnTo>
                  <a:lnTo>
                    <a:pt x="2082" y="1218"/>
                  </a:lnTo>
                  <a:lnTo>
                    <a:pt x="2079" y="1227"/>
                  </a:lnTo>
                  <a:lnTo>
                    <a:pt x="2077" y="1232"/>
                  </a:lnTo>
                  <a:lnTo>
                    <a:pt x="2140" y="1147"/>
                  </a:lnTo>
                  <a:lnTo>
                    <a:pt x="2192" y="1064"/>
                  </a:lnTo>
                  <a:lnTo>
                    <a:pt x="2237" y="981"/>
                  </a:lnTo>
                  <a:lnTo>
                    <a:pt x="2274" y="899"/>
                  </a:lnTo>
                  <a:lnTo>
                    <a:pt x="2303" y="820"/>
                  </a:lnTo>
                  <a:lnTo>
                    <a:pt x="2320" y="822"/>
                  </a:lnTo>
                  <a:lnTo>
                    <a:pt x="2338" y="828"/>
                  </a:lnTo>
                  <a:lnTo>
                    <a:pt x="2352" y="836"/>
                  </a:lnTo>
                  <a:lnTo>
                    <a:pt x="2378" y="856"/>
                  </a:lnTo>
                  <a:lnTo>
                    <a:pt x="2401" y="881"/>
                  </a:lnTo>
                  <a:lnTo>
                    <a:pt x="2417" y="912"/>
                  </a:lnTo>
                  <a:lnTo>
                    <a:pt x="2426" y="945"/>
                  </a:lnTo>
                  <a:lnTo>
                    <a:pt x="2431" y="984"/>
                  </a:lnTo>
                  <a:lnTo>
                    <a:pt x="2431" y="1025"/>
                  </a:lnTo>
                  <a:lnTo>
                    <a:pt x="2426" y="1070"/>
                  </a:lnTo>
                  <a:lnTo>
                    <a:pt x="2415" y="1117"/>
                  </a:lnTo>
                  <a:lnTo>
                    <a:pt x="2399" y="1163"/>
                  </a:lnTo>
                  <a:lnTo>
                    <a:pt x="2378" y="1210"/>
                  </a:lnTo>
                  <a:lnTo>
                    <a:pt x="2352" y="1258"/>
                  </a:lnTo>
                  <a:lnTo>
                    <a:pt x="2322" y="1304"/>
                  </a:lnTo>
                  <a:lnTo>
                    <a:pt x="2288" y="1346"/>
                  </a:lnTo>
                  <a:lnTo>
                    <a:pt x="2253" y="1381"/>
                  </a:lnTo>
                  <a:lnTo>
                    <a:pt x="2215" y="1413"/>
                  </a:lnTo>
                  <a:lnTo>
                    <a:pt x="2178" y="1439"/>
                  </a:lnTo>
                  <a:lnTo>
                    <a:pt x="2140" y="1458"/>
                  </a:lnTo>
                  <a:lnTo>
                    <a:pt x="2103" y="1469"/>
                  </a:lnTo>
                  <a:lnTo>
                    <a:pt x="2066" y="1476"/>
                  </a:lnTo>
                  <a:lnTo>
                    <a:pt x="2032" y="1474"/>
                  </a:lnTo>
                  <a:lnTo>
                    <a:pt x="1984" y="1557"/>
                  </a:lnTo>
                  <a:lnTo>
                    <a:pt x="1933" y="1637"/>
                  </a:lnTo>
                  <a:lnTo>
                    <a:pt x="1880" y="1713"/>
                  </a:lnTo>
                  <a:lnTo>
                    <a:pt x="1822" y="1783"/>
                  </a:lnTo>
                  <a:lnTo>
                    <a:pt x="1763" y="1849"/>
                  </a:lnTo>
                  <a:lnTo>
                    <a:pt x="1702" y="1908"/>
                  </a:lnTo>
                  <a:lnTo>
                    <a:pt x="1638" y="1961"/>
                  </a:lnTo>
                  <a:lnTo>
                    <a:pt x="1573" y="2007"/>
                  </a:lnTo>
                  <a:lnTo>
                    <a:pt x="1505" y="2046"/>
                  </a:lnTo>
                  <a:lnTo>
                    <a:pt x="1435" y="2078"/>
                  </a:lnTo>
                  <a:lnTo>
                    <a:pt x="1363" y="2100"/>
                  </a:lnTo>
                  <a:lnTo>
                    <a:pt x="1291" y="2115"/>
                  </a:lnTo>
                  <a:lnTo>
                    <a:pt x="1215" y="2119"/>
                  </a:lnTo>
                  <a:lnTo>
                    <a:pt x="1142" y="2115"/>
                  </a:lnTo>
                  <a:lnTo>
                    <a:pt x="1068" y="2100"/>
                  </a:lnTo>
                  <a:lnTo>
                    <a:pt x="998" y="2076"/>
                  </a:lnTo>
                  <a:lnTo>
                    <a:pt x="927" y="2046"/>
                  </a:lnTo>
                  <a:lnTo>
                    <a:pt x="860" y="2006"/>
                  </a:lnTo>
                  <a:lnTo>
                    <a:pt x="794" y="1959"/>
                  </a:lnTo>
                  <a:lnTo>
                    <a:pt x="730" y="1906"/>
                  </a:lnTo>
                  <a:lnTo>
                    <a:pt x="668" y="1847"/>
                  </a:lnTo>
                  <a:lnTo>
                    <a:pt x="609" y="1781"/>
                  </a:lnTo>
                  <a:lnTo>
                    <a:pt x="553" y="1711"/>
                  </a:lnTo>
                  <a:lnTo>
                    <a:pt x="500" y="1636"/>
                  </a:lnTo>
                  <a:lnTo>
                    <a:pt x="448" y="1557"/>
                  </a:lnTo>
                  <a:lnTo>
                    <a:pt x="400" y="1474"/>
                  </a:lnTo>
                  <a:lnTo>
                    <a:pt x="362" y="1474"/>
                  </a:lnTo>
                  <a:lnTo>
                    <a:pt x="320" y="1466"/>
                  </a:lnTo>
                  <a:lnTo>
                    <a:pt x="279" y="1448"/>
                  </a:lnTo>
                  <a:lnTo>
                    <a:pt x="235" y="1424"/>
                  </a:lnTo>
                  <a:lnTo>
                    <a:pt x="194" y="1392"/>
                  </a:lnTo>
                  <a:lnTo>
                    <a:pt x="154" y="1354"/>
                  </a:lnTo>
                  <a:lnTo>
                    <a:pt x="115" y="1309"/>
                  </a:lnTo>
                  <a:lnTo>
                    <a:pt x="80" y="1258"/>
                  </a:lnTo>
                  <a:lnTo>
                    <a:pt x="54" y="1210"/>
                  </a:lnTo>
                  <a:lnTo>
                    <a:pt x="34" y="1163"/>
                  </a:lnTo>
                  <a:lnTo>
                    <a:pt x="18" y="1117"/>
                  </a:lnTo>
                  <a:lnTo>
                    <a:pt x="6" y="1072"/>
                  </a:lnTo>
                  <a:lnTo>
                    <a:pt x="0" y="1027"/>
                  </a:lnTo>
                  <a:lnTo>
                    <a:pt x="0" y="985"/>
                  </a:lnTo>
                  <a:lnTo>
                    <a:pt x="3" y="947"/>
                  </a:lnTo>
                  <a:lnTo>
                    <a:pt x="13" y="913"/>
                  </a:lnTo>
                  <a:lnTo>
                    <a:pt x="27" y="883"/>
                  </a:lnTo>
                  <a:lnTo>
                    <a:pt x="46" y="857"/>
                  </a:lnTo>
                  <a:lnTo>
                    <a:pt x="72" y="836"/>
                  </a:lnTo>
                  <a:lnTo>
                    <a:pt x="98" y="827"/>
                  </a:lnTo>
                  <a:lnTo>
                    <a:pt x="123" y="820"/>
                  </a:lnTo>
                  <a:lnTo>
                    <a:pt x="151" y="820"/>
                  </a:lnTo>
                  <a:lnTo>
                    <a:pt x="171" y="870"/>
                  </a:lnTo>
                  <a:lnTo>
                    <a:pt x="192" y="915"/>
                  </a:lnTo>
                  <a:lnTo>
                    <a:pt x="215" y="955"/>
                  </a:lnTo>
                  <a:lnTo>
                    <a:pt x="235" y="990"/>
                  </a:lnTo>
                  <a:lnTo>
                    <a:pt x="255" y="1022"/>
                  </a:lnTo>
                  <a:lnTo>
                    <a:pt x="272" y="1048"/>
                  </a:lnTo>
                  <a:lnTo>
                    <a:pt x="287" y="1067"/>
                  </a:lnTo>
                  <a:lnTo>
                    <a:pt x="299" y="1083"/>
                  </a:lnTo>
                  <a:lnTo>
                    <a:pt x="306" y="1091"/>
                  </a:lnTo>
                  <a:lnTo>
                    <a:pt x="309" y="1094"/>
                  </a:lnTo>
                  <a:lnTo>
                    <a:pt x="299" y="1025"/>
                  </a:lnTo>
                  <a:lnTo>
                    <a:pt x="295" y="961"/>
                  </a:lnTo>
                  <a:lnTo>
                    <a:pt x="295" y="902"/>
                  </a:lnTo>
                  <a:lnTo>
                    <a:pt x="299" y="848"/>
                  </a:lnTo>
                  <a:lnTo>
                    <a:pt x="308" y="796"/>
                  </a:lnTo>
                  <a:lnTo>
                    <a:pt x="320" y="748"/>
                  </a:lnTo>
                  <a:lnTo>
                    <a:pt x="335" y="703"/>
                  </a:lnTo>
                  <a:lnTo>
                    <a:pt x="352" y="660"/>
                  </a:lnTo>
                  <a:lnTo>
                    <a:pt x="372" y="619"/>
                  </a:lnTo>
                  <a:lnTo>
                    <a:pt x="391" y="579"/>
                  </a:lnTo>
                  <a:lnTo>
                    <a:pt x="413" y="540"/>
                  </a:lnTo>
                  <a:lnTo>
                    <a:pt x="434" y="500"/>
                  </a:lnTo>
                  <a:lnTo>
                    <a:pt x="455" y="460"/>
                  </a:lnTo>
                  <a:lnTo>
                    <a:pt x="474" y="420"/>
                  </a:lnTo>
                  <a:lnTo>
                    <a:pt x="493" y="378"/>
                  </a:lnTo>
                  <a:lnTo>
                    <a:pt x="509" y="333"/>
                  </a:lnTo>
                  <a:lnTo>
                    <a:pt x="524" y="287"/>
                  </a:lnTo>
                  <a:lnTo>
                    <a:pt x="535" y="239"/>
                  </a:lnTo>
                  <a:lnTo>
                    <a:pt x="541" y="185"/>
                  </a:lnTo>
                  <a:lnTo>
                    <a:pt x="546" y="128"/>
                  </a:lnTo>
                  <a:lnTo>
                    <a:pt x="545" y="68"/>
                  </a:lnTo>
                  <a:lnTo>
                    <a:pt x="538" y="0"/>
                  </a:lnTo>
                  <a:close/>
                </a:path>
              </a:pathLst>
            </a:custGeom>
            <a:solidFill>
              <a:srgbClr val="EAD8B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0" name="Freeform 16"/>
            <p:cNvSpPr>
              <a:spLocks/>
            </p:cNvSpPr>
            <p:nvPr/>
          </p:nvSpPr>
          <p:spPr bwMode="auto">
            <a:xfrm>
              <a:off x="9821317" y="4409835"/>
              <a:ext cx="460455" cy="385576"/>
            </a:xfrm>
            <a:custGeom>
              <a:avLst/>
              <a:gdLst>
                <a:gd name="T0" fmla="*/ 1419 w 2429"/>
                <a:gd name="T1" fmla="*/ 19 h 2034"/>
                <a:gd name="T2" fmla="*/ 1268 w 2429"/>
                <a:gd name="T3" fmla="*/ 45 h 2034"/>
                <a:gd name="T4" fmla="*/ 1057 w 2429"/>
                <a:gd name="T5" fmla="*/ 168 h 2034"/>
                <a:gd name="T6" fmla="*/ 1175 w 2429"/>
                <a:gd name="T7" fmla="*/ 128 h 2034"/>
                <a:gd name="T8" fmla="*/ 1414 w 2429"/>
                <a:gd name="T9" fmla="*/ 90 h 2034"/>
                <a:gd name="T10" fmla="*/ 1705 w 2429"/>
                <a:gd name="T11" fmla="*/ 126 h 2034"/>
                <a:gd name="T12" fmla="*/ 1986 w 2429"/>
                <a:gd name="T13" fmla="*/ 315 h 2034"/>
                <a:gd name="T14" fmla="*/ 1910 w 2429"/>
                <a:gd name="T15" fmla="*/ 282 h 2034"/>
                <a:gd name="T16" fmla="*/ 1777 w 2429"/>
                <a:gd name="T17" fmla="*/ 253 h 2034"/>
                <a:gd name="T18" fmla="*/ 1854 w 2429"/>
                <a:gd name="T19" fmla="*/ 288 h 2034"/>
                <a:gd name="T20" fmla="*/ 2035 w 2429"/>
                <a:gd name="T21" fmla="*/ 402 h 2034"/>
                <a:gd name="T22" fmla="*/ 2240 w 2429"/>
                <a:gd name="T23" fmla="*/ 601 h 2034"/>
                <a:gd name="T24" fmla="*/ 2394 w 2429"/>
                <a:gd name="T25" fmla="*/ 894 h 2034"/>
                <a:gd name="T26" fmla="*/ 2418 w 2429"/>
                <a:gd name="T27" fmla="*/ 1289 h 2034"/>
                <a:gd name="T28" fmla="*/ 2380 w 2429"/>
                <a:gd name="T29" fmla="*/ 1203 h 2034"/>
                <a:gd name="T30" fmla="*/ 2346 w 2429"/>
                <a:gd name="T31" fmla="*/ 1477 h 2034"/>
                <a:gd name="T32" fmla="*/ 2191 w 2429"/>
                <a:gd name="T33" fmla="*/ 1866 h 2034"/>
                <a:gd name="T34" fmla="*/ 2083 w 2429"/>
                <a:gd name="T35" fmla="*/ 2012 h 2034"/>
                <a:gd name="T36" fmla="*/ 2110 w 2429"/>
                <a:gd name="T37" fmla="*/ 1887 h 2034"/>
                <a:gd name="T38" fmla="*/ 2133 w 2429"/>
                <a:gd name="T39" fmla="*/ 1690 h 2034"/>
                <a:gd name="T40" fmla="*/ 2126 w 2429"/>
                <a:gd name="T41" fmla="*/ 1465 h 2034"/>
                <a:gd name="T42" fmla="*/ 2062 w 2429"/>
                <a:gd name="T43" fmla="*/ 1252 h 2034"/>
                <a:gd name="T44" fmla="*/ 1914 w 2429"/>
                <a:gd name="T45" fmla="*/ 1097 h 2034"/>
                <a:gd name="T46" fmla="*/ 1654 w 2429"/>
                <a:gd name="T47" fmla="*/ 1036 h 2034"/>
                <a:gd name="T48" fmla="*/ 1406 w 2429"/>
                <a:gd name="T49" fmla="*/ 1001 h 2034"/>
                <a:gd name="T50" fmla="*/ 1070 w 2429"/>
                <a:gd name="T51" fmla="*/ 1095 h 2034"/>
                <a:gd name="T52" fmla="*/ 823 w 2429"/>
                <a:gd name="T53" fmla="*/ 1060 h 2034"/>
                <a:gd name="T54" fmla="*/ 658 w 2429"/>
                <a:gd name="T55" fmla="*/ 956 h 2034"/>
                <a:gd name="T56" fmla="*/ 565 w 2429"/>
                <a:gd name="T57" fmla="*/ 849 h 2034"/>
                <a:gd name="T58" fmla="*/ 536 w 2429"/>
                <a:gd name="T59" fmla="*/ 798 h 2034"/>
                <a:gd name="T60" fmla="*/ 522 w 2429"/>
                <a:gd name="T61" fmla="*/ 1086 h 2034"/>
                <a:gd name="T62" fmla="*/ 432 w 2429"/>
                <a:gd name="T63" fmla="*/ 1299 h 2034"/>
                <a:gd name="T64" fmla="*/ 335 w 2429"/>
                <a:gd name="T65" fmla="*/ 1501 h 2034"/>
                <a:gd name="T66" fmla="*/ 293 w 2429"/>
                <a:gd name="T67" fmla="*/ 1760 h 2034"/>
                <a:gd name="T68" fmla="*/ 286 w 2429"/>
                <a:gd name="T69" fmla="*/ 1866 h 2034"/>
                <a:gd name="T70" fmla="*/ 192 w 2429"/>
                <a:gd name="T71" fmla="*/ 1709 h 2034"/>
                <a:gd name="T72" fmla="*/ 99 w 2429"/>
                <a:gd name="T73" fmla="*/ 1441 h 2034"/>
                <a:gd name="T74" fmla="*/ 91 w 2429"/>
                <a:gd name="T75" fmla="*/ 1092 h 2034"/>
                <a:gd name="T76" fmla="*/ 1 w 2429"/>
                <a:gd name="T77" fmla="*/ 1111 h 2034"/>
                <a:gd name="T78" fmla="*/ 6 w 2429"/>
                <a:gd name="T79" fmla="*/ 969 h 2034"/>
                <a:gd name="T80" fmla="*/ 70 w 2429"/>
                <a:gd name="T81" fmla="*/ 769 h 2034"/>
                <a:gd name="T82" fmla="*/ 250 w 2429"/>
                <a:gd name="T83" fmla="*/ 580 h 2034"/>
                <a:gd name="T84" fmla="*/ 357 w 2429"/>
                <a:gd name="T85" fmla="*/ 503 h 2034"/>
                <a:gd name="T86" fmla="*/ 275 w 2429"/>
                <a:gd name="T87" fmla="*/ 424 h 2034"/>
                <a:gd name="T88" fmla="*/ 176 w 2429"/>
                <a:gd name="T89" fmla="*/ 384 h 2034"/>
                <a:gd name="T90" fmla="*/ 285 w 2429"/>
                <a:gd name="T91" fmla="*/ 396 h 2034"/>
                <a:gd name="T92" fmla="*/ 408 w 2429"/>
                <a:gd name="T93" fmla="*/ 476 h 2034"/>
                <a:gd name="T94" fmla="*/ 411 w 2429"/>
                <a:gd name="T95" fmla="*/ 452 h 2034"/>
                <a:gd name="T96" fmla="*/ 397 w 2429"/>
                <a:gd name="T97" fmla="*/ 296 h 2034"/>
                <a:gd name="T98" fmla="*/ 419 w 2429"/>
                <a:gd name="T99" fmla="*/ 261 h 2034"/>
                <a:gd name="T100" fmla="*/ 455 w 2429"/>
                <a:gd name="T101" fmla="*/ 388 h 2034"/>
                <a:gd name="T102" fmla="*/ 485 w 2429"/>
                <a:gd name="T103" fmla="*/ 320 h 2034"/>
                <a:gd name="T104" fmla="*/ 583 w 2429"/>
                <a:gd name="T105" fmla="*/ 197 h 2034"/>
                <a:gd name="T106" fmla="*/ 770 w 2429"/>
                <a:gd name="T107" fmla="*/ 74 h 2034"/>
                <a:gd name="T108" fmla="*/ 1076 w 2429"/>
                <a:gd name="T109" fmla="*/ 3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29" h="2034">
                  <a:moveTo>
                    <a:pt x="1154" y="0"/>
                  </a:moveTo>
                  <a:lnTo>
                    <a:pt x="1238" y="1"/>
                  </a:lnTo>
                  <a:lnTo>
                    <a:pt x="1327" y="8"/>
                  </a:lnTo>
                  <a:lnTo>
                    <a:pt x="1423" y="19"/>
                  </a:lnTo>
                  <a:lnTo>
                    <a:pt x="1419" y="19"/>
                  </a:lnTo>
                  <a:lnTo>
                    <a:pt x="1404" y="19"/>
                  </a:lnTo>
                  <a:lnTo>
                    <a:pt x="1380" y="21"/>
                  </a:lnTo>
                  <a:lnTo>
                    <a:pt x="1350" y="24"/>
                  </a:lnTo>
                  <a:lnTo>
                    <a:pt x="1311" y="32"/>
                  </a:lnTo>
                  <a:lnTo>
                    <a:pt x="1268" y="45"/>
                  </a:lnTo>
                  <a:lnTo>
                    <a:pt x="1219" y="64"/>
                  </a:lnTo>
                  <a:lnTo>
                    <a:pt x="1167" y="90"/>
                  </a:lnTo>
                  <a:lnTo>
                    <a:pt x="1111" y="125"/>
                  </a:lnTo>
                  <a:lnTo>
                    <a:pt x="1054" y="170"/>
                  </a:lnTo>
                  <a:lnTo>
                    <a:pt x="1057" y="168"/>
                  </a:lnTo>
                  <a:lnTo>
                    <a:pt x="1068" y="163"/>
                  </a:lnTo>
                  <a:lnTo>
                    <a:pt x="1086" y="157"/>
                  </a:lnTo>
                  <a:lnTo>
                    <a:pt x="1111" y="147"/>
                  </a:lnTo>
                  <a:lnTo>
                    <a:pt x="1140" y="138"/>
                  </a:lnTo>
                  <a:lnTo>
                    <a:pt x="1175" y="128"/>
                  </a:lnTo>
                  <a:lnTo>
                    <a:pt x="1215" y="118"/>
                  </a:lnTo>
                  <a:lnTo>
                    <a:pt x="1260" y="109"/>
                  </a:lnTo>
                  <a:lnTo>
                    <a:pt x="1308" y="99"/>
                  </a:lnTo>
                  <a:lnTo>
                    <a:pt x="1359" y="93"/>
                  </a:lnTo>
                  <a:lnTo>
                    <a:pt x="1414" y="90"/>
                  </a:lnTo>
                  <a:lnTo>
                    <a:pt x="1470" y="88"/>
                  </a:lnTo>
                  <a:lnTo>
                    <a:pt x="1528" y="91"/>
                  </a:lnTo>
                  <a:lnTo>
                    <a:pt x="1587" y="98"/>
                  </a:lnTo>
                  <a:lnTo>
                    <a:pt x="1646" y="110"/>
                  </a:lnTo>
                  <a:lnTo>
                    <a:pt x="1705" y="126"/>
                  </a:lnTo>
                  <a:lnTo>
                    <a:pt x="1765" y="150"/>
                  </a:lnTo>
                  <a:lnTo>
                    <a:pt x="1822" y="181"/>
                  </a:lnTo>
                  <a:lnTo>
                    <a:pt x="1878" y="218"/>
                  </a:lnTo>
                  <a:lnTo>
                    <a:pt x="1933" y="263"/>
                  </a:lnTo>
                  <a:lnTo>
                    <a:pt x="1986" y="315"/>
                  </a:lnTo>
                  <a:lnTo>
                    <a:pt x="1981" y="314"/>
                  </a:lnTo>
                  <a:lnTo>
                    <a:pt x="1971" y="307"/>
                  </a:lnTo>
                  <a:lnTo>
                    <a:pt x="1955" y="301"/>
                  </a:lnTo>
                  <a:lnTo>
                    <a:pt x="1934" y="291"/>
                  </a:lnTo>
                  <a:lnTo>
                    <a:pt x="1910" y="282"/>
                  </a:lnTo>
                  <a:lnTo>
                    <a:pt x="1885" y="271"/>
                  </a:lnTo>
                  <a:lnTo>
                    <a:pt x="1857" y="263"/>
                  </a:lnTo>
                  <a:lnTo>
                    <a:pt x="1829" y="256"/>
                  </a:lnTo>
                  <a:lnTo>
                    <a:pt x="1801" y="253"/>
                  </a:lnTo>
                  <a:lnTo>
                    <a:pt x="1777" y="253"/>
                  </a:lnTo>
                  <a:lnTo>
                    <a:pt x="1781" y="255"/>
                  </a:lnTo>
                  <a:lnTo>
                    <a:pt x="1790" y="258"/>
                  </a:lnTo>
                  <a:lnTo>
                    <a:pt x="1806" y="266"/>
                  </a:lnTo>
                  <a:lnTo>
                    <a:pt x="1829" y="275"/>
                  </a:lnTo>
                  <a:lnTo>
                    <a:pt x="1854" y="288"/>
                  </a:lnTo>
                  <a:lnTo>
                    <a:pt x="1885" y="304"/>
                  </a:lnTo>
                  <a:lnTo>
                    <a:pt x="1918" y="325"/>
                  </a:lnTo>
                  <a:lnTo>
                    <a:pt x="1955" y="347"/>
                  </a:lnTo>
                  <a:lnTo>
                    <a:pt x="1994" y="373"/>
                  </a:lnTo>
                  <a:lnTo>
                    <a:pt x="2035" y="402"/>
                  </a:lnTo>
                  <a:lnTo>
                    <a:pt x="2077" y="434"/>
                  </a:lnTo>
                  <a:lnTo>
                    <a:pt x="2118" y="471"/>
                  </a:lnTo>
                  <a:lnTo>
                    <a:pt x="2160" y="511"/>
                  </a:lnTo>
                  <a:lnTo>
                    <a:pt x="2202" y="554"/>
                  </a:lnTo>
                  <a:lnTo>
                    <a:pt x="2240" y="601"/>
                  </a:lnTo>
                  <a:lnTo>
                    <a:pt x="2279" y="652"/>
                  </a:lnTo>
                  <a:lnTo>
                    <a:pt x="2312" y="706"/>
                  </a:lnTo>
                  <a:lnTo>
                    <a:pt x="2344" y="766"/>
                  </a:lnTo>
                  <a:lnTo>
                    <a:pt x="2372" y="828"/>
                  </a:lnTo>
                  <a:lnTo>
                    <a:pt x="2394" y="894"/>
                  </a:lnTo>
                  <a:lnTo>
                    <a:pt x="2412" y="964"/>
                  </a:lnTo>
                  <a:lnTo>
                    <a:pt x="2424" y="1039"/>
                  </a:lnTo>
                  <a:lnTo>
                    <a:pt x="2429" y="1118"/>
                  </a:lnTo>
                  <a:lnTo>
                    <a:pt x="2428" y="1201"/>
                  </a:lnTo>
                  <a:lnTo>
                    <a:pt x="2418" y="1289"/>
                  </a:lnTo>
                  <a:lnTo>
                    <a:pt x="2376" y="1123"/>
                  </a:lnTo>
                  <a:lnTo>
                    <a:pt x="2376" y="1127"/>
                  </a:lnTo>
                  <a:lnTo>
                    <a:pt x="2378" y="1144"/>
                  </a:lnTo>
                  <a:lnTo>
                    <a:pt x="2380" y="1169"/>
                  </a:lnTo>
                  <a:lnTo>
                    <a:pt x="2380" y="1203"/>
                  </a:lnTo>
                  <a:lnTo>
                    <a:pt x="2378" y="1244"/>
                  </a:lnTo>
                  <a:lnTo>
                    <a:pt x="2375" y="1292"/>
                  </a:lnTo>
                  <a:lnTo>
                    <a:pt x="2368" y="1349"/>
                  </a:lnTo>
                  <a:lnTo>
                    <a:pt x="2359" y="1409"/>
                  </a:lnTo>
                  <a:lnTo>
                    <a:pt x="2346" y="1477"/>
                  </a:lnTo>
                  <a:lnTo>
                    <a:pt x="2327" y="1549"/>
                  </a:lnTo>
                  <a:lnTo>
                    <a:pt x="2303" y="1624"/>
                  </a:lnTo>
                  <a:lnTo>
                    <a:pt x="2272" y="1702"/>
                  </a:lnTo>
                  <a:lnTo>
                    <a:pt x="2235" y="1783"/>
                  </a:lnTo>
                  <a:lnTo>
                    <a:pt x="2191" y="1866"/>
                  </a:lnTo>
                  <a:lnTo>
                    <a:pt x="2138" y="1949"/>
                  </a:lnTo>
                  <a:lnTo>
                    <a:pt x="2077" y="2034"/>
                  </a:lnTo>
                  <a:lnTo>
                    <a:pt x="2077" y="2031"/>
                  </a:lnTo>
                  <a:lnTo>
                    <a:pt x="2080" y="2024"/>
                  </a:lnTo>
                  <a:lnTo>
                    <a:pt x="2083" y="2012"/>
                  </a:lnTo>
                  <a:lnTo>
                    <a:pt x="2088" y="1994"/>
                  </a:lnTo>
                  <a:lnTo>
                    <a:pt x="2093" y="1972"/>
                  </a:lnTo>
                  <a:lnTo>
                    <a:pt x="2098" y="1948"/>
                  </a:lnTo>
                  <a:lnTo>
                    <a:pt x="2104" y="1919"/>
                  </a:lnTo>
                  <a:lnTo>
                    <a:pt x="2110" y="1887"/>
                  </a:lnTo>
                  <a:lnTo>
                    <a:pt x="2115" y="1851"/>
                  </a:lnTo>
                  <a:lnTo>
                    <a:pt x="2122" y="1813"/>
                  </a:lnTo>
                  <a:lnTo>
                    <a:pt x="2126" y="1775"/>
                  </a:lnTo>
                  <a:lnTo>
                    <a:pt x="2130" y="1733"/>
                  </a:lnTo>
                  <a:lnTo>
                    <a:pt x="2133" y="1690"/>
                  </a:lnTo>
                  <a:lnTo>
                    <a:pt x="2136" y="1646"/>
                  </a:lnTo>
                  <a:lnTo>
                    <a:pt x="2136" y="1602"/>
                  </a:lnTo>
                  <a:lnTo>
                    <a:pt x="2135" y="1555"/>
                  </a:lnTo>
                  <a:lnTo>
                    <a:pt x="2133" y="1510"/>
                  </a:lnTo>
                  <a:lnTo>
                    <a:pt x="2126" y="1465"/>
                  </a:lnTo>
                  <a:lnTo>
                    <a:pt x="2120" y="1421"/>
                  </a:lnTo>
                  <a:lnTo>
                    <a:pt x="2110" y="1376"/>
                  </a:lnTo>
                  <a:lnTo>
                    <a:pt x="2098" y="1334"/>
                  </a:lnTo>
                  <a:lnTo>
                    <a:pt x="2082" y="1292"/>
                  </a:lnTo>
                  <a:lnTo>
                    <a:pt x="2062" y="1252"/>
                  </a:lnTo>
                  <a:lnTo>
                    <a:pt x="2042" y="1216"/>
                  </a:lnTo>
                  <a:lnTo>
                    <a:pt x="2014" y="1182"/>
                  </a:lnTo>
                  <a:lnTo>
                    <a:pt x="1986" y="1150"/>
                  </a:lnTo>
                  <a:lnTo>
                    <a:pt x="1952" y="1121"/>
                  </a:lnTo>
                  <a:lnTo>
                    <a:pt x="1914" y="1097"/>
                  </a:lnTo>
                  <a:lnTo>
                    <a:pt x="1872" y="1075"/>
                  </a:lnTo>
                  <a:lnTo>
                    <a:pt x="1825" y="1059"/>
                  </a:lnTo>
                  <a:lnTo>
                    <a:pt x="1773" y="1046"/>
                  </a:lnTo>
                  <a:lnTo>
                    <a:pt x="1715" y="1039"/>
                  </a:lnTo>
                  <a:lnTo>
                    <a:pt x="1654" y="1036"/>
                  </a:lnTo>
                  <a:lnTo>
                    <a:pt x="1585" y="1039"/>
                  </a:lnTo>
                  <a:lnTo>
                    <a:pt x="1512" y="1049"/>
                  </a:lnTo>
                  <a:lnTo>
                    <a:pt x="1431" y="1065"/>
                  </a:lnTo>
                  <a:lnTo>
                    <a:pt x="1486" y="961"/>
                  </a:lnTo>
                  <a:lnTo>
                    <a:pt x="1406" y="1001"/>
                  </a:lnTo>
                  <a:lnTo>
                    <a:pt x="1332" y="1033"/>
                  </a:lnTo>
                  <a:lnTo>
                    <a:pt x="1260" y="1059"/>
                  </a:lnTo>
                  <a:lnTo>
                    <a:pt x="1193" y="1076"/>
                  </a:lnTo>
                  <a:lnTo>
                    <a:pt x="1129" y="1089"/>
                  </a:lnTo>
                  <a:lnTo>
                    <a:pt x="1070" y="1095"/>
                  </a:lnTo>
                  <a:lnTo>
                    <a:pt x="1014" y="1097"/>
                  </a:lnTo>
                  <a:lnTo>
                    <a:pt x="961" y="1094"/>
                  </a:lnTo>
                  <a:lnTo>
                    <a:pt x="911" y="1086"/>
                  </a:lnTo>
                  <a:lnTo>
                    <a:pt x="866" y="1075"/>
                  </a:lnTo>
                  <a:lnTo>
                    <a:pt x="823" y="1060"/>
                  </a:lnTo>
                  <a:lnTo>
                    <a:pt x="783" y="1043"/>
                  </a:lnTo>
                  <a:lnTo>
                    <a:pt x="748" y="1023"/>
                  </a:lnTo>
                  <a:lnTo>
                    <a:pt x="714" y="1001"/>
                  </a:lnTo>
                  <a:lnTo>
                    <a:pt x="685" y="980"/>
                  </a:lnTo>
                  <a:lnTo>
                    <a:pt x="658" y="956"/>
                  </a:lnTo>
                  <a:lnTo>
                    <a:pt x="634" y="934"/>
                  </a:lnTo>
                  <a:lnTo>
                    <a:pt x="613" y="910"/>
                  </a:lnTo>
                  <a:lnTo>
                    <a:pt x="594" y="887"/>
                  </a:lnTo>
                  <a:lnTo>
                    <a:pt x="580" y="866"/>
                  </a:lnTo>
                  <a:lnTo>
                    <a:pt x="565" y="849"/>
                  </a:lnTo>
                  <a:lnTo>
                    <a:pt x="556" y="831"/>
                  </a:lnTo>
                  <a:lnTo>
                    <a:pt x="548" y="818"/>
                  </a:lnTo>
                  <a:lnTo>
                    <a:pt x="541" y="807"/>
                  </a:lnTo>
                  <a:lnTo>
                    <a:pt x="538" y="801"/>
                  </a:lnTo>
                  <a:lnTo>
                    <a:pt x="536" y="798"/>
                  </a:lnTo>
                  <a:lnTo>
                    <a:pt x="543" y="865"/>
                  </a:lnTo>
                  <a:lnTo>
                    <a:pt x="544" y="926"/>
                  </a:lnTo>
                  <a:lnTo>
                    <a:pt x="541" y="983"/>
                  </a:lnTo>
                  <a:lnTo>
                    <a:pt x="533" y="1036"/>
                  </a:lnTo>
                  <a:lnTo>
                    <a:pt x="522" y="1086"/>
                  </a:lnTo>
                  <a:lnTo>
                    <a:pt x="509" y="1132"/>
                  </a:lnTo>
                  <a:lnTo>
                    <a:pt x="491" y="1176"/>
                  </a:lnTo>
                  <a:lnTo>
                    <a:pt x="474" y="1219"/>
                  </a:lnTo>
                  <a:lnTo>
                    <a:pt x="453" y="1259"/>
                  </a:lnTo>
                  <a:lnTo>
                    <a:pt x="432" y="1299"/>
                  </a:lnTo>
                  <a:lnTo>
                    <a:pt x="411" y="1337"/>
                  </a:lnTo>
                  <a:lnTo>
                    <a:pt x="391" y="1377"/>
                  </a:lnTo>
                  <a:lnTo>
                    <a:pt x="370" y="1417"/>
                  </a:lnTo>
                  <a:lnTo>
                    <a:pt x="352" y="1459"/>
                  </a:lnTo>
                  <a:lnTo>
                    <a:pt x="335" y="1501"/>
                  </a:lnTo>
                  <a:lnTo>
                    <a:pt x="320" y="1547"/>
                  </a:lnTo>
                  <a:lnTo>
                    <a:pt x="307" y="1595"/>
                  </a:lnTo>
                  <a:lnTo>
                    <a:pt x="299" y="1645"/>
                  </a:lnTo>
                  <a:lnTo>
                    <a:pt x="294" y="1701"/>
                  </a:lnTo>
                  <a:lnTo>
                    <a:pt x="293" y="1760"/>
                  </a:lnTo>
                  <a:lnTo>
                    <a:pt x="298" y="1824"/>
                  </a:lnTo>
                  <a:lnTo>
                    <a:pt x="309" y="1893"/>
                  </a:lnTo>
                  <a:lnTo>
                    <a:pt x="306" y="1890"/>
                  </a:lnTo>
                  <a:lnTo>
                    <a:pt x="298" y="1880"/>
                  </a:lnTo>
                  <a:lnTo>
                    <a:pt x="286" y="1866"/>
                  </a:lnTo>
                  <a:lnTo>
                    <a:pt x="272" y="1845"/>
                  </a:lnTo>
                  <a:lnTo>
                    <a:pt x="254" y="1818"/>
                  </a:lnTo>
                  <a:lnTo>
                    <a:pt x="235" y="1787"/>
                  </a:lnTo>
                  <a:lnTo>
                    <a:pt x="214" y="1751"/>
                  </a:lnTo>
                  <a:lnTo>
                    <a:pt x="192" y="1709"/>
                  </a:lnTo>
                  <a:lnTo>
                    <a:pt x="171" y="1664"/>
                  </a:lnTo>
                  <a:lnTo>
                    <a:pt x="150" y="1614"/>
                  </a:lnTo>
                  <a:lnTo>
                    <a:pt x="130" y="1560"/>
                  </a:lnTo>
                  <a:lnTo>
                    <a:pt x="114" y="1502"/>
                  </a:lnTo>
                  <a:lnTo>
                    <a:pt x="99" y="1441"/>
                  </a:lnTo>
                  <a:lnTo>
                    <a:pt x="88" y="1377"/>
                  </a:lnTo>
                  <a:lnTo>
                    <a:pt x="80" y="1310"/>
                  </a:lnTo>
                  <a:lnTo>
                    <a:pt x="78" y="1240"/>
                  </a:lnTo>
                  <a:lnTo>
                    <a:pt x="82" y="1168"/>
                  </a:lnTo>
                  <a:lnTo>
                    <a:pt x="91" y="1092"/>
                  </a:lnTo>
                  <a:lnTo>
                    <a:pt x="109" y="1015"/>
                  </a:lnTo>
                  <a:lnTo>
                    <a:pt x="5" y="1139"/>
                  </a:lnTo>
                  <a:lnTo>
                    <a:pt x="5" y="1135"/>
                  </a:lnTo>
                  <a:lnTo>
                    <a:pt x="3" y="1126"/>
                  </a:lnTo>
                  <a:lnTo>
                    <a:pt x="1" y="1111"/>
                  </a:lnTo>
                  <a:lnTo>
                    <a:pt x="0" y="1091"/>
                  </a:lnTo>
                  <a:lnTo>
                    <a:pt x="0" y="1067"/>
                  </a:lnTo>
                  <a:lnTo>
                    <a:pt x="0" y="1038"/>
                  </a:lnTo>
                  <a:lnTo>
                    <a:pt x="1" y="1004"/>
                  </a:lnTo>
                  <a:lnTo>
                    <a:pt x="6" y="969"/>
                  </a:lnTo>
                  <a:lnTo>
                    <a:pt x="13" y="932"/>
                  </a:lnTo>
                  <a:lnTo>
                    <a:pt x="22" y="892"/>
                  </a:lnTo>
                  <a:lnTo>
                    <a:pt x="33" y="852"/>
                  </a:lnTo>
                  <a:lnTo>
                    <a:pt x="49" y="810"/>
                  </a:lnTo>
                  <a:lnTo>
                    <a:pt x="70" y="769"/>
                  </a:lnTo>
                  <a:lnTo>
                    <a:pt x="96" y="729"/>
                  </a:lnTo>
                  <a:lnTo>
                    <a:pt x="125" y="689"/>
                  </a:lnTo>
                  <a:lnTo>
                    <a:pt x="162" y="650"/>
                  </a:lnTo>
                  <a:lnTo>
                    <a:pt x="202" y="613"/>
                  </a:lnTo>
                  <a:lnTo>
                    <a:pt x="250" y="580"/>
                  </a:lnTo>
                  <a:lnTo>
                    <a:pt x="304" y="549"/>
                  </a:lnTo>
                  <a:lnTo>
                    <a:pt x="367" y="524"/>
                  </a:lnTo>
                  <a:lnTo>
                    <a:pt x="365" y="520"/>
                  </a:lnTo>
                  <a:lnTo>
                    <a:pt x="363" y="514"/>
                  </a:lnTo>
                  <a:lnTo>
                    <a:pt x="357" y="503"/>
                  </a:lnTo>
                  <a:lnTo>
                    <a:pt x="349" y="490"/>
                  </a:lnTo>
                  <a:lnTo>
                    <a:pt x="338" y="474"/>
                  </a:lnTo>
                  <a:lnTo>
                    <a:pt x="322" y="458"/>
                  </a:lnTo>
                  <a:lnTo>
                    <a:pt x="301" y="440"/>
                  </a:lnTo>
                  <a:lnTo>
                    <a:pt x="275" y="424"/>
                  </a:lnTo>
                  <a:lnTo>
                    <a:pt x="245" y="408"/>
                  </a:lnTo>
                  <a:lnTo>
                    <a:pt x="206" y="396"/>
                  </a:lnTo>
                  <a:lnTo>
                    <a:pt x="163" y="386"/>
                  </a:lnTo>
                  <a:lnTo>
                    <a:pt x="166" y="386"/>
                  </a:lnTo>
                  <a:lnTo>
                    <a:pt x="176" y="384"/>
                  </a:lnTo>
                  <a:lnTo>
                    <a:pt x="190" y="384"/>
                  </a:lnTo>
                  <a:lnTo>
                    <a:pt x="210" y="384"/>
                  </a:lnTo>
                  <a:lnTo>
                    <a:pt x="234" y="386"/>
                  </a:lnTo>
                  <a:lnTo>
                    <a:pt x="259" y="389"/>
                  </a:lnTo>
                  <a:lnTo>
                    <a:pt x="285" y="396"/>
                  </a:lnTo>
                  <a:lnTo>
                    <a:pt x="312" y="404"/>
                  </a:lnTo>
                  <a:lnTo>
                    <a:pt x="339" y="415"/>
                  </a:lnTo>
                  <a:lnTo>
                    <a:pt x="365" y="431"/>
                  </a:lnTo>
                  <a:lnTo>
                    <a:pt x="389" y="452"/>
                  </a:lnTo>
                  <a:lnTo>
                    <a:pt x="408" y="476"/>
                  </a:lnTo>
                  <a:lnTo>
                    <a:pt x="424" y="508"/>
                  </a:lnTo>
                  <a:lnTo>
                    <a:pt x="424" y="503"/>
                  </a:lnTo>
                  <a:lnTo>
                    <a:pt x="421" y="492"/>
                  </a:lnTo>
                  <a:lnTo>
                    <a:pt x="416" y="474"/>
                  </a:lnTo>
                  <a:lnTo>
                    <a:pt x="411" y="452"/>
                  </a:lnTo>
                  <a:lnTo>
                    <a:pt x="405" y="424"/>
                  </a:lnTo>
                  <a:lnTo>
                    <a:pt x="400" y="394"/>
                  </a:lnTo>
                  <a:lnTo>
                    <a:pt x="397" y="362"/>
                  </a:lnTo>
                  <a:lnTo>
                    <a:pt x="395" y="330"/>
                  </a:lnTo>
                  <a:lnTo>
                    <a:pt x="397" y="296"/>
                  </a:lnTo>
                  <a:lnTo>
                    <a:pt x="400" y="264"/>
                  </a:lnTo>
                  <a:lnTo>
                    <a:pt x="408" y="234"/>
                  </a:lnTo>
                  <a:lnTo>
                    <a:pt x="421" y="207"/>
                  </a:lnTo>
                  <a:lnTo>
                    <a:pt x="419" y="231"/>
                  </a:lnTo>
                  <a:lnTo>
                    <a:pt x="419" y="261"/>
                  </a:lnTo>
                  <a:lnTo>
                    <a:pt x="421" y="293"/>
                  </a:lnTo>
                  <a:lnTo>
                    <a:pt x="427" y="327"/>
                  </a:lnTo>
                  <a:lnTo>
                    <a:pt x="439" y="359"/>
                  </a:lnTo>
                  <a:lnTo>
                    <a:pt x="453" y="391"/>
                  </a:lnTo>
                  <a:lnTo>
                    <a:pt x="455" y="388"/>
                  </a:lnTo>
                  <a:lnTo>
                    <a:pt x="456" y="381"/>
                  </a:lnTo>
                  <a:lnTo>
                    <a:pt x="461" y="371"/>
                  </a:lnTo>
                  <a:lnTo>
                    <a:pt x="467" y="357"/>
                  </a:lnTo>
                  <a:lnTo>
                    <a:pt x="475" y="339"/>
                  </a:lnTo>
                  <a:lnTo>
                    <a:pt x="485" y="320"/>
                  </a:lnTo>
                  <a:lnTo>
                    <a:pt x="499" y="298"/>
                  </a:lnTo>
                  <a:lnTo>
                    <a:pt x="515" y="275"/>
                  </a:lnTo>
                  <a:lnTo>
                    <a:pt x="535" y="250"/>
                  </a:lnTo>
                  <a:lnTo>
                    <a:pt x="557" y="224"/>
                  </a:lnTo>
                  <a:lnTo>
                    <a:pt x="583" y="197"/>
                  </a:lnTo>
                  <a:lnTo>
                    <a:pt x="612" y="171"/>
                  </a:lnTo>
                  <a:lnTo>
                    <a:pt x="645" y="146"/>
                  </a:lnTo>
                  <a:lnTo>
                    <a:pt x="682" y="120"/>
                  </a:lnTo>
                  <a:lnTo>
                    <a:pt x="724" y="96"/>
                  </a:lnTo>
                  <a:lnTo>
                    <a:pt x="770" y="74"/>
                  </a:lnTo>
                  <a:lnTo>
                    <a:pt x="821" y="54"/>
                  </a:lnTo>
                  <a:lnTo>
                    <a:pt x="877" y="37"/>
                  </a:lnTo>
                  <a:lnTo>
                    <a:pt x="938" y="22"/>
                  </a:lnTo>
                  <a:lnTo>
                    <a:pt x="1004" y="11"/>
                  </a:lnTo>
                  <a:lnTo>
                    <a:pt x="1076" y="3"/>
                  </a:lnTo>
                  <a:lnTo>
                    <a:pt x="1154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71" name="Rounded Rectangle 20">
            <a:extLst>
              <a:ext uri="{FF2B5EF4-FFF2-40B4-BE49-F238E27FC236}">
                <a16:creationId xmlns:a16="http://schemas.microsoft.com/office/drawing/2014/main" id="{6610483A-C399-41CE-9470-BC587B37244C}"/>
              </a:ext>
            </a:extLst>
          </p:cNvPr>
          <p:cNvSpPr/>
          <p:nvPr userDrawn="1"/>
        </p:nvSpPr>
        <p:spPr>
          <a:xfrm>
            <a:off x="4682504" y="1117519"/>
            <a:ext cx="2748248" cy="4268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33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172" name="Rounded Rectangle 30">
            <a:extLst>
              <a:ext uri="{FF2B5EF4-FFF2-40B4-BE49-F238E27FC236}">
                <a16:creationId xmlns:a16="http://schemas.microsoft.com/office/drawing/2014/main" id="{EB3C1DF0-8129-4FCE-B9F1-353007C17DE8}"/>
              </a:ext>
            </a:extLst>
          </p:cNvPr>
          <p:cNvSpPr/>
          <p:nvPr userDrawn="1"/>
        </p:nvSpPr>
        <p:spPr>
          <a:xfrm>
            <a:off x="4682504" y="3958697"/>
            <a:ext cx="2748248" cy="42681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133" dirty="0">
              <a:solidFill>
                <a:prstClr val="white"/>
              </a:solidFill>
              <a:latin typeface="Segoe UI Semibold" panose="020B0702040204020203" pitchFamily="34" charset="0"/>
              <a:ea typeface="Open Sans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82505" y="1109233"/>
            <a:ext cx="2707497" cy="40599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94754" y="3952623"/>
            <a:ext cx="2707497" cy="40599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92139" y="302438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280655" y="302438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469171" y="302438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657687" y="302438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8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9846202" y="2982363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7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067339" y="567941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8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255855" y="567941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81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444371" y="567941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8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7632887" y="5679416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18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821402" y="5637394"/>
            <a:ext cx="1201117" cy="928237"/>
          </a:xfrm>
        </p:spPr>
        <p:txBody>
          <a:bodyPr anchor="ctr">
            <a:noAutofit/>
          </a:bodyPr>
          <a:lstStyle>
            <a:lvl1pPr marL="0" indent="0" algn="ctr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9178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83385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173" name="Group 172"/>
          <p:cNvGrpSpPr/>
          <p:nvPr userDrawn="1"/>
        </p:nvGrpSpPr>
        <p:grpSpPr>
          <a:xfrm>
            <a:off x="2495746" y="2499694"/>
            <a:ext cx="7508941" cy="4215937"/>
            <a:chOff x="2095501" y="2967038"/>
            <a:chExt cx="7997825" cy="3911601"/>
          </a:xfrm>
        </p:grpSpPr>
        <p:sp>
          <p:nvSpPr>
            <p:cNvPr id="174" name="Freeform 5"/>
            <p:cNvSpPr>
              <a:spLocks/>
            </p:cNvSpPr>
            <p:nvPr/>
          </p:nvSpPr>
          <p:spPr bwMode="auto">
            <a:xfrm>
              <a:off x="2228851" y="5470525"/>
              <a:ext cx="2768600" cy="1406525"/>
            </a:xfrm>
            <a:custGeom>
              <a:avLst/>
              <a:gdLst>
                <a:gd name="T0" fmla="*/ 505 w 1758"/>
                <a:gd name="T1" fmla="*/ 16 h 893"/>
                <a:gd name="T2" fmla="*/ 261 w 1758"/>
                <a:gd name="T3" fmla="*/ 0 h 893"/>
                <a:gd name="T4" fmla="*/ 0 w 1758"/>
                <a:gd name="T5" fmla="*/ 875 h 893"/>
                <a:gd name="T6" fmla="*/ 1 w 1758"/>
                <a:gd name="T7" fmla="*/ 893 h 893"/>
                <a:gd name="T8" fmla="*/ 1758 w 1758"/>
                <a:gd name="T9" fmla="*/ 893 h 893"/>
                <a:gd name="T10" fmla="*/ 505 w 1758"/>
                <a:gd name="T11" fmla="*/ 16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8" h="893">
                  <a:moveTo>
                    <a:pt x="505" y="16"/>
                  </a:moveTo>
                  <a:cubicBezTo>
                    <a:pt x="261" y="0"/>
                    <a:pt x="261" y="0"/>
                    <a:pt x="261" y="0"/>
                  </a:cubicBezTo>
                  <a:cubicBezTo>
                    <a:pt x="96" y="251"/>
                    <a:pt x="0" y="552"/>
                    <a:pt x="0" y="875"/>
                  </a:cubicBezTo>
                  <a:cubicBezTo>
                    <a:pt x="0" y="881"/>
                    <a:pt x="0" y="887"/>
                    <a:pt x="1" y="893"/>
                  </a:cubicBezTo>
                  <a:cubicBezTo>
                    <a:pt x="1758" y="893"/>
                    <a:pt x="1758" y="893"/>
                    <a:pt x="1758" y="893"/>
                  </a:cubicBezTo>
                  <a:lnTo>
                    <a:pt x="505" y="16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5" name="Freeform 6"/>
            <p:cNvSpPr>
              <a:spLocks/>
            </p:cNvSpPr>
            <p:nvPr/>
          </p:nvSpPr>
          <p:spPr bwMode="auto">
            <a:xfrm>
              <a:off x="2095501" y="4129088"/>
              <a:ext cx="2667000" cy="2724150"/>
            </a:xfrm>
            <a:custGeom>
              <a:avLst/>
              <a:gdLst>
                <a:gd name="T0" fmla="*/ 1694 w 1694"/>
                <a:gd name="T1" fmla="*/ 1533 h 1729"/>
                <a:gd name="T2" fmla="*/ 1522 w 1694"/>
                <a:gd name="T3" fmla="*/ 1233 h 1729"/>
                <a:gd name="T4" fmla="*/ 851 w 1694"/>
                <a:gd name="T5" fmla="*/ 0 h 1729"/>
                <a:gd name="T6" fmla="*/ 0 w 1694"/>
                <a:gd name="T7" fmla="*/ 768 h 1729"/>
                <a:gd name="T8" fmla="*/ 1666 w 1694"/>
                <a:gd name="T9" fmla="*/ 1729 h 1729"/>
                <a:gd name="T10" fmla="*/ 1694 w 1694"/>
                <a:gd name="T11" fmla="*/ 1533 h 1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94" h="1729">
                  <a:moveTo>
                    <a:pt x="1694" y="1533"/>
                  </a:moveTo>
                  <a:cubicBezTo>
                    <a:pt x="1522" y="1233"/>
                    <a:pt x="1522" y="1233"/>
                    <a:pt x="1522" y="1233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482" y="143"/>
                    <a:pt x="178" y="418"/>
                    <a:pt x="0" y="768"/>
                  </a:cubicBezTo>
                  <a:cubicBezTo>
                    <a:pt x="1666" y="1729"/>
                    <a:pt x="1666" y="1729"/>
                    <a:pt x="1666" y="1729"/>
                  </a:cubicBezTo>
                  <a:lnTo>
                    <a:pt x="1694" y="15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6" name="Freeform 7"/>
            <p:cNvSpPr>
              <a:spLocks/>
            </p:cNvSpPr>
            <p:nvPr/>
          </p:nvSpPr>
          <p:spPr bwMode="auto">
            <a:xfrm>
              <a:off x="2955926" y="3395663"/>
              <a:ext cx="2032000" cy="3325813"/>
            </a:xfrm>
            <a:custGeom>
              <a:avLst/>
              <a:gdLst>
                <a:gd name="T0" fmla="*/ 1183 w 1290"/>
                <a:gd name="T1" fmla="*/ 1923 h 2111"/>
                <a:gd name="T2" fmla="*/ 1290 w 1290"/>
                <a:gd name="T3" fmla="*/ 24 h 2111"/>
                <a:gd name="T4" fmla="*/ 1010 w 1290"/>
                <a:gd name="T5" fmla="*/ 0 h 2111"/>
                <a:gd name="T6" fmla="*/ 0 w 1290"/>
                <a:gd name="T7" fmla="*/ 360 h 2111"/>
                <a:gd name="T8" fmla="*/ 1123 w 1290"/>
                <a:gd name="T9" fmla="*/ 2111 h 2111"/>
                <a:gd name="T10" fmla="*/ 1183 w 1290"/>
                <a:gd name="T11" fmla="*/ 1923 h 2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0" h="2111">
                  <a:moveTo>
                    <a:pt x="1183" y="1923"/>
                  </a:moveTo>
                  <a:cubicBezTo>
                    <a:pt x="1290" y="24"/>
                    <a:pt x="1290" y="24"/>
                    <a:pt x="1290" y="24"/>
                  </a:cubicBezTo>
                  <a:cubicBezTo>
                    <a:pt x="1199" y="8"/>
                    <a:pt x="1106" y="0"/>
                    <a:pt x="1010" y="0"/>
                  </a:cubicBezTo>
                  <a:cubicBezTo>
                    <a:pt x="627" y="0"/>
                    <a:pt x="275" y="135"/>
                    <a:pt x="0" y="360"/>
                  </a:cubicBezTo>
                  <a:cubicBezTo>
                    <a:pt x="1123" y="2111"/>
                    <a:pt x="1123" y="2111"/>
                    <a:pt x="1123" y="2111"/>
                  </a:cubicBezTo>
                  <a:lnTo>
                    <a:pt x="1183" y="192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7" name="Freeform 8"/>
            <p:cNvSpPr>
              <a:spLocks/>
            </p:cNvSpPr>
            <p:nvPr/>
          </p:nvSpPr>
          <p:spPr bwMode="auto">
            <a:xfrm>
              <a:off x="4570413" y="2967038"/>
              <a:ext cx="2393950" cy="3502025"/>
            </a:xfrm>
            <a:custGeom>
              <a:avLst/>
              <a:gdLst>
                <a:gd name="T0" fmla="*/ 364 w 1521"/>
                <a:gd name="T1" fmla="*/ 2199 h 2223"/>
                <a:gd name="T2" fmla="*/ 1521 w 1521"/>
                <a:gd name="T3" fmla="*/ 537 h 2223"/>
                <a:gd name="T4" fmla="*/ 325 w 1521"/>
                <a:gd name="T5" fmla="*/ 0 h 2223"/>
                <a:gd name="T6" fmla="*/ 0 w 1521"/>
                <a:gd name="T7" fmla="*/ 33 h 2223"/>
                <a:gd name="T8" fmla="*/ 112 w 1521"/>
                <a:gd name="T9" fmla="*/ 2223 h 2223"/>
                <a:gd name="T10" fmla="*/ 364 w 1521"/>
                <a:gd name="T11" fmla="*/ 2199 h 2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1" h="2223">
                  <a:moveTo>
                    <a:pt x="364" y="2199"/>
                  </a:moveTo>
                  <a:cubicBezTo>
                    <a:pt x="1521" y="537"/>
                    <a:pt x="1521" y="537"/>
                    <a:pt x="1521" y="537"/>
                  </a:cubicBezTo>
                  <a:cubicBezTo>
                    <a:pt x="1228" y="207"/>
                    <a:pt x="801" y="0"/>
                    <a:pt x="325" y="0"/>
                  </a:cubicBezTo>
                  <a:cubicBezTo>
                    <a:pt x="214" y="0"/>
                    <a:pt x="105" y="11"/>
                    <a:pt x="0" y="33"/>
                  </a:cubicBezTo>
                  <a:cubicBezTo>
                    <a:pt x="112" y="2223"/>
                    <a:pt x="112" y="2223"/>
                    <a:pt x="112" y="2223"/>
                  </a:cubicBezTo>
                  <a:lnTo>
                    <a:pt x="364" y="219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8" name="Freeform 9"/>
            <p:cNvSpPr>
              <a:spLocks/>
            </p:cNvSpPr>
            <p:nvPr/>
          </p:nvSpPr>
          <p:spPr bwMode="auto">
            <a:xfrm>
              <a:off x="5049838" y="3195638"/>
              <a:ext cx="3116263" cy="3452813"/>
            </a:xfrm>
            <a:custGeom>
              <a:avLst/>
              <a:gdLst>
                <a:gd name="T0" fmla="*/ 96 w 1980"/>
                <a:gd name="T1" fmla="*/ 2192 h 2192"/>
                <a:gd name="T2" fmla="*/ 186 w 1980"/>
                <a:gd name="T3" fmla="*/ 2138 h 2192"/>
                <a:gd name="T4" fmla="*/ 1980 w 1980"/>
                <a:gd name="T5" fmla="*/ 1010 h 2192"/>
                <a:gd name="T6" fmla="*/ 957 w 1980"/>
                <a:gd name="T7" fmla="*/ 0 h 2192"/>
                <a:gd name="T8" fmla="*/ 0 w 1980"/>
                <a:gd name="T9" fmla="*/ 2012 h 2192"/>
                <a:gd name="T10" fmla="*/ 96 w 1980"/>
                <a:gd name="T11" fmla="*/ 219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80" h="2192">
                  <a:moveTo>
                    <a:pt x="96" y="2192"/>
                  </a:moveTo>
                  <a:cubicBezTo>
                    <a:pt x="186" y="2138"/>
                    <a:pt x="186" y="2138"/>
                    <a:pt x="186" y="2138"/>
                  </a:cubicBezTo>
                  <a:cubicBezTo>
                    <a:pt x="1980" y="1010"/>
                    <a:pt x="1980" y="1010"/>
                    <a:pt x="1980" y="1010"/>
                  </a:cubicBezTo>
                  <a:cubicBezTo>
                    <a:pt x="1819" y="532"/>
                    <a:pt x="1438" y="155"/>
                    <a:pt x="957" y="0"/>
                  </a:cubicBezTo>
                  <a:cubicBezTo>
                    <a:pt x="0" y="2012"/>
                    <a:pt x="0" y="2012"/>
                    <a:pt x="0" y="2012"/>
                  </a:cubicBezTo>
                  <a:lnTo>
                    <a:pt x="96" y="219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9" name="Freeform 10"/>
            <p:cNvSpPr>
              <a:spLocks/>
            </p:cNvSpPr>
            <p:nvPr/>
          </p:nvSpPr>
          <p:spPr bwMode="auto">
            <a:xfrm>
              <a:off x="5272088" y="3959225"/>
              <a:ext cx="4062413" cy="2724150"/>
            </a:xfrm>
            <a:custGeom>
              <a:avLst/>
              <a:gdLst>
                <a:gd name="T0" fmla="*/ 64 w 2580"/>
                <a:gd name="T1" fmla="*/ 1725 h 1729"/>
                <a:gd name="T2" fmla="*/ 308 w 2580"/>
                <a:gd name="T3" fmla="*/ 1729 h 1729"/>
                <a:gd name="T4" fmla="*/ 2580 w 2580"/>
                <a:gd name="T5" fmla="*/ 1019 h 1729"/>
                <a:gd name="T6" fmla="*/ 2047 w 2580"/>
                <a:gd name="T7" fmla="*/ 0 h 1729"/>
                <a:gd name="T8" fmla="*/ 0 w 2580"/>
                <a:gd name="T9" fmla="*/ 1585 h 1729"/>
                <a:gd name="T10" fmla="*/ 64 w 2580"/>
                <a:gd name="T11" fmla="*/ 1725 h 1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0" h="1729">
                  <a:moveTo>
                    <a:pt x="64" y="1725"/>
                  </a:moveTo>
                  <a:cubicBezTo>
                    <a:pt x="308" y="1729"/>
                    <a:pt x="308" y="1729"/>
                    <a:pt x="308" y="1729"/>
                  </a:cubicBezTo>
                  <a:cubicBezTo>
                    <a:pt x="2580" y="1019"/>
                    <a:pt x="2580" y="1019"/>
                    <a:pt x="2580" y="1019"/>
                  </a:cubicBezTo>
                  <a:cubicBezTo>
                    <a:pt x="2534" y="614"/>
                    <a:pt x="2337" y="255"/>
                    <a:pt x="2047" y="0"/>
                  </a:cubicBezTo>
                  <a:cubicBezTo>
                    <a:pt x="0" y="1585"/>
                    <a:pt x="0" y="1585"/>
                    <a:pt x="0" y="1585"/>
                  </a:cubicBezTo>
                  <a:lnTo>
                    <a:pt x="64" y="17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0" name="Freeform 11"/>
            <p:cNvSpPr>
              <a:spLocks/>
            </p:cNvSpPr>
            <p:nvPr/>
          </p:nvSpPr>
          <p:spPr bwMode="auto">
            <a:xfrm>
              <a:off x="5386388" y="5141913"/>
              <a:ext cx="4706938" cy="1730375"/>
            </a:xfrm>
            <a:custGeom>
              <a:avLst/>
              <a:gdLst>
                <a:gd name="T0" fmla="*/ 2801 w 2990"/>
                <a:gd name="T1" fmla="*/ 0 h 1098"/>
                <a:gd name="T2" fmla="*/ 0 w 2990"/>
                <a:gd name="T3" fmla="*/ 954 h 1098"/>
                <a:gd name="T4" fmla="*/ 48 w 2990"/>
                <a:gd name="T5" fmla="*/ 1098 h 1098"/>
                <a:gd name="T6" fmla="*/ 2953 w 2990"/>
                <a:gd name="T7" fmla="*/ 1098 h 1098"/>
                <a:gd name="T8" fmla="*/ 2990 w 2990"/>
                <a:gd name="T9" fmla="*/ 754 h 1098"/>
                <a:gd name="T10" fmla="*/ 2801 w 2990"/>
                <a:gd name="T11" fmla="*/ 0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90" h="1098">
                  <a:moveTo>
                    <a:pt x="2801" y="0"/>
                  </a:moveTo>
                  <a:cubicBezTo>
                    <a:pt x="0" y="954"/>
                    <a:pt x="0" y="954"/>
                    <a:pt x="0" y="954"/>
                  </a:cubicBezTo>
                  <a:cubicBezTo>
                    <a:pt x="48" y="1098"/>
                    <a:pt x="48" y="1098"/>
                    <a:pt x="48" y="1098"/>
                  </a:cubicBezTo>
                  <a:cubicBezTo>
                    <a:pt x="2953" y="1098"/>
                    <a:pt x="2953" y="1098"/>
                    <a:pt x="2953" y="1098"/>
                  </a:cubicBezTo>
                  <a:cubicBezTo>
                    <a:pt x="2977" y="987"/>
                    <a:pt x="2990" y="872"/>
                    <a:pt x="2990" y="754"/>
                  </a:cubicBezTo>
                  <a:cubicBezTo>
                    <a:pt x="2990" y="481"/>
                    <a:pt x="2922" y="224"/>
                    <a:pt x="280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1" name="Freeform 12"/>
            <p:cNvSpPr>
              <a:spLocks/>
            </p:cNvSpPr>
            <p:nvPr userDrawn="1"/>
          </p:nvSpPr>
          <p:spPr bwMode="auto">
            <a:xfrm>
              <a:off x="3924301" y="5797550"/>
              <a:ext cx="1965325" cy="1081089"/>
            </a:xfrm>
            <a:custGeom>
              <a:avLst/>
              <a:gdLst>
                <a:gd name="T0" fmla="*/ 1248 w 1248"/>
                <a:gd name="T1" fmla="*/ 624 h 686"/>
                <a:gd name="T2" fmla="*/ 624 w 1248"/>
                <a:gd name="T3" fmla="*/ 0 h 686"/>
                <a:gd name="T4" fmla="*/ 0 w 1248"/>
                <a:gd name="T5" fmla="*/ 624 h 686"/>
                <a:gd name="T6" fmla="*/ 3 w 1248"/>
                <a:gd name="T7" fmla="*/ 686 h 686"/>
                <a:gd name="T8" fmla="*/ 1245 w 1248"/>
                <a:gd name="T9" fmla="*/ 686 h 686"/>
                <a:gd name="T10" fmla="*/ 1248 w 1248"/>
                <a:gd name="T11" fmla="*/ 624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8" h="686">
                  <a:moveTo>
                    <a:pt x="1248" y="624"/>
                  </a:moveTo>
                  <a:cubicBezTo>
                    <a:pt x="1248" y="279"/>
                    <a:pt x="969" y="0"/>
                    <a:pt x="624" y="0"/>
                  </a:cubicBezTo>
                  <a:cubicBezTo>
                    <a:pt x="279" y="0"/>
                    <a:pt x="0" y="279"/>
                    <a:pt x="0" y="624"/>
                  </a:cubicBezTo>
                  <a:cubicBezTo>
                    <a:pt x="0" y="645"/>
                    <a:pt x="1" y="666"/>
                    <a:pt x="3" y="686"/>
                  </a:cubicBezTo>
                  <a:cubicBezTo>
                    <a:pt x="1245" y="686"/>
                    <a:pt x="1245" y="686"/>
                    <a:pt x="1245" y="686"/>
                  </a:cubicBezTo>
                  <a:cubicBezTo>
                    <a:pt x="1247" y="666"/>
                    <a:pt x="1248" y="645"/>
                    <a:pt x="1248" y="624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>
              <a:outerShdw blurRad="2540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36576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189" name="Oval 188"/>
          <p:cNvSpPr/>
          <p:nvPr userDrawn="1"/>
        </p:nvSpPr>
        <p:spPr>
          <a:xfrm>
            <a:off x="2009029" y="5628472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90" name="Oval 189"/>
          <p:cNvSpPr/>
          <p:nvPr userDrawn="1"/>
        </p:nvSpPr>
        <p:spPr>
          <a:xfrm>
            <a:off x="2329973" y="3663340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191" name="Oval 190"/>
          <p:cNvSpPr/>
          <p:nvPr userDrawn="1"/>
        </p:nvSpPr>
        <p:spPr>
          <a:xfrm>
            <a:off x="3660293" y="2293898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192" name="Oval 191"/>
          <p:cNvSpPr/>
          <p:nvPr userDrawn="1"/>
        </p:nvSpPr>
        <p:spPr>
          <a:xfrm>
            <a:off x="5585471" y="1798172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193" name="Oval 192"/>
          <p:cNvSpPr/>
          <p:nvPr userDrawn="1"/>
        </p:nvSpPr>
        <p:spPr>
          <a:xfrm>
            <a:off x="7455997" y="2502641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</p:txBody>
      </p:sp>
      <p:sp>
        <p:nvSpPr>
          <p:cNvPr id="194" name="Oval 193"/>
          <p:cNvSpPr/>
          <p:nvPr userDrawn="1"/>
        </p:nvSpPr>
        <p:spPr>
          <a:xfrm>
            <a:off x="9158769" y="3783879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6</a:t>
            </a:r>
          </a:p>
        </p:txBody>
      </p:sp>
      <p:sp>
        <p:nvSpPr>
          <p:cNvPr id="195" name="Oval 194"/>
          <p:cNvSpPr/>
          <p:nvPr userDrawn="1"/>
        </p:nvSpPr>
        <p:spPr>
          <a:xfrm>
            <a:off x="10112000" y="5628472"/>
            <a:ext cx="570515" cy="6549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133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7</a:t>
            </a:r>
          </a:p>
        </p:txBody>
      </p:sp>
      <p:grpSp>
        <p:nvGrpSpPr>
          <p:cNvPr id="196" name="Group 195"/>
          <p:cNvGrpSpPr/>
          <p:nvPr userDrawn="1"/>
        </p:nvGrpSpPr>
        <p:grpSpPr>
          <a:xfrm>
            <a:off x="3549913" y="6161068"/>
            <a:ext cx="451611" cy="426043"/>
            <a:chOff x="6964363" y="1689101"/>
            <a:chExt cx="481013" cy="395288"/>
          </a:xfrm>
          <a:solidFill>
            <a:schemeClr val="bg1"/>
          </a:solidFill>
        </p:grpSpPr>
        <p:sp>
          <p:nvSpPr>
            <p:cNvPr id="197" name="Freeform 6"/>
            <p:cNvSpPr>
              <a:spLocks/>
            </p:cNvSpPr>
            <p:nvPr/>
          </p:nvSpPr>
          <p:spPr bwMode="auto">
            <a:xfrm>
              <a:off x="6964363" y="1717676"/>
              <a:ext cx="419100" cy="366713"/>
            </a:xfrm>
            <a:custGeom>
              <a:avLst/>
              <a:gdLst>
                <a:gd name="T0" fmla="*/ 2249 w 2905"/>
                <a:gd name="T1" fmla="*/ 239 h 2540"/>
                <a:gd name="T2" fmla="*/ 2885 w 2905"/>
                <a:gd name="T3" fmla="*/ 968 h 2540"/>
                <a:gd name="T4" fmla="*/ 2609 w 2905"/>
                <a:gd name="T5" fmla="*/ 1645 h 2540"/>
                <a:gd name="T6" fmla="*/ 2513 w 2905"/>
                <a:gd name="T7" fmla="*/ 1837 h 2540"/>
                <a:gd name="T8" fmla="*/ 2362 w 2905"/>
                <a:gd name="T9" fmla="*/ 1977 h 2540"/>
                <a:gd name="T10" fmla="*/ 2169 w 2905"/>
                <a:gd name="T11" fmla="*/ 2102 h 2540"/>
                <a:gd name="T12" fmla="*/ 2044 w 2905"/>
                <a:gd name="T13" fmla="*/ 2294 h 2540"/>
                <a:gd name="T14" fmla="*/ 1903 w 2905"/>
                <a:gd name="T15" fmla="*/ 2444 h 2540"/>
                <a:gd name="T16" fmla="*/ 1710 w 2905"/>
                <a:gd name="T17" fmla="*/ 2540 h 2540"/>
                <a:gd name="T18" fmla="*/ 1191 w 2905"/>
                <a:gd name="T19" fmla="*/ 2359 h 2540"/>
                <a:gd name="T20" fmla="*/ 1027 w 2905"/>
                <a:gd name="T21" fmla="*/ 2380 h 2540"/>
                <a:gd name="T22" fmla="*/ 934 w 2905"/>
                <a:gd name="T23" fmla="*/ 2229 h 2540"/>
                <a:gd name="T24" fmla="*/ 907 w 2905"/>
                <a:gd name="T25" fmla="*/ 2175 h 2540"/>
                <a:gd name="T26" fmla="*/ 745 w 2905"/>
                <a:gd name="T27" fmla="*/ 2107 h 2540"/>
                <a:gd name="T28" fmla="*/ 735 w 2905"/>
                <a:gd name="T29" fmla="*/ 1941 h 2540"/>
                <a:gd name="T30" fmla="*/ 612 w 2905"/>
                <a:gd name="T31" fmla="*/ 1952 h 2540"/>
                <a:gd name="T32" fmla="*/ 495 w 2905"/>
                <a:gd name="T33" fmla="*/ 1816 h 2540"/>
                <a:gd name="T34" fmla="*/ 490 w 2905"/>
                <a:gd name="T35" fmla="*/ 1730 h 2540"/>
                <a:gd name="T36" fmla="*/ 323 w 2905"/>
                <a:gd name="T37" fmla="*/ 1690 h 2540"/>
                <a:gd name="T38" fmla="*/ 284 w 2905"/>
                <a:gd name="T39" fmla="*/ 1525 h 2540"/>
                <a:gd name="T40" fmla="*/ 0 w 2905"/>
                <a:gd name="T41" fmla="*/ 904 h 2540"/>
                <a:gd name="T42" fmla="*/ 87 w 2905"/>
                <a:gd name="T43" fmla="*/ 837 h 2540"/>
                <a:gd name="T44" fmla="*/ 629 w 2905"/>
                <a:gd name="T45" fmla="*/ 1240 h 2540"/>
                <a:gd name="T46" fmla="*/ 771 w 2905"/>
                <a:gd name="T47" fmla="*/ 1357 h 2540"/>
                <a:gd name="T48" fmla="*/ 760 w 2905"/>
                <a:gd name="T49" fmla="*/ 1479 h 2540"/>
                <a:gd name="T50" fmla="*/ 927 w 2905"/>
                <a:gd name="T51" fmla="*/ 1489 h 2540"/>
                <a:gd name="T52" fmla="*/ 996 w 2905"/>
                <a:gd name="T53" fmla="*/ 1649 h 2540"/>
                <a:gd name="T54" fmla="*/ 1050 w 2905"/>
                <a:gd name="T55" fmla="*/ 1676 h 2540"/>
                <a:gd name="T56" fmla="*/ 1201 w 2905"/>
                <a:gd name="T57" fmla="*/ 1769 h 2540"/>
                <a:gd name="T58" fmla="*/ 1181 w 2905"/>
                <a:gd name="T59" fmla="*/ 1932 h 2540"/>
                <a:gd name="T60" fmla="*/ 1344 w 2905"/>
                <a:gd name="T61" fmla="*/ 1912 h 2540"/>
                <a:gd name="T62" fmla="*/ 1438 w 2905"/>
                <a:gd name="T63" fmla="*/ 2062 h 2540"/>
                <a:gd name="T64" fmla="*/ 1716 w 2905"/>
                <a:gd name="T65" fmla="*/ 2402 h 2540"/>
                <a:gd name="T66" fmla="*/ 1809 w 2905"/>
                <a:gd name="T67" fmla="*/ 2325 h 2540"/>
                <a:gd name="T68" fmla="*/ 1567 w 2905"/>
                <a:gd name="T69" fmla="*/ 2025 h 2540"/>
                <a:gd name="T70" fmla="*/ 1633 w 2905"/>
                <a:gd name="T71" fmla="*/ 1939 h 2540"/>
                <a:gd name="T72" fmla="*/ 1936 w 2905"/>
                <a:gd name="T73" fmla="*/ 2183 h 2540"/>
                <a:gd name="T74" fmla="*/ 2029 w 2905"/>
                <a:gd name="T75" fmla="*/ 2106 h 2540"/>
                <a:gd name="T76" fmla="*/ 1786 w 2905"/>
                <a:gd name="T77" fmla="*/ 1806 h 2540"/>
                <a:gd name="T78" fmla="*/ 1853 w 2905"/>
                <a:gd name="T79" fmla="*/ 1720 h 2540"/>
                <a:gd name="T80" fmla="*/ 2156 w 2905"/>
                <a:gd name="T81" fmla="*/ 1965 h 2540"/>
                <a:gd name="T82" fmla="*/ 2249 w 2905"/>
                <a:gd name="T83" fmla="*/ 1887 h 2540"/>
                <a:gd name="T84" fmla="*/ 2006 w 2905"/>
                <a:gd name="T85" fmla="*/ 1587 h 2540"/>
                <a:gd name="T86" fmla="*/ 2074 w 2905"/>
                <a:gd name="T87" fmla="*/ 1501 h 2540"/>
                <a:gd name="T88" fmla="*/ 2377 w 2905"/>
                <a:gd name="T89" fmla="*/ 1746 h 2540"/>
                <a:gd name="T90" fmla="*/ 2469 w 2905"/>
                <a:gd name="T91" fmla="*/ 1669 h 2540"/>
                <a:gd name="T92" fmla="*/ 2438 w 2905"/>
                <a:gd name="T93" fmla="*/ 1591 h 2540"/>
                <a:gd name="T94" fmla="*/ 2295 w 2905"/>
                <a:gd name="T95" fmla="*/ 1449 h 2540"/>
                <a:gd name="T96" fmla="*/ 2062 w 2905"/>
                <a:gd name="T97" fmla="*/ 1218 h 2540"/>
                <a:gd name="T98" fmla="*/ 1813 w 2905"/>
                <a:gd name="T99" fmla="*/ 970 h 2540"/>
                <a:gd name="T100" fmla="*/ 1616 w 2905"/>
                <a:gd name="T101" fmla="*/ 775 h 2540"/>
                <a:gd name="T102" fmla="*/ 1537 w 2905"/>
                <a:gd name="T103" fmla="*/ 706 h 2540"/>
                <a:gd name="T104" fmla="*/ 1428 w 2905"/>
                <a:gd name="T105" fmla="*/ 754 h 2540"/>
                <a:gd name="T106" fmla="*/ 1226 w 2905"/>
                <a:gd name="T107" fmla="*/ 1069 h 2540"/>
                <a:gd name="T108" fmla="*/ 976 w 2905"/>
                <a:gd name="T109" fmla="*/ 1147 h 2540"/>
                <a:gd name="T110" fmla="*/ 796 w 2905"/>
                <a:gd name="T111" fmla="*/ 1004 h 2540"/>
                <a:gd name="T112" fmla="*/ 1064 w 2905"/>
                <a:gd name="T113" fmla="*/ 203 h 2540"/>
                <a:gd name="T114" fmla="*/ 1158 w 2905"/>
                <a:gd name="T115" fmla="*/ 94 h 2540"/>
                <a:gd name="T116" fmla="*/ 1338 w 2905"/>
                <a:gd name="T117" fmla="*/ 10 h 2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5" h="2540">
                  <a:moveTo>
                    <a:pt x="1451" y="0"/>
                  </a:moveTo>
                  <a:lnTo>
                    <a:pt x="1493" y="3"/>
                  </a:lnTo>
                  <a:lnTo>
                    <a:pt x="1538" y="11"/>
                  </a:lnTo>
                  <a:lnTo>
                    <a:pt x="1585" y="23"/>
                  </a:lnTo>
                  <a:lnTo>
                    <a:pt x="2221" y="222"/>
                  </a:lnTo>
                  <a:lnTo>
                    <a:pt x="2236" y="229"/>
                  </a:lnTo>
                  <a:lnTo>
                    <a:pt x="2249" y="239"/>
                  </a:lnTo>
                  <a:lnTo>
                    <a:pt x="2885" y="870"/>
                  </a:lnTo>
                  <a:lnTo>
                    <a:pt x="2896" y="886"/>
                  </a:lnTo>
                  <a:lnTo>
                    <a:pt x="2903" y="902"/>
                  </a:lnTo>
                  <a:lnTo>
                    <a:pt x="2905" y="919"/>
                  </a:lnTo>
                  <a:lnTo>
                    <a:pt x="2903" y="936"/>
                  </a:lnTo>
                  <a:lnTo>
                    <a:pt x="2896" y="954"/>
                  </a:lnTo>
                  <a:lnTo>
                    <a:pt x="2885" y="968"/>
                  </a:lnTo>
                  <a:lnTo>
                    <a:pt x="2445" y="1405"/>
                  </a:lnTo>
                  <a:lnTo>
                    <a:pt x="2552" y="1511"/>
                  </a:lnTo>
                  <a:lnTo>
                    <a:pt x="2572" y="1534"/>
                  </a:lnTo>
                  <a:lnTo>
                    <a:pt x="2588" y="1560"/>
                  </a:lnTo>
                  <a:lnTo>
                    <a:pt x="2599" y="1587"/>
                  </a:lnTo>
                  <a:lnTo>
                    <a:pt x="2606" y="1615"/>
                  </a:lnTo>
                  <a:lnTo>
                    <a:pt x="2609" y="1645"/>
                  </a:lnTo>
                  <a:lnTo>
                    <a:pt x="2608" y="1675"/>
                  </a:lnTo>
                  <a:lnTo>
                    <a:pt x="2603" y="1705"/>
                  </a:lnTo>
                  <a:lnTo>
                    <a:pt x="2594" y="1734"/>
                  </a:lnTo>
                  <a:lnTo>
                    <a:pt x="2580" y="1762"/>
                  </a:lnTo>
                  <a:lnTo>
                    <a:pt x="2562" y="1790"/>
                  </a:lnTo>
                  <a:lnTo>
                    <a:pt x="2540" y="1815"/>
                  </a:lnTo>
                  <a:lnTo>
                    <a:pt x="2513" y="1837"/>
                  </a:lnTo>
                  <a:lnTo>
                    <a:pt x="2484" y="1857"/>
                  </a:lnTo>
                  <a:lnTo>
                    <a:pt x="2453" y="1870"/>
                  </a:lnTo>
                  <a:lnTo>
                    <a:pt x="2421" y="1879"/>
                  </a:lnTo>
                  <a:lnTo>
                    <a:pt x="2389" y="1883"/>
                  </a:lnTo>
                  <a:lnTo>
                    <a:pt x="2385" y="1915"/>
                  </a:lnTo>
                  <a:lnTo>
                    <a:pt x="2376" y="1947"/>
                  </a:lnTo>
                  <a:lnTo>
                    <a:pt x="2362" y="1977"/>
                  </a:lnTo>
                  <a:lnTo>
                    <a:pt x="2343" y="2007"/>
                  </a:lnTo>
                  <a:lnTo>
                    <a:pt x="2319" y="2033"/>
                  </a:lnTo>
                  <a:lnTo>
                    <a:pt x="2293" y="2056"/>
                  </a:lnTo>
                  <a:lnTo>
                    <a:pt x="2263" y="2075"/>
                  </a:lnTo>
                  <a:lnTo>
                    <a:pt x="2233" y="2089"/>
                  </a:lnTo>
                  <a:lnTo>
                    <a:pt x="2201" y="2098"/>
                  </a:lnTo>
                  <a:lnTo>
                    <a:pt x="2169" y="2102"/>
                  </a:lnTo>
                  <a:lnTo>
                    <a:pt x="2164" y="2134"/>
                  </a:lnTo>
                  <a:lnTo>
                    <a:pt x="2155" y="2166"/>
                  </a:lnTo>
                  <a:lnTo>
                    <a:pt x="2142" y="2196"/>
                  </a:lnTo>
                  <a:lnTo>
                    <a:pt x="2123" y="2226"/>
                  </a:lnTo>
                  <a:lnTo>
                    <a:pt x="2100" y="2252"/>
                  </a:lnTo>
                  <a:lnTo>
                    <a:pt x="2073" y="2275"/>
                  </a:lnTo>
                  <a:lnTo>
                    <a:pt x="2044" y="2294"/>
                  </a:lnTo>
                  <a:lnTo>
                    <a:pt x="2012" y="2308"/>
                  </a:lnTo>
                  <a:lnTo>
                    <a:pt x="1981" y="2316"/>
                  </a:lnTo>
                  <a:lnTo>
                    <a:pt x="1948" y="2321"/>
                  </a:lnTo>
                  <a:lnTo>
                    <a:pt x="1944" y="2352"/>
                  </a:lnTo>
                  <a:lnTo>
                    <a:pt x="1935" y="2385"/>
                  </a:lnTo>
                  <a:lnTo>
                    <a:pt x="1922" y="2415"/>
                  </a:lnTo>
                  <a:lnTo>
                    <a:pt x="1903" y="2444"/>
                  </a:lnTo>
                  <a:lnTo>
                    <a:pt x="1880" y="2471"/>
                  </a:lnTo>
                  <a:lnTo>
                    <a:pt x="1854" y="2492"/>
                  </a:lnTo>
                  <a:lnTo>
                    <a:pt x="1828" y="2510"/>
                  </a:lnTo>
                  <a:lnTo>
                    <a:pt x="1799" y="2524"/>
                  </a:lnTo>
                  <a:lnTo>
                    <a:pt x="1770" y="2533"/>
                  </a:lnTo>
                  <a:lnTo>
                    <a:pt x="1739" y="2539"/>
                  </a:lnTo>
                  <a:lnTo>
                    <a:pt x="1710" y="2540"/>
                  </a:lnTo>
                  <a:lnTo>
                    <a:pt x="1680" y="2537"/>
                  </a:lnTo>
                  <a:lnTo>
                    <a:pt x="1650" y="2530"/>
                  </a:lnTo>
                  <a:lnTo>
                    <a:pt x="1623" y="2519"/>
                  </a:lnTo>
                  <a:lnTo>
                    <a:pt x="1597" y="2503"/>
                  </a:lnTo>
                  <a:lnTo>
                    <a:pt x="1574" y="2483"/>
                  </a:lnTo>
                  <a:lnTo>
                    <a:pt x="1320" y="2231"/>
                  </a:lnTo>
                  <a:lnTo>
                    <a:pt x="1191" y="2359"/>
                  </a:lnTo>
                  <a:lnTo>
                    <a:pt x="1172" y="2375"/>
                  </a:lnTo>
                  <a:lnTo>
                    <a:pt x="1150" y="2387"/>
                  </a:lnTo>
                  <a:lnTo>
                    <a:pt x="1127" y="2394"/>
                  </a:lnTo>
                  <a:lnTo>
                    <a:pt x="1102" y="2396"/>
                  </a:lnTo>
                  <a:lnTo>
                    <a:pt x="1077" y="2395"/>
                  </a:lnTo>
                  <a:lnTo>
                    <a:pt x="1052" y="2389"/>
                  </a:lnTo>
                  <a:lnTo>
                    <a:pt x="1027" y="2380"/>
                  </a:lnTo>
                  <a:lnTo>
                    <a:pt x="1005" y="2365"/>
                  </a:lnTo>
                  <a:lnTo>
                    <a:pt x="983" y="2347"/>
                  </a:lnTo>
                  <a:lnTo>
                    <a:pt x="965" y="2326"/>
                  </a:lnTo>
                  <a:lnTo>
                    <a:pt x="951" y="2303"/>
                  </a:lnTo>
                  <a:lnTo>
                    <a:pt x="941" y="2278"/>
                  </a:lnTo>
                  <a:lnTo>
                    <a:pt x="935" y="2254"/>
                  </a:lnTo>
                  <a:lnTo>
                    <a:pt x="934" y="2229"/>
                  </a:lnTo>
                  <a:lnTo>
                    <a:pt x="936" y="2204"/>
                  </a:lnTo>
                  <a:lnTo>
                    <a:pt x="944" y="2181"/>
                  </a:lnTo>
                  <a:lnTo>
                    <a:pt x="955" y="2160"/>
                  </a:lnTo>
                  <a:lnTo>
                    <a:pt x="971" y="2140"/>
                  </a:lnTo>
                  <a:lnTo>
                    <a:pt x="952" y="2157"/>
                  </a:lnTo>
                  <a:lnTo>
                    <a:pt x="930" y="2168"/>
                  </a:lnTo>
                  <a:lnTo>
                    <a:pt x="907" y="2175"/>
                  </a:lnTo>
                  <a:lnTo>
                    <a:pt x="882" y="2178"/>
                  </a:lnTo>
                  <a:lnTo>
                    <a:pt x="857" y="2176"/>
                  </a:lnTo>
                  <a:lnTo>
                    <a:pt x="832" y="2170"/>
                  </a:lnTo>
                  <a:lnTo>
                    <a:pt x="808" y="2161"/>
                  </a:lnTo>
                  <a:lnTo>
                    <a:pt x="784" y="2147"/>
                  </a:lnTo>
                  <a:lnTo>
                    <a:pt x="763" y="2128"/>
                  </a:lnTo>
                  <a:lnTo>
                    <a:pt x="745" y="2107"/>
                  </a:lnTo>
                  <a:lnTo>
                    <a:pt x="730" y="2084"/>
                  </a:lnTo>
                  <a:lnTo>
                    <a:pt x="721" y="2060"/>
                  </a:lnTo>
                  <a:lnTo>
                    <a:pt x="715" y="2035"/>
                  </a:lnTo>
                  <a:lnTo>
                    <a:pt x="714" y="2011"/>
                  </a:lnTo>
                  <a:lnTo>
                    <a:pt x="716" y="1986"/>
                  </a:lnTo>
                  <a:lnTo>
                    <a:pt x="723" y="1963"/>
                  </a:lnTo>
                  <a:lnTo>
                    <a:pt x="735" y="1941"/>
                  </a:lnTo>
                  <a:lnTo>
                    <a:pt x="751" y="1922"/>
                  </a:lnTo>
                  <a:lnTo>
                    <a:pt x="731" y="1938"/>
                  </a:lnTo>
                  <a:lnTo>
                    <a:pt x="710" y="1949"/>
                  </a:lnTo>
                  <a:lnTo>
                    <a:pt x="686" y="1956"/>
                  </a:lnTo>
                  <a:lnTo>
                    <a:pt x="662" y="1959"/>
                  </a:lnTo>
                  <a:lnTo>
                    <a:pt x="636" y="1957"/>
                  </a:lnTo>
                  <a:lnTo>
                    <a:pt x="612" y="1952"/>
                  </a:lnTo>
                  <a:lnTo>
                    <a:pt x="588" y="1942"/>
                  </a:lnTo>
                  <a:lnTo>
                    <a:pt x="564" y="1928"/>
                  </a:lnTo>
                  <a:lnTo>
                    <a:pt x="543" y="1909"/>
                  </a:lnTo>
                  <a:lnTo>
                    <a:pt x="524" y="1888"/>
                  </a:lnTo>
                  <a:lnTo>
                    <a:pt x="511" y="1866"/>
                  </a:lnTo>
                  <a:lnTo>
                    <a:pt x="501" y="1841"/>
                  </a:lnTo>
                  <a:lnTo>
                    <a:pt x="495" y="1816"/>
                  </a:lnTo>
                  <a:lnTo>
                    <a:pt x="494" y="1792"/>
                  </a:lnTo>
                  <a:lnTo>
                    <a:pt x="497" y="1767"/>
                  </a:lnTo>
                  <a:lnTo>
                    <a:pt x="504" y="1744"/>
                  </a:lnTo>
                  <a:lnTo>
                    <a:pt x="515" y="1722"/>
                  </a:lnTo>
                  <a:lnTo>
                    <a:pt x="530" y="1703"/>
                  </a:lnTo>
                  <a:lnTo>
                    <a:pt x="511" y="1719"/>
                  </a:lnTo>
                  <a:lnTo>
                    <a:pt x="490" y="1730"/>
                  </a:lnTo>
                  <a:lnTo>
                    <a:pt x="466" y="1737"/>
                  </a:lnTo>
                  <a:lnTo>
                    <a:pt x="442" y="1740"/>
                  </a:lnTo>
                  <a:lnTo>
                    <a:pt x="417" y="1738"/>
                  </a:lnTo>
                  <a:lnTo>
                    <a:pt x="392" y="1733"/>
                  </a:lnTo>
                  <a:lnTo>
                    <a:pt x="367" y="1723"/>
                  </a:lnTo>
                  <a:lnTo>
                    <a:pt x="344" y="1709"/>
                  </a:lnTo>
                  <a:lnTo>
                    <a:pt x="323" y="1690"/>
                  </a:lnTo>
                  <a:lnTo>
                    <a:pt x="305" y="1670"/>
                  </a:lnTo>
                  <a:lnTo>
                    <a:pt x="291" y="1647"/>
                  </a:lnTo>
                  <a:lnTo>
                    <a:pt x="281" y="1622"/>
                  </a:lnTo>
                  <a:lnTo>
                    <a:pt x="275" y="1597"/>
                  </a:lnTo>
                  <a:lnTo>
                    <a:pt x="273" y="1573"/>
                  </a:lnTo>
                  <a:lnTo>
                    <a:pt x="276" y="1549"/>
                  </a:lnTo>
                  <a:lnTo>
                    <a:pt x="284" y="1525"/>
                  </a:lnTo>
                  <a:lnTo>
                    <a:pt x="295" y="1504"/>
                  </a:lnTo>
                  <a:lnTo>
                    <a:pt x="311" y="1485"/>
                  </a:lnTo>
                  <a:lnTo>
                    <a:pt x="432" y="1363"/>
                  </a:lnTo>
                  <a:lnTo>
                    <a:pt x="20" y="952"/>
                  </a:lnTo>
                  <a:lnTo>
                    <a:pt x="9" y="938"/>
                  </a:lnTo>
                  <a:lnTo>
                    <a:pt x="2" y="921"/>
                  </a:lnTo>
                  <a:lnTo>
                    <a:pt x="0" y="904"/>
                  </a:lnTo>
                  <a:lnTo>
                    <a:pt x="2" y="887"/>
                  </a:lnTo>
                  <a:lnTo>
                    <a:pt x="9" y="870"/>
                  </a:lnTo>
                  <a:lnTo>
                    <a:pt x="20" y="855"/>
                  </a:lnTo>
                  <a:lnTo>
                    <a:pt x="35" y="844"/>
                  </a:lnTo>
                  <a:lnTo>
                    <a:pt x="51" y="837"/>
                  </a:lnTo>
                  <a:lnTo>
                    <a:pt x="69" y="835"/>
                  </a:lnTo>
                  <a:lnTo>
                    <a:pt x="87" y="837"/>
                  </a:lnTo>
                  <a:lnTo>
                    <a:pt x="103" y="844"/>
                  </a:lnTo>
                  <a:lnTo>
                    <a:pt x="118" y="855"/>
                  </a:lnTo>
                  <a:lnTo>
                    <a:pt x="531" y="1267"/>
                  </a:lnTo>
                  <a:lnTo>
                    <a:pt x="554" y="1253"/>
                  </a:lnTo>
                  <a:lnTo>
                    <a:pt x="577" y="1243"/>
                  </a:lnTo>
                  <a:lnTo>
                    <a:pt x="603" y="1239"/>
                  </a:lnTo>
                  <a:lnTo>
                    <a:pt x="629" y="1240"/>
                  </a:lnTo>
                  <a:lnTo>
                    <a:pt x="656" y="1245"/>
                  </a:lnTo>
                  <a:lnTo>
                    <a:pt x="681" y="1255"/>
                  </a:lnTo>
                  <a:lnTo>
                    <a:pt x="706" y="1269"/>
                  </a:lnTo>
                  <a:lnTo>
                    <a:pt x="728" y="1288"/>
                  </a:lnTo>
                  <a:lnTo>
                    <a:pt x="747" y="1309"/>
                  </a:lnTo>
                  <a:lnTo>
                    <a:pt x="761" y="1333"/>
                  </a:lnTo>
                  <a:lnTo>
                    <a:pt x="771" y="1357"/>
                  </a:lnTo>
                  <a:lnTo>
                    <a:pt x="776" y="1381"/>
                  </a:lnTo>
                  <a:lnTo>
                    <a:pt x="778" y="1407"/>
                  </a:lnTo>
                  <a:lnTo>
                    <a:pt x="775" y="1431"/>
                  </a:lnTo>
                  <a:lnTo>
                    <a:pt x="768" y="1454"/>
                  </a:lnTo>
                  <a:lnTo>
                    <a:pt x="757" y="1476"/>
                  </a:lnTo>
                  <a:lnTo>
                    <a:pt x="741" y="1495"/>
                  </a:lnTo>
                  <a:lnTo>
                    <a:pt x="760" y="1479"/>
                  </a:lnTo>
                  <a:lnTo>
                    <a:pt x="781" y="1467"/>
                  </a:lnTo>
                  <a:lnTo>
                    <a:pt x="805" y="1460"/>
                  </a:lnTo>
                  <a:lnTo>
                    <a:pt x="829" y="1457"/>
                  </a:lnTo>
                  <a:lnTo>
                    <a:pt x="855" y="1459"/>
                  </a:lnTo>
                  <a:lnTo>
                    <a:pt x="879" y="1464"/>
                  </a:lnTo>
                  <a:lnTo>
                    <a:pt x="904" y="1475"/>
                  </a:lnTo>
                  <a:lnTo>
                    <a:pt x="927" y="1489"/>
                  </a:lnTo>
                  <a:lnTo>
                    <a:pt x="949" y="1507"/>
                  </a:lnTo>
                  <a:lnTo>
                    <a:pt x="967" y="1528"/>
                  </a:lnTo>
                  <a:lnTo>
                    <a:pt x="981" y="1551"/>
                  </a:lnTo>
                  <a:lnTo>
                    <a:pt x="990" y="1575"/>
                  </a:lnTo>
                  <a:lnTo>
                    <a:pt x="997" y="1600"/>
                  </a:lnTo>
                  <a:lnTo>
                    <a:pt x="998" y="1625"/>
                  </a:lnTo>
                  <a:lnTo>
                    <a:pt x="996" y="1649"/>
                  </a:lnTo>
                  <a:lnTo>
                    <a:pt x="988" y="1672"/>
                  </a:lnTo>
                  <a:lnTo>
                    <a:pt x="977" y="1694"/>
                  </a:lnTo>
                  <a:lnTo>
                    <a:pt x="961" y="1714"/>
                  </a:lnTo>
                  <a:lnTo>
                    <a:pt x="980" y="1698"/>
                  </a:lnTo>
                  <a:lnTo>
                    <a:pt x="1002" y="1686"/>
                  </a:lnTo>
                  <a:lnTo>
                    <a:pt x="1025" y="1679"/>
                  </a:lnTo>
                  <a:lnTo>
                    <a:pt x="1050" y="1676"/>
                  </a:lnTo>
                  <a:lnTo>
                    <a:pt x="1075" y="1678"/>
                  </a:lnTo>
                  <a:lnTo>
                    <a:pt x="1100" y="1683"/>
                  </a:lnTo>
                  <a:lnTo>
                    <a:pt x="1124" y="1693"/>
                  </a:lnTo>
                  <a:lnTo>
                    <a:pt x="1148" y="1708"/>
                  </a:lnTo>
                  <a:lnTo>
                    <a:pt x="1169" y="1725"/>
                  </a:lnTo>
                  <a:lnTo>
                    <a:pt x="1187" y="1746"/>
                  </a:lnTo>
                  <a:lnTo>
                    <a:pt x="1201" y="1769"/>
                  </a:lnTo>
                  <a:lnTo>
                    <a:pt x="1211" y="1794"/>
                  </a:lnTo>
                  <a:lnTo>
                    <a:pt x="1217" y="1818"/>
                  </a:lnTo>
                  <a:lnTo>
                    <a:pt x="1218" y="1843"/>
                  </a:lnTo>
                  <a:lnTo>
                    <a:pt x="1215" y="1868"/>
                  </a:lnTo>
                  <a:lnTo>
                    <a:pt x="1208" y="1891"/>
                  </a:lnTo>
                  <a:lnTo>
                    <a:pt x="1196" y="1912"/>
                  </a:lnTo>
                  <a:lnTo>
                    <a:pt x="1181" y="1932"/>
                  </a:lnTo>
                  <a:lnTo>
                    <a:pt x="1201" y="1916"/>
                  </a:lnTo>
                  <a:lnTo>
                    <a:pt x="1222" y="1905"/>
                  </a:lnTo>
                  <a:lnTo>
                    <a:pt x="1245" y="1898"/>
                  </a:lnTo>
                  <a:lnTo>
                    <a:pt x="1270" y="1895"/>
                  </a:lnTo>
                  <a:lnTo>
                    <a:pt x="1294" y="1896"/>
                  </a:lnTo>
                  <a:lnTo>
                    <a:pt x="1320" y="1902"/>
                  </a:lnTo>
                  <a:lnTo>
                    <a:pt x="1344" y="1912"/>
                  </a:lnTo>
                  <a:lnTo>
                    <a:pt x="1367" y="1926"/>
                  </a:lnTo>
                  <a:lnTo>
                    <a:pt x="1388" y="1944"/>
                  </a:lnTo>
                  <a:lnTo>
                    <a:pt x="1407" y="1965"/>
                  </a:lnTo>
                  <a:lnTo>
                    <a:pt x="1421" y="1988"/>
                  </a:lnTo>
                  <a:lnTo>
                    <a:pt x="1431" y="2013"/>
                  </a:lnTo>
                  <a:lnTo>
                    <a:pt x="1436" y="2037"/>
                  </a:lnTo>
                  <a:lnTo>
                    <a:pt x="1438" y="2062"/>
                  </a:lnTo>
                  <a:lnTo>
                    <a:pt x="1435" y="2087"/>
                  </a:lnTo>
                  <a:lnTo>
                    <a:pt x="1428" y="2110"/>
                  </a:lnTo>
                  <a:lnTo>
                    <a:pt x="1416" y="2131"/>
                  </a:lnTo>
                  <a:lnTo>
                    <a:pt x="1672" y="2386"/>
                  </a:lnTo>
                  <a:lnTo>
                    <a:pt x="1685" y="2395"/>
                  </a:lnTo>
                  <a:lnTo>
                    <a:pt x="1699" y="2401"/>
                  </a:lnTo>
                  <a:lnTo>
                    <a:pt x="1716" y="2402"/>
                  </a:lnTo>
                  <a:lnTo>
                    <a:pt x="1733" y="2400"/>
                  </a:lnTo>
                  <a:lnTo>
                    <a:pt x="1750" y="2395"/>
                  </a:lnTo>
                  <a:lnTo>
                    <a:pt x="1767" y="2386"/>
                  </a:lnTo>
                  <a:lnTo>
                    <a:pt x="1782" y="2374"/>
                  </a:lnTo>
                  <a:lnTo>
                    <a:pt x="1794" y="2358"/>
                  </a:lnTo>
                  <a:lnTo>
                    <a:pt x="1803" y="2342"/>
                  </a:lnTo>
                  <a:lnTo>
                    <a:pt x="1809" y="2325"/>
                  </a:lnTo>
                  <a:lnTo>
                    <a:pt x="1811" y="2308"/>
                  </a:lnTo>
                  <a:lnTo>
                    <a:pt x="1809" y="2291"/>
                  </a:lnTo>
                  <a:lnTo>
                    <a:pt x="1803" y="2276"/>
                  </a:lnTo>
                  <a:lnTo>
                    <a:pt x="1794" y="2264"/>
                  </a:lnTo>
                  <a:lnTo>
                    <a:pt x="1584" y="2055"/>
                  </a:lnTo>
                  <a:lnTo>
                    <a:pt x="1573" y="2041"/>
                  </a:lnTo>
                  <a:lnTo>
                    <a:pt x="1567" y="2025"/>
                  </a:lnTo>
                  <a:lnTo>
                    <a:pt x="1564" y="2007"/>
                  </a:lnTo>
                  <a:lnTo>
                    <a:pt x="1567" y="1989"/>
                  </a:lnTo>
                  <a:lnTo>
                    <a:pt x="1573" y="1973"/>
                  </a:lnTo>
                  <a:lnTo>
                    <a:pt x="1584" y="1958"/>
                  </a:lnTo>
                  <a:lnTo>
                    <a:pt x="1599" y="1947"/>
                  </a:lnTo>
                  <a:lnTo>
                    <a:pt x="1616" y="1941"/>
                  </a:lnTo>
                  <a:lnTo>
                    <a:pt x="1633" y="1939"/>
                  </a:lnTo>
                  <a:lnTo>
                    <a:pt x="1650" y="1941"/>
                  </a:lnTo>
                  <a:lnTo>
                    <a:pt x="1668" y="1947"/>
                  </a:lnTo>
                  <a:lnTo>
                    <a:pt x="1682" y="1958"/>
                  </a:lnTo>
                  <a:lnTo>
                    <a:pt x="1892" y="2167"/>
                  </a:lnTo>
                  <a:lnTo>
                    <a:pt x="1904" y="2176"/>
                  </a:lnTo>
                  <a:lnTo>
                    <a:pt x="1920" y="2182"/>
                  </a:lnTo>
                  <a:lnTo>
                    <a:pt x="1936" y="2183"/>
                  </a:lnTo>
                  <a:lnTo>
                    <a:pt x="1953" y="2182"/>
                  </a:lnTo>
                  <a:lnTo>
                    <a:pt x="1971" y="2176"/>
                  </a:lnTo>
                  <a:lnTo>
                    <a:pt x="1987" y="2167"/>
                  </a:lnTo>
                  <a:lnTo>
                    <a:pt x="2002" y="2155"/>
                  </a:lnTo>
                  <a:lnTo>
                    <a:pt x="2015" y="2139"/>
                  </a:lnTo>
                  <a:lnTo>
                    <a:pt x="2024" y="2123"/>
                  </a:lnTo>
                  <a:lnTo>
                    <a:pt x="2029" y="2106"/>
                  </a:lnTo>
                  <a:lnTo>
                    <a:pt x="2031" y="2089"/>
                  </a:lnTo>
                  <a:lnTo>
                    <a:pt x="2029" y="2073"/>
                  </a:lnTo>
                  <a:lnTo>
                    <a:pt x="2024" y="2058"/>
                  </a:lnTo>
                  <a:lnTo>
                    <a:pt x="2015" y="2045"/>
                  </a:lnTo>
                  <a:lnTo>
                    <a:pt x="1804" y="1837"/>
                  </a:lnTo>
                  <a:lnTo>
                    <a:pt x="1793" y="1822"/>
                  </a:lnTo>
                  <a:lnTo>
                    <a:pt x="1786" y="1806"/>
                  </a:lnTo>
                  <a:lnTo>
                    <a:pt x="1784" y="1788"/>
                  </a:lnTo>
                  <a:lnTo>
                    <a:pt x="1786" y="1770"/>
                  </a:lnTo>
                  <a:lnTo>
                    <a:pt x="1793" y="1754"/>
                  </a:lnTo>
                  <a:lnTo>
                    <a:pt x="1804" y="1740"/>
                  </a:lnTo>
                  <a:lnTo>
                    <a:pt x="1820" y="1729"/>
                  </a:lnTo>
                  <a:lnTo>
                    <a:pt x="1836" y="1722"/>
                  </a:lnTo>
                  <a:lnTo>
                    <a:pt x="1853" y="1720"/>
                  </a:lnTo>
                  <a:lnTo>
                    <a:pt x="1871" y="1722"/>
                  </a:lnTo>
                  <a:lnTo>
                    <a:pt x="1887" y="1729"/>
                  </a:lnTo>
                  <a:lnTo>
                    <a:pt x="1902" y="1740"/>
                  </a:lnTo>
                  <a:lnTo>
                    <a:pt x="2112" y="1948"/>
                  </a:lnTo>
                  <a:lnTo>
                    <a:pt x="2125" y="1957"/>
                  </a:lnTo>
                  <a:lnTo>
                    <a:pt x="2140" y="1963"/>
                  </a:lnTo>
                  <a:lnTo>
                    <a:pt x="2156" y="1965"/>
                  </a:lnTo>
                  <a:lnTo>
                    <a:pt x="2174" y="1963"/>
                  </a:lnTo>
                  <a:lnTo>
                    <a:pt x="2190" y="1957"/>
                  </a:lnTo>
                  <a:lnTo>
                    <a:pt x="2207" y="1949"/>
                  </a:lnTo>
                  <a:lnTo>
                    <a:pt x="2223" y="1936"/>
                  </a:lnTo>
                  <a:lnTo>
                    <a:pt x="2235" y="1920"/>
                  </a:lnTo>
                  <a:lnTo>
                    <a:pt x="2244" y="1904"/>
                  </a:lnTo>
                  <a:lnTo>
                    <a:pt x="2249" y="1887"/>
                  </a:lnTo>
                  <a:lnTo>
                    <a:pt x="2251" y="1871"/>
                  </a:lnTo>
                  <a:lnTo>
                    <a:pt x="2249" y="1855"/>
                  </a:lnTo>
                  <a:lnTo>
                    <a:pt x="2244" y="1839"/>
                  </a:lnTo>
                  <a:lnTo>
                    <a:pt x="2234" y="1826"/>
                  </a:lnTo>
                  <a:lnTo>
                    <a:pt x="2025" y="1618"/>
                  </a:lnTo>
                  <a:lnTo>
                    <a:pt x="2013" y="1603"/>
                  </a:lnTo>
                  <a:lnTo>
                    <a:pt x="2006" y="1587"/>
                  </a:lnTo>
                  <a:lnTo>
                    <a:pt x="2004" y="1570"/>
                  </a:lnTo>
                  <a:lnTo>
                    <a:pt x="2006" y="1553"/>
                  </a:lnTo>
                  <a:lnTo>
                    <a:pt x="2013" y="1535"/>
                  </a:lnTo>
                  <a:lnTo>
                    <a:pt x="2025" y="1521"/>
                  </a:lnTo>
                  <a:lnTo>
                    <a:pt x="2039" y="1510"/>
                  </a:lnTo>
                  <a:lnTo>
                    <a:pt x="2055" y="1503"/>
                  </a:lnTo>
                  <a:lnTo>
                    <a:pt x="2074" y="1501"/>
                  </a:lnTo>
                  <a:lnTo>
                    <a:pt x="2091" y="1503"/>
                  </a:lnTo>
                  <a:lnTo>
                    <a:pt x="2107" y="1510"/>
                  </a:lnTo>
                  <a:lnTo>
                    <a:pt x="2122" y="1521"/>
                  </a:lnTo>
                  <a:lnTo>
                    <a:pt x="2332" y="1729"/>
                  </a:lnTo>
                  <a:lnTo>
                    <a:pt x="2345" y="1739"/>
                  </a:lnTo>
                  <a:lnTo>
                    <a:pt x="2359" y="1744"/>
                  </a:lnTo>
                  <a:lnTo>
                    <a:pt x="2377" y="1746"/>
                  </a:lnTo>
                  <a:lnTo>
                    <a:pt x="2393" y="1744"/>
                  </a:lnTo>
                  <a:lnTo>
                    <a:pt x="2410" y="1739"/>
                  </a:lnTo>
                  <a:lnTo>
                    <a:pt x="2427" y="1730"/>
                  </a:lnTo>
                  <a:lnTo>
                    <a:pt x="2442" y="1718"/>
                  </a:lnTo>
                  <a:lnTo>
                    <a:pt x="2455" y="1703"/>
                  </a:lnTo>
                  <a:lnTo>
                    <a:pt x="2463" y="1685"/>
                  </a:lnTo>
                  <a:lnTo>
                    <a:pt x="2469" y="1669"/>
                  </a:lnTo>
                  <a:lnTo>
                    <a:pt x="2471" y="1652"/>
                  </a:lnTo>
                  <a:lnTo>
                    <a:pt x="2469" y="1636"/>
                  </a:lnTo>
                  <a:lnTo>
                    <a:pt x="2463" y="1620"/>
                  </a:lnTo>
                  <a:lnTo>
                    <a:pt x="2454" y="1608"/>
                  </a:lnTo>
                  <a:lnTo>
                    <a:pt x="2452" y="1606"/>
                  </a:lnTo>
                  <a:lnTo>
                    <a:pt x="2447" y="1600"/>
                  </a:lnTo>
                  <a:lnTo>
                    <a:pt x="2438" y="1591"/>
                  </a:lnTo>
                  <a:lnTo>
                    <a:pt x="2426" y="1579"/>
                  </a:lnTo>
                  <a:lnTo>
                    <a:pt x="2410" y="1564"/>
                  </a:lnTo>
                  <a:lnTo>
                    <a:pt x="2392" y="1545"/>
                  </a:lnTo>
                  <a:lnTo>
                    <a:pt x="2372" y="1525"/>
                  </a:lnTo>
                  <a:lnTo>
                    <a:pt x="2348" y="1502"/>
                  </a:lnTo>
                  <a:lnTo>
                    <a:pt x="2323" y="1477"/>
                  </a:lnTo>
                  <a:lnTo>
                    <a:pt x="2295" y="1449"/>
                  </a:lnTo>
                  <a:lnTo>
                    <a:pt x="2265" y="1420"/>
                  </a:lnTo>
                  <a:lnTo>
                    <a:pt x="2235" y="1389"/>
                  </a:lnTo>
                  <a:lnTo>
                    <a:pt x="2202" y="1357"/>
                  </a:lnTo>
                  <a:lnTo>
                    <a:pt x="2169" y="1323"/>
                  </a:lnTo>
                  <a:lnTo>
                    <a:pt x="2134" y="1289"/>
                  </a:lnTo>
                  <a:lnTo>
                    <a:pt x="2099" y="1254"/>
                  </a:lnTo>
                  <a:lnTo>
                    <a:pt x="2062" y="1218"/>
                  </a:lnTo>
                  <a:lnTo>
                    <a:pt x="2027" y="1182"/>
                  </a:lnTo>
                  <a:lnTo>
                    <a:pt x="1990" y="1146"/>
                  </a:lnTo>
                  <a:lnTo>
                    <a:pt x="1954" y="1110"/>
                  </a:lnTo>
                  <a:lnTo>
                    <a:pt x="1918" y="1074"/>
                  </a:lnTo>
                  <a:lnTo>
                    <a:pt x="1882" y="1039"/>
                  </a:lnTo>
                  <a:lnTo>
                    <a:pt x="1847" y="1003"/>
                  </a:lnTo>
                  <a:lnTo>
                    <a:pt x="1813" y="970"/>
                  </a:lnTo>
                  <a:lnTo>
                    <a:pt x="1780" y="937"/>
                  </a:lnTo>
                  <a:lnTo>
                    <a:pt x="1748" y="906"/>
                  </a:lnTo>
                  <a:lnTo>
                    <a:pt x="1718" y="875"/>
                  </a:lnTo>
                  <a:lnTo>
                    <a:pt x="1689" y="847"/>
                  </a:lnTo>
                  <a:lnTo>
                    <a:pt x="1663" y="821"/>
                  </a:lnTo>
                  <a:lnTo>
                    <a:pt x="1638" y="797"/>
                  </a:lnTo>
                  <a:lnTo>
                    <a:pt x="1616" y="775"/>
                  </a:lnTo>
                  <a:lnTo>
                    <a:pt x="1596" y="756"/>
                  </a:lnTo>
                  <a:lnTo>
                    <a:pt x="1579" y="740"/>
                  </a:lnTo>
                  <a:lnTo>
                    <a:pt x="1565" y="725"/>
                  </a:lnTo>
                  <a:lnTo>
                    <a:pt x="1560" y="721"/>
                  </a:lnTo>
                  <a:lnTo>
                    <a:pt x="1553" y="715"/>
                  </a:lnTo>
                  <a:lnTo>
                    <a:pt x="1546" y="711"/>
                  </a:lnTo>
                  <a:lnTo>
                    <a:pt x="1537" y="706"/>
                  </a:lnTo>
                  <a:lnTo>
                    <a:pt x="1527" y="704"/>
                  </a:lnTo>
                  <a:lnTo>
                    <a:pt x="1515" y="703"/>
                  </a:lnTo>
                  <a:lnTo>
                    <a:pt x="1501" y="705"/>
                  </a:lnTo>
                  <a:lnTo>
                    <a:pt x="1485" y="711"/>
                  </a:lnTo>
                  <a:lnTo>
                    <a:pt x="1468" y="720"/>
                  </a:lnTo>
                  <a:lnTo>
                    <a:pt x="1449" y="735"/>
                  </a:lnTo>
                  <a:lnTo>
                    <a:pt x="1428" y="754"/>
                  </a:lnTo>
                  <a:lnTo>
                    <a:pt x="1405" y="779"/>
                  </a:lnTo>
                  <a:lnTo>
                    <a:pt x="1383" y="808"/>
                  </a:lnTo>
                  <a:lnTo>
                    <a:pt x="1366" y="837"/>
                  </a:lnTo>
                  <a:lnTo>
                    <a:pt x="1270" y="1012"/>
                  </a:lnTo>
                  <a:lnTo>
                    <a:pt x="1259" y="1031"/>
                  </a:lnTo>
                  <a:lnTo>
                    <a:pt x="1244" y="1050"/>
                  </a:lnTo>
                  <a:lnTo>
                    <a:pt x="1226" y="1069"/>
                  </a:lnTo>
                  <a:lnTo>
                    <a:pt x="1194" y="1096"/>
                  </a:lnTo>
                  <a:lnTo>
                    <a:pt x="1161" y="1119"/>
                  </a:lnTo>
                  <a:lnTo>
                    <a:pt x="1125" y="1136"/>
                  </a:lnTo>
                  <a:lnTo>
                    <a:pt x="1089" y="1147"/>
                  </a:lnTo>
                  <a:lnTo>
                    <a:pt x="1052" y="1153"/>
                  </a:lnTo>
                  <a:lnTo>
                    <a:pt x="1014" y="1153"/>
                  </a:lnTo>
                  <a:lnTo>
                    <a:pt x="976" y="1147"/>
                  </a:lnTo>
                  <a:lnTo>
                    <a:pt x="944" y="1137"/>
                  </a:lnTo>
                  <a:lnTo>
                    <a:pt x="913" y="1123"/>
                  </a:lnTo>
                  <a:lnTo>
                    <a:pt x="883" y="1106"/>
                  </a:lnTo>
                  <a:lnTo>
                    <a:pt x="858" y="1085"/>
                  </a:lnTo>
                  <a:lnTo>
                    <a:pt x="833" y="1061"/>
                  </a:lnTo>
                  <a:lnTo>
                    <a:pt x="813" y="1034"/>
                  </a:lnTo>
                  <a:lnTo>
                    <a:pt x="796" y="1004"/>
                  </a:lnTo>
                  <a:lnTo>
                    <a:pt x="784" y="980"/>
                  </a:lnTo>
                  <a:lnTo>
                    <a:pt x="777" y="955"/>
                  </a:lnTo>
                  <a:lnTo>
                    <a:pt x="772" y="930"/>
                  </a:lnTo>
                  <a:lnTo>
                    <a:pt x="772" y="908"/>
                  </a:lnTo>
                  <a:lnTo>
                    <a:pt x="774" y="886"/>
                  </a:lnTo>
                  <a:lnTo>
                    <a:pt x="781" y="866"/>
                  </a:lnTo>
                  <a:lnTo>
                    <a:pt x="1064" y="203"/>
                  </a:lnTo>
                  <a:lnTo>
                    <a:pt x="1074" y="185"/>
                  </a:lnTo>
                  <a:lnTo>
                    <a:pt x="1086" y="166"/>
                  </a:lnTo>
                  <a:lnTo>
                    <a:pt x="1102" y="147"/>
                  </a:lnTo>
                  <a:lnTo>
                    <a:pt x="1120" y="126"/>
                  </a:lnTo>
                  <a:lnTo>
                    <a:pt x="1130" y="117"/>
                  </a:lnTo>
                  <a:lnTo>
                    <a:pt x="1142" y="106"/>
                  </a:lnTo>
                  <a:lnTo>
                    <a:pt x="1158" y="94"/>
                  </a:lnTo>
                  <a:lnTo>
                    <a:pt x="1176" y="81"/>
                  </a:lnTo>
                  <a:lnTo>
                    <a:pt x="1196" y="67"/>
                  </a:lnTo>
                  <a:lnTo>
                    <a:pt x="1220" y="53"/>
                  </a:lnTo>
                  <a:lnTo>
                    <a:pt x="1245" y="40"/>
                  </a:lnTo>
                  <a:lnTo>
                    <a:pt x="1274" y="28"/>
                  </a:lnTo>
                  <a:lnTo>
                    <a:pt x="1305" y="18"/>
                  </a:lnTo>
                  <a:lnTo>
                    <a:pt x="1338" y="10"/>
                  </a:lnTo>
                  <a:lnTo>
                    <a:pt x="1373" y="3"/>
                  </a:lnTo>
                  <a:lnTo>
                    <a:pt x="1412" y="0"/>
                  </a:lnTo>
                  <a:lnTo>
                    <a:pt x="1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8" name="Freeform 7"/>
            <p:cNvSpPr>
              <a:spLocks noEditPoints="1"/>
            </p:cNvSpPr>
            <p:nvPr/>
          </p:nvSpPr>
          <p:spPr bwMode="auto">
            <a:xfrm>
              <a:off x="7296151" y="1689101"/>
              <a:ext cx="149225" cy="147638"/>
            </a:xfrm>
            <a:custGeom>
              <a:avLst/>
              <a:gdLst>
                <a:gd name="T0" fmla="*/ 671 w 1031"/>
                <a:gd name="T1" fmla="*/ 657 h 1025"/>
                <a:gd name="T2" fmla="*/ 626 w 1031"/>
                <a:gd name="T3" fmla="*/ 679 h 1025"/>
                <a:gd name="T4" fmla="*/ 595 w 1031"/>
                <a:gd name="T5" fmla="*/ 718 h 1025"/>
                <a:gd name="T6" fmla="*/ 584 w 1031"/>
                <a:gd name="T7" fmla="*/ 766 h 1025"/>
                <a:gd name="T8" fmla="*/ 595 w 1031"/>
                <a:gd name="T9" fmla="*/ 817 h 1025"/>
                <a:gd name="T10" fmla="*/ 626 w 1031"/>
                <a:gd name="T11" fmla="*/ 854 h 1025"/>
                <a:gd name="T12" fmla="*/ 671 w 1031"/>
                <a:gd name="T13" fmla="*/ 877 h 1025"/>
                <a:gd name="T14" fmla="*/ 723 w 1031"/>
                <a:gd name="T15" fmla="*/ 877 h 1025"/>
                <a:gd name="T16" fmla="*/ 768 w 1031"/>
                <a:gd name="T17" fmla="*/ 854 h 1025"/>
                <a:gd name="T18" fmla="*/ 800 w 1031"/>
                <a:gd name="T19" fmla="*/ 816 h 1025"/>
                <a:gd name="T20" fmla="*/ 811 w 1031"/>
                <a:gd name="T21" fmla="*/ 766 h 1025"/>
                <a:gd name="T22" fmla="*/ 800 w 1031"/>
                <a:gd name="T23" fmla="*/ 718 h 1025"/>
                <a:gd name="T24" fmla="*/ 768 w 1031"/>
                <a:gd name="T25" fmla="*/ 679 h 1025"/>
                <a:gd name="T26" fmla="*/ 723 w 1031"/>
                <a:gd name="T27" fmla="*/ 657 h 1025"/>
                <a:gd name="T28" fmla="*/ 345 w 1031"/>
                <a:gd name="T29" fmla="*/ 0 h 1025"/>
                <a:gd name="T30" fmla="*/ 391 w 1031"/>
                <a:gd name="T31" fmla="*/ 12 h 1025"/>
                <a:gd name="T32" fmla="*/ 432 w 1031"/>
                <a:gd name="T33" fmla="*/ 39 h 1025"/>
                <a:gd name="T34" fmla="*/ 1007 w 1031"/>
                <a:gd name="T35" fmla="*/ 615 h 1025"/>
                <a:gd name="T36" fmla="*/ 1027 w 1031"/>
                <a:gd name="T37" fmla="*/ 659 h 1025"/>
                <a:gd name="T38" fmla="*/ 1031 w 1031"/>
                <a:gd name="T39" fmla="*/ 705 h 1025"/>
                <a:gd name="T40" fmla="*/ 1019 w 1031"/>
                <a:gd name="T41" fmla="*/ 751 h 1025"/>
                <a:gd name="T42" fmla="*/ 992 w 1031"/>
                <a:gd name="T43" fmla="*/ 791 h 1025"/>
                <a:gd name="T44" fmla="*/ 776 w 1031"/>
                <a:gd name="T45" fmla="*/ 1001 h 1025"/>
                <a:gd name="T46" fmla="*/ 732 w 1031"/>
                <a:gd name="T47" fmla="*/ 1021 h 1025"/>
                <a:gd name="T48" fmla="*/ 686 w 1031"/>
                <a:gd name="T49" fmla="*/ 1025 h 1025"/>
                <a:gd name="T50" fmla="*/ 640 w 1031"/>
                <a:gd name="T51" fmla="*/ 1013 h 1025"/>
                <a:gd name="T52" fmla="*/ 600 w 1031"/>
                <a:gd name="T53" fmla="*/ 985 h 1025"/>
                <a:gd name="T54" fmla="*/ 24 w 1031"/>
                <a:gd name="T55" fmla="*/ 409 h 1025"/>
                <a:gd name="T56" fmla="*/ 4 w 1031"/>
                <a:gd name="T57" fmla="*/ 367 h 1025"/>
                <a:gd name="T58" fmla="*/ 0 w 1031"/>
                <a:gd name="T59" fmla="*/ 320 h 1025"/>
                <a:gd name="T60" fmla="*/ 11 w 1031"/>
                <a:gd name="T61" fmla="*/ 275 h 1025"/>
                <a:gd name="T62" fmla="*/ 40 w 1031"/>
                <a:gd name="T63" fmla="*/ 234 h 1025"/>
                <a:gd name="T64" fmla="*/ 255 w 1031"/>
                <a:gd name="T65" fmla="*/ 24 h 1025"/>
                <a:gd name="T66" fmla="*/ 298 w 1031"/>
                <a:gd name="T67" fmla="*/ 4 h 1025"/>
                <a:gd name="T68" fmla="*/ 345 w 1031"/>
                <a:gd name="T69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31" h="1025">
                  <a:moveTo>
                    <a:pt x="698" y="654"/>
                  </a:moveTo>
                  <a:lnTo>
                    <a:pt x="671" y="657"/>
                  </a:lnTo>
                  <a:lnTo>
                    <a:pt x="648" y="665"/>
                  </a:lnTo>
                  <a:lnTo>
                    <a:pt x="626" y="679"/>
                  </a:lnTo>
                  <a:lnTo>
                    <a:pt x="609" y="696"/>
                  </a:lnTo>
                  <a:lnTo>
                    <a:pt x="595" y="718"/>
                  </a:lnTo>
                  <a:lnTo>
                    <a:pt x="587" y="741"/>
                  </a:lnTo>
                  <a:lnTo>
                    <a:pt x="584" y="766"/>
                  </a:lnTo>
                  <a:lnTo>
                    <a:pt x="587" y="793"/>
                  </a:lnTo>
                  <a:lnTo>
                    <a:pt x="595" y="817"/>
                  </a:lnTo>
                  <a:lnTo>
                    <a:pt x="609" y="837"/>
                  </a:lnTo>
                  <a:lnTo>
                    <a:pt x="626" y="854"/>
                  </a:lnTo>
                  <a:lnTo>
                    <a:pt x="648" y="868"/>
                  </a:lnTo>
                  <a:lnTo>
                    <a:pt x="671" y="877"/>
                  </a:lnTo>
                  <a:lnTo>
                    <a:pt x="698" y="880"/>
                  </a:lnTo>
                  <a:lnTo>
                    <a:pt x="723" y="877"/>
                  </a:lnTo>
                  <a:lnTo>
                    <a:pt x="748" y="868"/>
                  </a:lnTo>
                  <a:lnTo>
                    <a:pt x="768" y="854"/>
                  </a:lnTo>
                  <a:lnTo>
                    <a:pt x="785" y="837"/>
                  </a:lnTo>
                  <a:lnTo>
                    <a:pt x="800" y="816"/>
                  </a:lnTo>
                  <a:lnTo>
                    <a:pt x="808" y="793"/>
                  </a:lnTo>
                  <a:lnTo>
                    <a:pt x="811" y="766"/>
                  </a:lnTo>
                  <a:lnTo>
                    <a:pt x="808" y="741"/>
                  </a:lnTo>
                  <a:lnTo>
                    <a:pt x="800" y="718"/>
                  </a:lnTo>
                  <a:lnTo>
                    <a:pt x="785" y="696"/>
                  </a:lnTo>
                  <a:lnTo>
                    <a:pt x="768" y="679"/>
                  </a:lnTo>
                  <a:lnTo>
                    <a:pt x="748" y="665"/>
                  </a:lnTo>
                  <a:lnTo>
                    <a:pt x="723" y="657"/>
                  </a:lnTo>
                  <a:lnTo>
                    <a:pt x="698" y="654"/>
                  </a:lnTo>
                  <a:close/>
                  <a:moveTo>
                    <a:pt x="345" y="0"/>
                  </a:moveTo>
                  <a:lnTo>
                    <a:pt x="368" y="4"/>
                  </a:lnTo>
                  <a:lnTo>
                    <a:pt x="391" y="12"/>
                  </a:lnTo>
                  <a:lnTo>
                    <a:pt x="412" y="24"/>
                  </a:lnTo>
                  <a:lnTo>
                    <a:pt x="432" y="39"/>
                  </a:lnTo>
                  <a:lnTo>
                    <a:pt x="992" y="596"/>
                  </a:lnTo>
                  <a:lnTo>
                    <a:pt x="1007" y="615"/>
                  </a:lnTo>
                  <a:lnTo>
                    <a:pt x="1019" y="637"/>
                  </a:lnTo>
                  <a:lnTo>
                    <a:pt x="1027" y="659"/>
                  </a:lnTo>
                  <a:lnTo>
                    <a:pt x="1031" y="682"/>
                  </a:lnTo>
                  <a:lnTo>
                    <a:pt x="1031" y="705"/>
                  </a:lnTo>
                  <a:lnTo>
                    <a:pt x="1027" y="729"/>
                  </a:lnTo>
                  <a:lnTo>
                    <a:pt x="1019" y="751"/>
                  </a:lnTo>
                  <a:lnTo>
                    <a:pt x="1007" y="771"/>
                  </a:lnTo>
                  <a:lnTo>
                    <a:pt x="992" y="791"/>
                  </a:lnTo>
                  <a:lnTo>
                    <a:pt x="796" y="985"/>
                  </a:lnTo>
                  <a:lnTo>
                    <a:pt x="776" y="1001"/>
                  </a:lnTo>
                  <a:lnTo>
                    <a:pt x="755" y="1013"/>
                  </a:lnTo>
                  <a:lnTo>
                    <a:pt x="732" y="1021"/>
                  </a:lnTo>
                  <a:lnTo>
                    <a:pt x="709" y="1025"/>
                  </a:lnTo>
                  <a:lnTo>
                    <a:pt x="686" y="1025"/>
                  </a:lnTo>
                  <a:lnTo>
                    <a:pt x="663" y="1021"/>
                  </a:lnTo>
                  <a:lnTo>
                    <a:pt x="640" y="1013"/>
                  </a:lnTo>
                  <a:lnTo>
                    <a:pt x="619" y="1001"/>
                  </a:lnTo>
                  <a:lnTo>
                    <a:pt x="600" y="985"/>
                  </a:lnTo>
                  <a:lnTo>
                    <a:pt x="40" y="429"/>
                  </a:lnTo>
                  <a:lnTo>
                    <a:pt x="24" y="409"/>
                  </a:lnTo>
                  <a:lnTo>
                    <a:pt x="11" y="389"/>
                  </a:lnTo>
                  <a:lnTo>
                    <a:pt x="4" y="367"/>
                  </a:lnTo>
                  <a:lnTo>
                    <a:pt x="0" y="344"/>
                  </a:lnTo>
                  <a:lnTo>
                    <a:pt x="0" y="320"/>
                  </a:lnTo>
                  <a:lnTo>
                    <a:pt x="4" y="297"/>
                  </a:lnTo>
                  <a:lnTo>
                    <a:pt x="11" y="275"/>
                  </a:lnTo>
                  <a:lnTo>
                    <a:pt x="24" y="253"/>
                  </a:lnTo>
                  <a:lnTo>
                    <a:pt x="40" y="234"/>
                  </a:lnTo>
                  <a:lnTo>
                    <a:pt x="236" y="39"/>
                  </a:lnTo>
                  <a:lnTo>
                    <a:pt x="255" y="24"/>
                  </a:lnTo>
                  <a:lnTo>
                    <a:pt x="275" y="12"/>
                  </a:lnTo>
                  <a:lnTo>
                    <a:pt x="298" y="4"/>
                  </a:lnTo>
                  <a:lnTo>
                    <a:pt x="321" y="0"/>
                  </a:lnTo>
                  <a:lnTo>
                    <a:pt x="3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99" name="Freeform 12"/>
          <p:cNvSpPr>
            <a:spLocks noEditPoints="1"/>
          </p:cNvSpPr>
          <p:nvPr userDrawn="1"/>
        </p:nvSpPr>
        <p:spPr bwMode="auto">
          <a:xfrm>
            <a:off x="6772449" y="6140606"/>
            <a:ext cx="468179" cy="426553"/>
          </a:xfrm>
          <a:custGeom>
            <a:avLst/>
            <a:gdLst>
              <a:gd name="T0" fmla="*/ 3526 w 3526"/>
              <a:gd name="T1" fmla="*/ 2803 h 2803"/>
              <a:gd name="T2" fmla="*/ 0 w 3526"/>
              <a:gd name="T3" fmla="*/ 1227 h 2803"/>
              <a:gd name="T4" fmla="*/ 69 w 3526"/>
              <a:gd name="T5" fmla="*/ 1291 h 2803"/>
              <a:gd name="T6" fmla="*/ 150 w 3526"/>
              <a:gd name="T7" fmla="*/ 1340 h 2803"/>
              <a:gd name="T8" fmla="*/ 241 w 3526"/>
              <a:gd name="T9" fmla="*/ 1372 h 2803"/>
              <a:gd name="T10" fmla="*/ 341 w 3526"/>
              <a:gd name="T11" fmla="*/ 1382 h 2803"/>
              <a:gd name="T12" fmla="*/ 513 w 3526"/>
              <a:gd name="T13" fmla="*/ 1663 h 2803"/>
              <a:gd name="T14" fmla="*/ 921 w 3526"/>
              <a:gd name="T15" fmla="*/ 1382 h 2803"/>
              <a:gd name="T16" fmla="*/ 2494 w 3526"/>
              <a:gd name="T17" fmla="*/ 1663 h 2803"/>
              <a:gd name="T18" fmla="*/ 2900 w 3526"/>
              <a:gd name="T19" fmla="*/ 1382 h 2803"/>
              <a:gd name="T20" fmla="*/ 3223 w 3526"/>
              <a:gd name="T21" fmla="*/ 1379 h 2803"/>
              <a:gd name="T22" fmla="*/ 3323 w 3526"/>
              <a:gd name="T23" fmla="*/ 1355 h 2803"/>
              <a:gd name="T24" fmla="*/ 3414 w 3526"/>
              <a:gd name="T25" fmla="*/ 1309 h 2803"/>
              <a:gd name="T26" fmla="*/ 3492 w 3526"/>
              <a:gd name="T27" fmla="*/ 1245 h 2803"/>
              <a:gd name="T28" fmla="*/ 1317 w 3526"/>
              <a:gd name="T29" fmla="*/ 133 h 2803"/>
              <a:gd name="T30" fmla="*/ 2217 w 3526"/>
              <a:gd name="T31" fmla="*/ 350 h 2803"/>
              <a:gd name="T32" fmla="*/ 1317 w 3526"/>
              <a:gd name="T33" fmla="*/ 133 h 2803"/>
              <a:gd name="T34" fmla="*/ 2284 w 3526"/>
              <a:gd name="T35" fmla="*/ 0 h 2803"/>
              <a:gd name="T36" fmla="*/ 2317 w 3526"/>
              <a:gd name="T37" fmla="*/ 9 h 2803"/>
              <a:gd name="T38" fmla="*/ 2341 w 3526"/>
              <a:gd name="T39" fmla="*/ 32 h 2803"/>
              <a:gd name="T40" fmla="*/ 2350 w 3526"/>
              <a:gd name="T41" fmla="*/ 67 h 2803"/>
              <a:gd name="T42" fmla="*/ 3526 w 3526"/>
              <a:gd name="T43" fmla="*/ 350 h 2803"/>
              <a:gd name="T44" fmla="*/ 3514 w 3526"/>
              <a:gd name="T45" fmla="*/ 1041 h 2803"/>
              <a:gd name="T46" fmla="*/ 3476 w 3526"/>
              <a:gd name="T47" fmla="*/ 1123 h 2803"/>
              <a:gd name="T48" fmla="*/ 3420 w 3526"/>
              <a:gd name="T49" fmla="*/ 1193 h 2803"/>
              <a:gd name="T50" fmla="*/ 3347 w 3526"/>
              <a:gd name="T51" fmla="*/ 1246 h 2803"/>
              <a:gd name="T52" fmla="*/ 3263 w 3526"/>
              <a:gd name="T53" fmla="*/ 1281 h 2803"/>
              <a:gd name="T54" fmla="*/ 3169 w 3526"/>
              <a:gd name="T55" fmla="*/ 1293 h 2803"/>
              <a:gd name="T56" fmla="*/ 2900 w 3526"/>
              <a:gd name="T57" fmla="*/ 1184 h 2803"/>
              <a:gd name="T58" fmla="*/ 2494 w 3526"/>
              <a:gd name="T59" fmla="*/ 1293 h 2803"/>
              <a:gd name="T60" fmla="*/ 921 w 3526"/>
              <a:gd name="T61" fmla="*/ 1184 h 2803"/>
              <a:gd name="T62" fmla="*/ 513 w 3526"/>
              <a:gd name="T63" fmla="*/ 1293 h 2803"/>
              <a:gd name="T64" fmla="*/ 294 w 3526"/>
              <a:gd name="T65" fmla="*/ 1291 h 2803"/>
              <a:gd name="T66" fmla="*/ 208 w 3526"/>
              <a:gd name="T67" fmla="*/ 1268 h 2803"/>
              <a:gd name="T68" fmla="*/ 131 w 3526"/>
              <a:gd name="T69" fmla="*/ 1226 h 2803"/>
              <a:gd name="T70" fmla="*/ 66 w 3526"/>
              <a:gd name="T71" fmla="*/ 1167 h 2803"/>
              <a:gd name="T72" fmla="*/ 17 w 3526"/>
              <a:gd name="T73" fmla="*/ 1094 h 2803"/>
              <a:gd name="T74" fmla="*/ 0 w 3526"/>
              <a:gd name="T75" fmla="*/ 350 h 2803"/>
              <a:gd name="T76" fmla="*/ 1182 w 3526"/>
              <a:gd name="T77" fmla="*/ 67 h 2803"/>
              <a:gd name="T78" fmla="*/ 1192 w 3526"/>
              <a:gd name="T79" fmla="*/ 32 h 2803"/>
              <a:gd name="T80" fmla="*/ 1216 w 3526"/>
              <a:gd name="T81" fmla="*/ 9 h 2803"/>
              <a:gd name="T82" fmla="*/ 1250 w 3526"/>
              <a:gd name="T83" fmla="*/ 0 h 2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526" h="2803">
                <a:moveTo>
                  <a:pt x="3526" y="1207"/>
                </a:moveTo>
                <a:lnTo>
                  <a:pt x="3526" y="2803"/>
                </a:lnTo>
                <a:lnTo>
                  <a:pt x="0" y="2803"/>
                </a:lnTo>
                <a:lnTo>
                  <a:pt x="0" y="1227"/>
                </a:lnTo>
                <a:lnTo>
                  <a:pt x="32" y="1260"/>
                </a:lnTo>
                <a:lnTo>
                  <a:pt x="69" y="1291"/>
                </a:lnTo>
                <a:lnTo>
                  <a:pt x="108" y="1318"/>
                </a:lnTo>
                <a:lnTo>
                  <a:pt x="150" y="1340"/>
                </a:lnTo>
                <a:lnTo>
                  <a:pt x="195" y="1359"/>
                </a:lnTo>
                <a:lnTo>
                  <a:pt x="241" y="1372"/>
                </a:lnTo>
                <a:lnTo>
                  <a:pt x="290" y="1379"/>
                </a:lnTo>
                <a:lnTo>
                  <a:pt x="341" y="1382"/>
                </a:lnTo>
                <a:lnTo>
                  <a:pt x="513" y="1382"/>
                </a:lnTo>
                <a:lnTo>
                  <a:pt x="513" y="1663"/>
                </a:lnTo>
                <a:lnTo>
                  <a:pt x="921" y="1663"/>
                </a:lnTo>
                <a:lnTo>
                  <a:pt x="921" y="1382"/>
                </a:lnTo>
                <a:lnTo>
                  <a:pt x="2494" y="1382"/>
                </a:lnTo>
                <a:lnTo>
                  <a:pt x="2494" y="1663"/>
                </a:lnTo>
                <a:lnTo>
                  <a:pt x="2900" y="1663"/>
                </a:lnTo>
                <a:lnTo>
                  <a:pt x="2900" y="1382"/>
                </a:lnTo>
                <a:lnTo>
                  <a:pt x="3169" y="1382"/>
                </a:lnTo>
                <a:lnTo>
                  <a:pt x="3223" y="1379"/>
                </a:lnTo>
                <a:lnTo>
                  <a:pt x="3275" y="1371"/>
                </a:lnTo>
                <a:lnTo>
                  <a:pt x="3323" y="1355"/>
                </a:lnTo>
                <a:lnTo>
                  <a:pt x="3371" y="1335"/>
                </a:lnTo>
                <a:lnTo>
                  <a:pt x="3414" y="1309"/>
                </a:lnTo>
                <a:lnTo>
                  <a:pt x="3455" y="1280"/>
                </a:lnTo>
                <a:lnTo>
                  <a:pt x="3492" y="1245"/>
                </a:lnTo>
                <a:lnTo>
                  <a:pt x="3526" y="1207"/>
                </a:lnTo>
                <a:close/>
                <a:moveTo>
                  <a:pt x="1317" y="133"/>
                </a:moveTo>
                <a:lnTo>
                  <a:pt x="1317" y="350"/>
                </a:lnTo>
                <a:lnTo>
                  <a:pt x="2217" y="350"/>
                </a:lnTo>
                <a:lnTo>
                  <a:pt x="2217" y="133"/>
                </a:lnTo>
                <a:lnTo>
                  <a:pt x="1317" y="133"/>
                </a:lnTo>
                <a:close/>
                <a:moveTo>
                  <a:pt x="1250" y="0"/>
                </a:moveTo>
                <a:lnTo>
                  <a:pt x="2284" y="0"/>
                </a:lnTo>
                <a:lnTo>
                  <a:pt x="2301" y="2"/>
                </a:lnTo>
                <a:lnTo>
                  <a:pt x="2317" y="9"/>
                </a:lnTo>
                <a:lnTo>
                  <a:pt x="2330" y="19"/>
                </a:lnTo>
                <a:lnTo>
                  <a:pt x="2341" y="32"/>
                </a:lnTo>
                <a:lnTo>
                  <a:pt x="2348" y="49"/>
                </a:lnTo>
                <a:lnTo>
                  <a:pt x="2350" y="67"/>
                </a:lnTo>
                <a:lnTo>
                  <a:pt x="2350" y="350"/>
                </a:lnTo>
                <a:lnTo>
                  <a:pt x="3526" y="350"/>
                </a:lnTo>
                <a:lnTo>
                  <a:pt x="3526" y="995"/>
                </a:lnTo>
                <a:lnTo>
                  <a:pt x="3514" y="1041"/>
                </a:lnTo>
                <a:lnTo>
                  <a:pt x="3498" y="1083"/>
                </a:lnTo>
                <a:lnTo>
                  <a:pt x="3476" y="1123"/>
                </a:lnTo>
                <a:lnTo>
                  <a:pt x="3450" y="1160"/>
                </a:lnTo>
                <a:lnTo>
                  <a:pt x="3420" y="1193"/>
                </a:lnTo>
                <a:lnTo>
                  <a:pt x="3385" y="1221"/>
                </a:lnTo>
                <a:lnTo>
                  <a:pt x="3347" y="1246"/>
                </a:lnTo>
                <a:lnTo>
                  <a:pt x="3306" y="1267"/>
                </a:lnTo>
                <a:lnTo>
                  <a:pt x="3263" y="1281"/>
                </a:lnTo>
                <a:lnTo>
                  <a:pt x="3216" y="1291"/>
                </a:lnTo>
                <a:lnTo>
                  <a:pt x="3169" y="1293"/>
                </a:lnTo>
                <a:lnTo>
                  <a:pt x="2900" y="1293"/>
                </a:lnTo>
                <a:lnTo>
                  <a:pt x="2900" y="1184"/>
                </a:lnTo>
                <a:lnTo>
                  <a:pt x="2494" y="1184"/>
                </a:lnTo>
                <a:lnTo>
                  <a:pt x="2494" y="1293"/>
                </a:lnTo>
                <a:lnTo>
                  <a:pt x="921" y="1293"/>
                </a:lnTo>
                <a:lnTo>
                  <a:pt x="921" y="1184"/>
                </a:lnTo>
                <a:lnTo>
                  <a:pt x="513" y="1184"/>
                </a:lnTo>
                <a:lnTo>
                  <a:pt x="513" y="1293"/>
                </a:lnTo>
                <a:lnTo>
                  <a:pt x="341" y="1293"/>
                </a:lnTo>
                <a:lnTo>
                  <a:pt x="294" y="1291"/>
                </a:lnTo>
                <a:lnTo>
                  <a:pt x="250" y="1282"/>
                </a:lnTo>
                <a:lnTo>
                  <a:pt x="208" y="1268"/>
                </a:lnTo>
                <a:lnTo>
                  <a:pt x="168" y="1249"/>
                </a:lnTo>
                <a:lnTo>
                  <a:pt x="131" y="1226"/>
                </a:lnTo>
                <a:lnTo>
                  <a:pt x="96" y="1198"/>
                </a:lnTo>
                <a:lnTo>
                  <a:pt x="66" y="1167"/>
                </a:lnTo>
                <a:lnTo>
                  <a:pt x="40" y="1132"/>
                </a:lnTo>
                <a:lnTo>
                  <a:pt x="17" y="1094"/>
                </a:lnTo>
                <a:lnTo>
                  <a:pt x="0" y="1054"/>
                </a:lnTo>
                <a:lnTo>
                  <a:pt x="0" y="350"/>
                </a:lnTo>
                <a:lnTo>
                  <a:pt x="1182" y="350"/>
                </a:lnTo>
                <a:lnTo>
                  <a:pt x="1182" y="67"/>
                </a:lnTo>
                <a:lnTo>
                  <a:pt x="1185" y="49"/>
                </a:lnTo>
                <a:lnTo>
                  <a:pt x="1192" y="32"/>
                </a:lnTo>
                <a:lnTo>
                  <a:pt x="1202" y="19"/>
                </a:lnTo>
                <a:lnTo>
                  <a:pt x="1216" y="9"/>
                </a:lnTo>
                <a:lnTo>
                  <a:pt x="1232" y="2"/>
                </a:lnTo>
                <a:lnTo>
                  <a:pt x="125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133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00" name="Group 199"/>
          <p:cNvGrpSpPr/>
          <p:nvPr userDrawn="1"/>
        </p:nvGrpSpPr>
        <p:grpSpPr>
          <a:xfrm>
            <a:off x="3705665" y="5280883"/>
            <a:ext cx="451611" cy="405511"/>
            <a:chOff x="5976938" y="1301751"/>
            <a:chExt cx="481013" cy="376238"/>
          </a:xfrm>
          <a:solidFill>
            <a:schemeClr val="bg1"/>
          </a:solidFill>
        </p:grpSpPr>
        <p:sp>
          <p:nvSpPr>
            <p:cNvPr id="201" name="Freeform 17"/>
            <p:cNvSpPr>
              <a:spLocks/>
            </p:cNvSpPr>
            <p:nvPr/>
          </p:nvSpPr>
          <p:spPr bwMode="auto">
            <a:xfrm>
              <a:off x="6059488" y="1635126"/>
              <a:ext cx="315913" cy="42863"/>
            </a:xfrm>
            <a:custGeom>
              <a:avLst/>
              <a:gdLst>
                <a:gd name="T0" fmla="*/ 151 w 2195"/>
                <a:gd name="T1" fmla="*/ 0 h 299"/>
                <a:gd name="T2" fmla="*/ 2043 w 2195"/>
                <a:gd name="T3" fmla="*/ 0 h 299"/>
                <a:gd name="T4" fmla="*/ 2074 w 2195"/>
                <a:gd name="T5" fmla="*/ 3 h 299"/>
                <a:gd name="T6" fmla="*/ 2102 w 2195"/>
                <a:gd name="T7" fmla="*/ 12 h 299"/>
                <a:gd name="T8" fmla="*/ 2128 w 2195"/>
                <a:gd name="T9" fmla="*/ 26 h 299"/>
                <a:gd name="T10" fmla="*/ 2150 w 2195"/>
                <a:gd name="T11" fmla="*/ 44 h 299"/>
                <a:gd name="T12" fmla="*/ 2169 w 2195"/>
                <a:gd name="T13" fmla="*/ 66 h 299"/>
                <a:gd name="T14" fmla="*/ 2183 w 2195"/>
                <a:gd name="T15" fmla="*/ 91 h 299"/>
                <a:gd name="T16" fmla="*/ 2192 w 2195"/>
                <a:gd name="T17" fmla="*/ 120 h 299"/>
                <a:gd name="T18" fmla="*/ 2195 w 2195"/>
                <a:gd name="T19" fmla="*/ 150 h 299"/>
                <a:gd name="T20" fmla="*/ 2192 w 2195"/>
                <a:gd name="T21" fmla="*/ 180 h 299"/>
                <a:gd name="T22" fmla="*/ 2183 w 2195"/>
                <a:gd name="T23" fmla="*/ 208 h 299"/>
                <a:gd name="T24" fmla="*/ 2169 w 2195"/>
                <a:gd name="T25" fmla="*/ 233 h 299"/>
                <a:gd name="T26" fmla="*/ 2150 w 2195"/>
                <a:gd name="T27" fmla="*/ 255 h 299"/>
                <a:gd name="T28" fmla="*/ 2128 w 2195"/>
                <a:gd name="T29" fmla="*/ 273 h 299"/>
                <a:gd name="T30" fmla="*/ 2102 w 2195"/>
                <a:gd name="T31" fmla="*/ 287 h 299"/>
                <a:gd name="T32" fmla="*/ 2074 w 2195"/>
                <a:gd name="T33" fmla="*/ 296 h 299"/>
                <a:gd name="T34" fmla="*/ 2043 w 2195"/>
                <a:gd name="T35" fmla="*/ 299 h 299"/>
                <a:gd name="T36" fmla="*/ 151 w 2195"/>
                <a:gd name="T37" fmla="*/ 299 h 299"/>
                <a:gd name="T38" fmla="*/ 121 w 2195"/>
                <a:gd name="T39" fmla="*/ 296 h 299"/>
                <a:gd name="T40" fmla="*/ 92 w 2195"/>
                <a:gd name="T41" fmla="*/ 287 h 299"/>
                <a:gd name="T42" fmla="*/ 66 w 2195"/>
                <a:gd name="T43" fmla="*/ 273 h 299"/>
                <a:gd name="T44" fmla="*/ 44 w 2195"/>
                <a:gd name="T45" fmla="*/ 255 h 299"/>
                <a:gd name="T46" fmla="*/ 26 w 2195"/>
                <a:gd name="T47" fmla="*/ 233 h 299"/>
                <a:gd name="T48" fmla="*/ 11 w 2195"/>
                <a:gd name="T49" fmla="*/ 208 h 299"/>
                <a:gd name="T50" fmla="*/ 3 w 2195"/>
                <a:gd name="T51" fmla="*/ 180 h 299"/>
                <a:gd name="T52" fmla="*/ 0 w 2195"/>
                <a:gd name="T53" fmla="*/ 150 h 299"/>
                <a:gd name="T54" fmla="*/ 3 w 2195"/>
                <a:gd name="T55" fmla="*/ 120 h 299"/>
                <a:gd name="T56" fmla="*/ 11 w 2195"/>
                <a:gd name="T57" fmla="*/ 91 h 299"/>
                <a:gd name="T58" fmla="*/ 26 w 2195"/>
                <a:gd name="T59" fmla="*/ 66 h 299"/>
                <a:gd name="T60" fmla="*/ 44 w 2195"/>
                <a:gd name="T61" fmla="*/ 44 h 299"/>
                <a:gd name="T62" fmla="*/ 66 w 2195"/>
                <a:gd name="T63" fmla="*/ 26 h 299"/>
                <a:gd name="T64" fmla="*/ 92 w 2195"/>
                <a:gd name="T65" fmla="*/ 12 h 299"/>
                <a:gd name="T66" fmla="*/ 121 w 2195"/>
                <a:gd name="T67" fmla="*/ 3 h 299"/>
                <a:gd name="T68" fmla="*/ 151 w 2195"/>
                <a:gd name="T69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5" h="299">
                  <a:moveTo>
                    <a:pt x="151" y="0"/>
                  </a:moveTo>
                  <a:lnTo>
                    <a:pt x="2043" y="0"/>
                  </a:lnTo>
                  <a:lnTo>
                    <a:pt x="2074" y="3"/>
                  </a:lnTo>
                  <a:lnTo>
                    <a:pt x="2102" y="12"/>
                  </a:lnTo>
                  <a:lnTo>
                    <a:pt x="2128" y="26"/>
                  </a:lnTo>
                  <a:lnTo>
                    <a:pt x="2150" y="44"/>
                  </a:lnTo>
                  <a:lnTo>
                    <a:pt x="2169" y="66"/>
                  </a:lnTo>
                  <a:lnTo>
                    <a:pt x="2183" y="91"/>
                  </a:lnTo>
                  <a:lnTo>
                    <a:pt x="2192" y="120"/>
                  </a:lnTo>
                  <a:lnTo>
                    <a:pt x="2195" y="150"/>
                  </a:lnTo>
                  <a:lnTo>
                    <a:pt x="2192" y="180"/>
                  </a:lnTo>
                  <a:lnTo>
                    <a:pt x="2183" y="208"/>
                  </a:lnTo>
                  <a:lnTo>
                    <a:pt x="2169" y="233"/>
                  </a:lnTo>
                  <a:lnTo>
                    <a:pt x="2150" y="255"/>
                  </a:lnTo>
                  <a:lnTo>
                    <a:pt x="2128" y="273"/>
                  </a:lnTo>
                  <a:lnTo>
                    <a:pt x="2102" y="287"/>
                  </a:lnTo>
                  <a:lnTo>
                    <a:pt x="2074" y="296"/>
                  </a:lnTo>
                  <a:lnTo>
                    <a:pt x="2043" y="299"/>
                  </a:lnTo>
                  <a:lnTo>
                    <a:pt x="151" y="299"/>
                  </a:lnTo>
                  <a:lnTo>
                    <a:pt x="121" y="296"/>
                  </a:lnTo>
                  <a:lnTo>
                    <a:pt x="92" y="287"/>
                  </a:lnTo>
                  <a:lnTo>
                    <a:pt x="66" y="273"/>
                  </a:lnTo>
                  <a:lnTo>
                    <a:pt x="44" y="255"/>
                  </a:lnTo>
                  <a:lnTo>
                    <a:pt x="26" y="233"/>
                  </a:lnTo>
                  <a:lnTo>
                    <a:pt x="11" y="208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1" y="91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2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2" name="Freeform 18"/>
            <p:cNvSpPr>
              <a:spLocks/>
            </p:cNvSpPr>
            <p:nvPr/>
          </p:nvSpPr>
          <p:spPr bwMode="auto">
            <a:xfrm>
              <a:off x="6053138" y="1457326"/>
              <a:ext cx="33338" cy="85725"/>
            </a:xfrm>
            <a:custGeom>
              <a:avLst/>
              <a:gdLst>
                <a:gd name="T0" fmla="*/ 115 w 228"/>
                <a:gd name="T1" fmla="*/ 0 h 596"/>
                <a:gd name="T2" fmla="*/ 140 w 228"/>
                <a:gd name="T3" fmla="*/ 3 h 596"/>
                <a:gd name="T4" fmla="*/ 165 w 228"/>
                <a:gd name="T5" fmla="*/ 11 h 596"/>
                <a:gd name="T6" fmla="*/ 186 w 228"/>
                <a:gd name="T7" fmla="*/ 24 h 596"/>
                <a:gd name="T8" fmla="*/ 203 w 228"/>
                <a:gd name="T9" fmla="*/ 42 h 596"/>
                <a:gd name="T10" fmla="*/ 217 w 228"/>
                <a:gd name="T11" fmla="*/ 62 h 596"/>
                <a:gd name="T12" fmla="*/ 225 w 228"/>
                <a:gd name="T13" fmla="*/ 86 h 596"/>
                <a:gd name="T14" fmla="*/ 228 w 228"/>
                <a:gd name="T15" fmla="*/ 111 h 596"/>
                <a:gd name="T16" fmla="*/ 228 w 228"/>
                <a:gd name="T17" fmla="*/ 484 h 596"/>
                <a:gd name="T18" fmla="*/ 225 w 228"/>
                <a:gd name="T19" fmla="*/ 510 h 596"/>
                <a:gd name="T20" fmla="*/ 217 w 228"/>
                <a:gd name="T21" fmla="*/ 533 h 596"/>
                <a:gd name="T22" fmla="*/ 203 w 228"/>
                <a:gd name="T23" fmla="*/ 555 h 596"/>
                <a:gd name="T24" fmla="*/ 186 w 228"/>
                <a:gd name="T25" fmla="*/ 572 h 596"/>
                <a:gd name="T26" fmla="*/ 165 w 228"/>
                <a:gd name="T27" fmla="*/ 585 h 596"/>
                <a:gd name="T28" fmla="*/ 140 w 228"/>
                <a:gd name="T29" fmla="*/ 594 h 596"/>
                <a:gd name="T30" fmla="*/ 115 w 228"/>
                <a:gd name="T31" fmla="*/ 596 h 596"/>
                <a:gd name="T32" fmla="*/ 88 w 228"/>
                <a:gd name="T33" fmla="*/ 594 h 596"/>
                <a:gd name="T34" fmla="*/ 65 w 228"/>
                <a:gd name="T35" fmla="*/ 585 h 596"/>
                <a:gd name="T36" fmla="*/ 43 w 228"/>
                <a:gd name="T37" fmla="*/ 572 h 596"/>
                <a:gd name="T38" fmla="*/ 26 w 228"/>
                <a:gd name="T39" fmla="*/ 555 h 596"/>
                <a:gd name="T40" fmla="*/ 13 w 228"/>
                <a:gd name="T41" fmla="*/ 533 h 596"/>
                <a:gd name="T42" fmla="*/ 3 w 228"/>
                <a:gd name="T43" fmla="*/ 510 h 596"/>
                <a:gd name="T44" fmla="*/ 0 w 228"/>
                <a:gd name="T45" fmla="*/ 484 h 596"/>
                <a:gd name="T46" fmla="*/ 0 w 228"/>
                <a:gd name="T47" fmla="*/ 111 h 596"/>
                <a:gd name="T48" fmla="*/ 3 w 228"/>
                <a:gd name="T49" fmla="*/ 86 h 596"/>
                <a:gd name="T50" fmla="*/ 13 w 228"/>
                <a:gd name="T51" fmla="*/ 62 h 596"/>
                <a:gd name="T52" fmla="*/ 26 w 228"/>
                <a:gd name="T53" fmla="*/ 42 h 596"/>
                <a:gd name="T54" fmla="*/ 43 w 228"/>
                <a:gd name="T55" fmla="*/ 24 h 596"/>
                <a:gd name="T56" fmla="*/ 65 w 228"/>
                <a:gd name="T57" fmla="*/ 11 h 596"/>
                <a:gd name="T58" fmla="*/ 88 w 228"/>
                <a:gd name="T59" fmla="*/ 3 h 596"/>
                <a:gd name="T60" fmla="*/ 115 w 228"/>
                <a:gd name="T61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8" h="596">
                  <a:moveTo>
                    <a:pt x="115" y="0"/>
                  </a:moveTo>
                  <a:lnTo>
                    <a:pt x="140" y="3"/>
                  </a:lnTo>
                  <a:lnTo>
                    <a:pt x="165" y="11"/>
                  </a:lnTo>
                  <a:lnTo>
                    <a:pt x="186" y="24"/>
                  </a:lnTo>
                  <a:lnTo>
                    <a:pt x="203" y="42"/>
                  </a:lnTo>
                  <a:lnTo>
                    <a:pt x="217" y="62"/>
                  </a:lnTo>
                  <a:lnTo>
                    <a:pt x="225" y="86"/>
                  </a:lnTo>
                  <a:lnTo>
                    <a:pt x="228" y="111"/>
                  </a:lnTo>
                  <a:lnTo>
                    <a:pt x="228" y="484"/>
                  </a:lnTo>
                  <a:lnTo>
                    <a:pt x="225" y="510"/>
                  </a:lnTo>
                  <a:lnTo>
                    <a:pt x="217" y="533"/>
                  </a:lnTo>
                  <a:lnTo>
                    <a:pt x="203" y="555"/>
                  </a:lnTo>
                  <a:lnTo>
                    <a:pt x="186" y="572"/>
                  </a:lnTo>
                  <a:lnTo>
                    <a:pt x="165" y="585"/>
                  </a:lnTo>
                  <a:lnTo>
                    <a:pt x="140" y="594"/>
                  </a:lnTo>
                  <a:lnTo>
                    <a:pt x="115" y="596"/>
                  </a:lnTo>
                  <a:lnTo>
                    <a:pt x="88" y="594"/>
                  </a:lnTo>
                  <a:lnTo>
                    <a:pt x="65" y="585"/>
                  </a:lnTo>
                  <a:lnTo>
                    <a:pt x="43" y="572"/>
                  </a:lnTo>
                  <a:lnTo>
                    <a:pt x="26" y="555"/>
                  </a:lnTo>
                  <a:lnTo>
                    <a:pt x="13" y="533"/>
                  </a:lnTo>
                  <a:lnTo>
                    <a:pt x="3" y="510"/>
                  </a:lnTo>
                  <a:lnTo>
                    <a:pt x="0" y="484"/>
                  </a:lnTo>
                  <a:lnTo>
                    <a:pt x="0" y="111"/>
                  </a:lnTo>
                  <a:lnTo>
                    <a:pt x="3" y="86"/>
                  </a:lnTo>
                  <a:lnTo>
                    <a:pt x="13" y="62"/>
                  </a:lnTo>
                  <a:lnTo>
                    <a:pt x="26" y="42"/>
                  </a:lnTo>
                  <a:lnTo>
                    <a:pt x="43" y="24"/>
                  </a:lnTo>
                  <a:lnTo>
                    <a:pt x="65" y="11"/>
                  </a:lnTo>
                  <a:lnTo>
                    <a:pt x="88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3" name="Freeform 19"/>
            <p:cNvSpPr>
              <a:spLocks/>
            </p:cNvSpPr>
            <p:nvPr/>
          </p:nvSpPr>
          <p:spPr bwMode="auto">
            <a:xfrm>
              <a:off x="6108701" y="1435101"/>
              <a:ext cx="31750" cy="107950"/>
            </a:xfrm>
            <a:custGeom>
              <a:avLst/>
              <a:gdLst>
                <a:gd name="T0" fmla="*/ 114 w 227"/>
                <a:gd name="T1" fmla="*/ 0 h 746"/>
                <a:gd name="T2" fmla="*/ 140 w 227"/>
                <a:gd name="T3" fmla="*/ 3 h 746"/>
                <a:gd name="T4" fmla="*/ 164 w 227"/>
                <a:gd name="T5" fmla="*/ 12 h 746"/>
                <a:gd name="T6" fmla="*/ 184 w 227"/>
                <a:gd name="T7" fmla="*/ 25 h 746"/>
                <a:gd name="T8" fmla="*/ 203 w 227"/>
                <a:gd name="T9" fmla="*/ 42 h 746"/>
                <a:gd name="T10" fmla="*/ 216 w 227"/>
                <a:gd name="T11" fmla="*/ 63 h 746"/>
                <a:gd name="T12" fmla="*/ 224 w 227"/>
                <a:gd name="T13" fmla="*/ 86 h 746"/>
                <a:gd name="T14" fmla="*/ 227 w 227"/>
                <a:gd name="T15" fmla="*/ 112 h 746"/>
                <a:gd name="T16" fmla="*/ 227 w 227"/>
                <a:gd name="T17" fmla="*/ 634 h 746"/>
                <a:gd name="T18" fmla="*/ 224 w 227"/>
                <a:gd name="T19" fmla="*/ 660 h 746"/>
                <a:gd name="T20" fmla="*/ 216 w 227"/>
                <a:gd name="T21" fmla="*/ 683 h 746"/>
                <a:gd name="T22" fmla="*/ 203 w 227"/>
                <a:gd name="T23" fmla="*/ 705 h 746"/>
                <a:gd name="T24" fmla="*/ 184 w 227"/>
                <a:gd name="T25" fmla="*/ 722 h 746"/>
                <a:gd name="T26" fmla="*/ 164 w 227"/>
                <a:gd name="T27" fmla="*/ 735 h 746"/>
                <a:gd name="T28" fmla="*/ 140 w 227"/>
                <a:gd name="T29" fmla="*/ 744 h 746"/>
                <a:gd name="T30" fmla="*/ 114 w 227"/>
                <a:gd name="T31" fmla="*/ 746 h 746"/>
                <a:gd name="T32" fmla="*/ 88 w 227"/>
                <a:gd name="T33" fmla="*/ 744 h 746"/>
                <a:gd name="T34" fmla="*/ 64 w 227"/>
                <a:gd name="T35" fmla="*/ 735 h 746"/>
                <a:gd name="T36" fmla="*/ 43 w 227"/>
                <a:gd name="T37" fmla="*/ 722 h 746"/>
                <a:gd name="T38" fmla="*/ 25 w 227"/>
                <a:gd name="T39" fmla="*/ 705 h 746"/>
                <a:gd name="T40" fmla="*/ 12 w 227"/>
                <a:gd name="T41" fmla="*/ 683 h 746"/>
                <a:gd name="T42" fmla="*/ 3 w 227"/>
                <a:gd name="T43" fmla="*/ 660 h 746"/>
                <a:gd name="T44" fmla="*/ 0 w 227"/>
                <a:gd name="T45" fmla="*/ 634 h 746"/>
                <a:gd name="T46" fmla="*/ 0 w 227"/>
                <a:gd name="T47" fmla="*/ 112 h 746"/>
                <a:gd name="T48" fmla="*/ 3 w 227"/>
                <a:gd name="T49" fmla="*/ 86 h 746"/>
                <a:gd name="T50" fmla="*/ 12 w 227"/>
                <a:gd name="T51" fmla="*/ 63 h 746"/>
                <a:gd name="T52" fmla="*/ 25 w 227"/>
                <a:gd name="T53" fmla="*/ 42 h 746"/>
                <a:gd name="T54" fmla="*/ 43 w 227"/>
                <a:gd name="T55" fmla="*/ 25 h 746"/>
                <a:gd name="T56" fmla="*/ 64 w 227"/>
                <a:gd name="T57" fmla="*/ 12 h 746"/>
                <a:gd name="T58" fmla="*/ 88 w 227"/>
                <a:gd name="T59" fmla="*/ 3 h 746"/>
                <a:gd name="T60" fmla="*/ 114 w 227"/>
                <a:gd name="T61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7" h="746">
                  <a:moveTo>
                    <a:pt x="114" y="0"/>
                  </a:moveTo>
                  <a:lnTo>
                    <a:pt x="140" y="3"/>
                  </a:lnTo>
                  <a:lnTo>
                    <a:pt x="164" y="12"/>
                  </a:lnTo>
                  <a:lnTo>
                    <a:pt x="184" y="25"/>
                  </a:lnTo>
                  <a:lnTo>
                    <a:pt x="203" y="42"/>
                  </a:lnTo>
                  <a:lnTo>
                    <a:pt x="216" y="63"/>
                  </a:lnTo>
                  <a:lnTo>
                    <a:pt x="224" y="86"/>
                  </a:lnTo>
                  <a:lnTo>
                    <a:pt x="227" y="112"/>
                  </a:lnTo>
                  <a:lnTo>
                    <a:pt x="227" y="634"/>
                  </a:lnTo>
                  <a:lnTo>
                    <a:pt x="224" y="660"/>
                  </a:lnTo>
                  <a:lnTo>
                    <a:pt x="216" y="683"/>
                  </a:lnTo>
                  <a:lnTo>
                    <a:pt x="203" y="705"/>
                  </a:lnTo>
                  <a:lnTo>
                    <a:pt x="184" y="722"/>
                  </a:lnTo>
                  <a:lnTo>
                    <a:pt x="164" y="735"/>
                  </a:lnTo>
                  <a:lnTo>
                    <a:pt x="140" y="744"/>
                  </a:lnTo>
                  <a:lnTo>
                    <a:pt x="114" y="746"/>
                  </a:lnTo>
                  <a:lnTo>
                    <a:pt x="88" y="744"/>
                  </a:lnTo>
                  <a:lnTo>
                    <a:pt x="64" y="735"/>
                  </a:lnTo>
                  <a:lnTo>
                    <a:pt x="43" y="722"/>
                  </a:lnTo>
                  <a:lnTo>
                    <a:pt x="25" y="705"/>
                  </a:lnTo>
                  <a:lnTo>
                    <a:pt x="12" y="683"/>
                  </a:lnTo>
                  <a:lnTo>
                    <a:pt x="3" y="660"/>
                  </a:lnTo>
                  <a:lnTo>
                    <a:pt x="0" y="634"/>
                  </a:lnTo>
                  <a:lnTo>
                    <a:pt x="0" y="112"/>
                  </a:lnTo>
                  <a:lnTo>
                    <a:pt x="3" y="86"/>
                  </a:lnTo>
                  <a:lnTo>
                    <a:pt x="12" y="63"/>
                  </a:lnTo>
                  <a:lnTo>
                    <a:pt x="25" y="42"/>
                  </a:lnTo>
                  <a:lnTo>
                    <a:pt x="43" y="25"/>
                  </a:lnTo>
                  <a:lnTo>
                    <a:pt x="64" y="12"/>
                  </a:lnTo>
                  <a:lnTo>
                    <a:pt x="88" y="3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4" name="Freeform 20"/>
            <p:cNvSpPr>
              <a:spLocks/>
            </p:cNvSpPr>
            <p:nvPr/>
          </p:nvSpPr>
          <p:spPr bwMode="auto">
            <a:xfrm>
              <a:off x="6162676" y="1414463"/>
              <a:ext cx="33338" cy="128588"/>
            </a:xfrm>
            <a:custGeom>
              <a:avLst/>
              <a:gdLst>
                <a:gd name="T0" fmla="*/ 113 w 227"/>
                <a:gd name="T1" fmla="*/ 0 h 895"/>
                <a:gd name="T2" fmla="*/ 139 w 227"/>
                <a:gd name="T3" fmla="*/ 3 h 895"/>
                <a:gd name="T4" fmla="*/ 163 w 227"/>
                <a:gd name="T5" fmla="*/ 11 h 895"/>
                <a:gd name="T6" fmla="*/ 184 w 227"/>
                <a:gd name="T7" fmla="*/ 24 h 895"/>
                <a:gd name="T8" fmla="*/ 202 w 227"/>
                <a:gd name="T9" fmla="*/ 42 h 895"/>
                <a:gd name="T10" fmla="*/ 215 w 227"/>
                <a:gd name="T11" fmla="*/ 62 h 895"/>
                <a:gd name="T12" fmla="*/ 224 w 227"/>
                <a:gd name="T13" fmla="*/ 87 h 895"/>
                <a:gd name="T14" fmla="*/ 227 w 227"/>
                <a:gd name="T15" fmla="*/ 112 h 895"/>
                <a:gd name="T16" fmla="*/ 227 w 227"/>
                <a:gd name="T17" fmla="*/ 783 h 895"/>
                <a:gd name="T18" fmla="*/ 224 w 227"/>
                <a:gd name="T19" fmla="*/ 809 h 895"/>
                <a:gd name="T20" fmla="*/ 215 w 227"/>
                <a:gd name="T21" fmla="*/ 832 h 895"/>
                <a:gd name="T22" fmla="*/ 202 w 227"/>
                <a:gd name="T23" fmla="*/ 854 h 895"/>
                <a:gd name="T24" fmla="*/ 184 w 227"/>
                <a:gd name="T25" fmla="*/ 871 h 895"/>
                <a:gd name="T26" fmla="*/ 163 w 227"/>
                <a:gd name="T27" fmla="*/ 884 h 895"/>
                <a:gd name="T28" fmla="*/ 139 w 227"/>
                <a:gd name="T29" fmla="*/ 893 h 895"/>
                <a:gd name="T30" fmla="*/ 113 w 227"/>
                <a:gd name="T31" fmla="*/ 895 h 895"/>
                <a:gd name="T32" fmla="*/ 87 w 227"/>
                <a:gd name="T33" fmla="*/ 893 h 895"/>
                <a:gd name="T34" fmla="*/ 63 w 227"/>
                <a:gd name="T35" fmla="*/ 884 h 895"/>
                <a:gd name="T36" fmla="*/ 42 w 227"/>
                <a:gd name="T37" fmla="*/ 871 h 895"/>
                <a:gd name="T38" fmla="*/ 25 w 227"/>
                <a:gd name="T39" fmla="*/ 854 h 895"/>
                <a:gd name="T40" fmla="*/ 11 w 227"/>
                <a:gd name="T41" fmla="*/ 832 h 895"/>
                <a:gd name="T42" fmla="*/ 3 w 227"/>
                <a:gd name="T43" fmla="*/ 809 h 895"/>
                <a:gd name="T44" fmla="*/ 0 w 227"/>
                <a:gd name="T45" fmla="*/ 783 h 895"/>
                <a:gd name="T46" fmla="*/ 0 w 227"/>
                <a:gd name="T47" fmla="*/ 112 h 895"/>
                <a:gd name="T48" fmla="*/ 3 w 227"/>
                <a:gd name="T49" fmla="*/ 87 h 895"/>
                <a:gd name="T50" fmla="*/ 11 w 227"/>
                <a:gd name="T51" fmla="*/ 62 h 895"/>
                <a:gd name="T52" fmla="*/ 25 w 227"/>
                <a:gd name="T53" fmla="*/ 42 h 895"/>
                <a:gd name="T54" fmla="*/ 42 w 227"/>
                <a:gd name="T55" fmla="*/ 24 h 895"/>
                <a:gd name="T56" fmla="*/ 63 w 227"/>
                <a:gd name="T57" fmla="*/ 11 h 895"/>
                <a:gd name="T58" fmla="*/ 87 w 227"/>
                <a:gd name="T59" fmla="*/ 3 h 895"/>
                <a:gd name="T60" fmla="*/ 113 w 227"/>
                <a:gd name="T61" fmla="*/ 0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7" h="895">
                  <a:moveTo>
                    <a:pt x="113" y="0"/>
                  </a:moveTo>
                  <a:lnTo>
                    <a:pt x="139" y="3"/>
                  </a:lnTo>
                  <a:lnTo>
                    <a:pt x="163" y="11"/>
                  </a:lnTo>
                  <a:lnTo>
                    <a:pt x="184" y="24"/>
                  </a:lnTo>
                  <a:lnTo>
                    <a:pt x="202" y="42"/>
                  </a:lnTo>
                  <a:lnTo>
                    <a:pt x="215" y="62"/>
                  </a:lnTo>
                  <a:lnTo>
                    <a:pt x="224" y="87"/>
                  </a:lnTo>
                  <a:lnTo>
                    <a:pt x="227" y="112"/>
                  </a:lnTo>
                  <a:lnTo>
                    <a:pt x="227" y="783"/>
                  </a:lnTo>
                  <a:lnTo>
                    <a:pt x="224" y="809"/>
                  </a:lnTo>
                  <a:lnTo>
                    <a:pt x="215" y="832"/>
                  </a:lnTo>
                  <a:lnTo>
                    <a:pt x="202" y="854"/>
                  </a:lnTo>
                  <a:lnTo>
                    <a:pt x="184" y="871"/>
                  </a:lnTo>
                  <a:lnTo>
                    <a:pt x="163" y="884"/>
                  </a:lnTo>
                  <a:lnTo>
                    <a:pt x="139" y="893"/>
                  </a:lnTo>
                  <a:lnTo>
                    <a:pt x="113" y="895"/>
                  </a:lnTo>
                  <a:lnTo>
                    <a:pt x="87" y="893"/>
                  </a:lnTo>
                  <a:lnTo>
                    <a:pt x="63" y="884"/>
                  </a:lnTo>
                  <a:lnTo>
                    <a:pt x="42" y="871"/>
                  </a:lnTo>
                  <a:lnTo>
                    <a:pt x="25" y="854"/>
                  </a:lnTo>
                  <a:lnTo>
                    <a:pt x="11" y="832"/>
                  </a:lnTo>
                  <a:lnTo>
                    <a:pt x="3" y="809"/>
                  </a:lnTo>
                  <a:lnTo>
                    <a:pt x="0" y="783"/>
                  </a:lnTo>
                  <a:lnTo>
                    <a:pt x="0" y="112"/>
                  </a:lnTo>
                  <a:lnTo>
                    <a:pt x="3" y="87"/>
                  </a:lnTo>
                  <a:lnTo>
                    <a:pt x="11" y="62"/>
                  </a:lnTo>
                  <a:lnTo>
                    <a:pt x="25" y="42"/>
                  </a:lnTo>
                  <a:lnTo>
                    <a:pt x="42" y="24"/>
                  </a:lnTo>
                  <a:lnTo>
                    <a:pt x="63" y="11"/>
                  </a:lnTo>
                  <a:lnTo>
                    <a:pt x="87" y="3"/>
                  </a:lnTo>
                  <a:lnTo>
                    <a:pt x="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5" name="Freeform 21"/>
            <p:cNvSpPr>
              <a:spLocks/>
            </p:cNvSpPr>
            <p:nvPr/>
          </p:nvSpPr>
          <p:spPr bwMode="auto">
            <a:xfrm>
              <a:off x="5976938" y="1301751"/>
              <a:ext cx="481013" cy="311150"/>
            </a:xfrm>
            <a:custGeom>
              <a:avLst/>
              <a:gdLst>
                <a:gd name="T0" fmla="*/ 3179 w 3330"/>
                <a:gd name="T1" fmla="*/ 0 h 2163"/>
                <a:gd name="T2" fmla="*/ 3239 w 3330"/>
                <a:gd name="T3" fmla="*/ 11 h 2163"/>
                <a:gd name="T4" fmla="*/ 3286 w 3330"/>
                <a:gd name="T5" fmla="*/ 43 h 2163"/>
                <a:gd name="T6" fmla="*/ 3319 w 3330"/>
                <a:gd name="T7" fmla="*/ 91 h 2163"/>
                <a:gd name="T8" fmla="*/ 3330 w 3330"/>
                <a:gd name="T9" fmla="*/ 149 h 2163"/>
                <a:gd name="T10" fmla="*/ 3127 w 3330"/>
                <a:gd name="T11" fmla="*/ 1640 h 2163"/>
                <a:gd name="T12" fmla="*/ 3184 w 3330"/>
                <a:gd name="T13" fmla="*/ 1516 h 2163"/>
                <a:gd name="T14" fmla="*/ 3220 w 3330"/>
                <a:gd name="T15" fmla="*/ 1384 h 2163"/>
                <a:gd name="T16" fmla="*/ 3232 w 3330"/>
                <a:gd name="T17" fmla="*/ 1249 h 2163"/>
                <a:gd name="T18" fmla="*/ 3221 w 3330"/>
                <a:gd name="T19" fmla="*/ 1119 h 2163"/>
                <a:gd name="T20" fmla="*/ 3191 w 3330"/>
                <a:gd name="T21" fmla="*/ 994 h 2163"/>
                <a:gd name="T22" fmla="*/ 3140 w 3330"/>
                <a:gd name="T23" fmla="*/ 878 h 2163"/>
                <a:gd name="T24" fmla="*/ 3069 w 3330"/>
                <a:gd name="T25" fmla="*/ 769 h 2163"/>
                <a:gd name="T26" fmla="*/ 3027 w 3330"/>
                <a:gd name="T27" fmla="*/ 299 h 2163"/>
                <a:gd name="T28" fmla="*/ 303 w 3330"/>
                <a:gd name="T29" fmla="*/ 1865 h 2163"/>
                <a:gd name="T30" fmla="*/ 1952 w 3330"/>
                <a:gd name="T31" fmla="*/ 1903 h 2163"/>
                <a:gd name="T32" fmla="*/ 2058 w 3330"/>
                <a:gd name="T33" fmla="*/ 1965 h 2163"/>
                <a:gd name="T34" fmla="*/ 2173 w 3330"/>
                <a:gd name="T35" fmla="*/ 2011 h 2163"/>
                <a:gd name="T36" fmla="*/ 2294 w 3330"/>
                <a:gd name="T37" fmla="*/ 2040 h 2163"/>
                <a:gd name="T38" fmla="*/ 2419 w 3330"/>
                <a:gd name="T39" fmla="*/ 2049 h 2163"/>
                <a:gd name="T40" fmla="*/ 2558 w 3330"/>
                <a:gd name="T41" fmla="*/ 2037 h 2163"/>
                <a:gd name="T42" fmla="*/ 2692 w 3330"/>
                <a:gd name="T43" fmla="*/ 2002 h 2163"/>
                <a:gd name="T44" fmla="*/ 2817 w 3330"/>
                <a:gd name="T45" fmla="*/ 1945 h 2163"/>
                <a:gd name="T46" fmla="*/ 3031 w 3330"/>
                <a:gd name="T47" fmla="*/ 2156 h 2163"/>
                <a:gd name="T48" fmla="*/ 3041 w 3330"/>
                <a:gd name="T49" fmla="*/ 2163 h 2163"/>
                <a:gd name="T50" fmla="*/ 121 w 3330"/>
                <a:gd name="T51" fmla="*/ 2160 h 2163"/>
                <a:gd name="T52" fmla="*/ 67 w 3330"/>
                <a:gd name="T53" fmla="*/ 2138 h 2163"/>
                <a:gd name="T54" fmla="*/ 26 w 3330"/>
                <a:gd name="T55" fmla="*/ 2097 h 2163"/>
                <a:gd name="T56" fmla="*/ 3 w 3330"/>
                <a:gd name="T57" fmla="*/ 2044 h 2163"/>
                <a:gd name="T58" fmla="*/ 0 w 3330"/>
                <a:gd name="T59" fmla="*/ 149 h 2163"/>
                <a:gd name="T60" fmla="*/ 12 w 3330"/>
                <a:gd name="T61" fmla="*/ 92 h 2163"/>
                <a:gd name="T62" fmla="*/ 45 w 3330"/>
                <a:gd name="T63" fmla="*/ 43 h 2163"/>
                <a:gd name="T64" fmla="*/ 93 w 3330"/>
                <a:gd name="T65" fmla="*/ 11 h 2163"/>
                <a:gd name="T66" fmla="*/ 152 w 3330"/>
                <a:gd name="T67" fmla="*/ 0 h 2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30" h="2163">
                  <a:moveTo>
                    <a:pt x="152" y="0"/>
                  </a:moveTo>
                  <a:lnTo>
                    <a:pt x="3179" y="0"/>
                  </a:lnTo>
                  <a:lnTo>
                    <a:pt x="3210" y="3"/>
                  </a:lnTo>
                  <a:lnTo>
                    <a:pt x="3239" y="11"/>
                  </a:lnTo>
                  <a:lnTo>
                    <a:pt x="3264" y="25"/>
                  </a:lnTo>
                  <a:lnTo>
                    <a:pt x="3286" y="43"/>
                  </a:lnTo>
                  <a:lnTo>
                    <a:pt x="3305" y="65"/>
                  </a:lnTo>
                  <a:lnTo>
                    <a:pt x="3319" y="91"/>
                  </a:lnTo>
                  <a:lnTo>
                    <a:pt x="3327" y="119"/>
                  </a:lnTo>
                  <a:lnTo>
                    <a:pt x="3330" y="149"/>
                  </a:lnTo>
                  <a:lnTo>
                    <a:pt x="3330" y="1841"/>
                  </a:lnTo>
                  <a:lnTo>
                    <a:pt x="3127" y="1640"/>
                  </a:lnTo>
                  <a:lnTo>
                    <a:pt x="3159" y="1579"/>
                  </a:lnTo>
                  <a:lnTo>
                    <a:pt x="3184" y="1516"/>
                  </a:lnTo>
                  <a:lnTo>
                    <a:pt x="3205" y="1452"/>
                  </a:lnTo>
                  <a:lnTo>
                    <a:pt x="3220" y="1384"/>
                  </a:lnTo>
                  <a:lnTo>
                    <a:pt x="3229" y="1317"/>
                  </a:lnTo>
                  <a:lnTo>
                    <a:pt x="3232" y="1249"/>
                  </a:lnTo>
                  <a:lnTo>
                    <a:pt x="3229" y="1183"/>
                  </a:lnTo>
                  <a:lnTo>
                    <a:pt x="3221" y="1119"/>
                  </a:lnTo>
                  <a:lnTo>
                    <a:pt x="3208" y="1056"/>
                  </a:lnTo>
                  <a:lnTo>
                    <a:pt x="3191" y="994"/>
                  </a:lnTo>
                  <a:lnTo>
                    <a:pt x="3167" y="935"/>
                  </a:lnTo>
                  <a:lnTo>
                    <a:pt x="3140" y="878"/>
                  </a:lnTo>
                  <a:lnTo>
                    <a:pt x="3107" y="821"/>
                  </a:lnTo>
                  <a:lnTo>
                    <a:pt x="3069" y="769"/>
                  </a:lnTo>
                  <a:lnTo>
                    <a:pt x="3027" y="719"/>
                  </a:lnTo>
                  <a:lnTo>
                    <a:pt x="3027" y="299"/>
                  </a:lnTo>
                  <a:lnTo>
                    <a:pt x="303" y="299"/>
                  </a:lnTo>
                  <a:lnTo>
                    <a:pt x="303" y="1865"/>
                  </a:lnTo>
                  <a:lnTo>
                    <a:pt x="1902" y="1865"/>
                  </a:lnTo>
                  <a:lnTo>
                    <a:pt x="1952" y="1903"/>
                  </a:lnTo>
                  <a:lnTo>
                    <a:pt x="2004" y="1936"/>
                  </a:lnTo>
                  <a:lnTo>
                    <a:pt x="2058" y="1965"/>
                  </a:lnTo>
                  <a:lnTo>
                    <a:pt x="2114" y="1990"/>
                  </a:lnTo>
                  <a:lnTo>
                    <a:pt x="2173" y="2011"/>
                  </a:lnTo>
                  <a:lnTo>
                    <a:pt x="2233" y="2028"/>
                  </a:lnTo>
                  <a:lnTo>
                    <a:pt x="2294" y="2040"/>
                  </a:lnTo>
                  <a:lnTo>
                    <a:pt x="2356" y="2047"/>
                  </a:lnTo>
                  <a:lnTo>
                    <a:pt x="2419" y="2049"/>
                  </a:lnTo>
                  <a:lnTo>
                    <a:pt x="2490" y="2046"/>
                  </a:lnTo>
                  <a:lnTo>
                    <a:pt x="2558" y="2037"/>
                  </a:lnTo>
                  <a:lnTo>
                    <a:pt x="2625" y="2023"/>
                  </a:lnTo>
                  <a:lnTo>
                    <a:pt x="2692" y="2002"/>
                  </a:lnTo>
                  <a:lnTo>
                    <a:pt x="2756" y="1976"/>
                  </a:lnTo>
                  <a:lnTo>
                    <a:pt x="2817" y="1945"/>
                  </a:lnTo>
                  <a:lnTo>
                    <a:pt x="3027" y="2152"/>
                  </a:lnTo>
                  <a:lnTo>
                    <a:pt x="3031" y="2156"/>
                  </a:lnTo>
                  <a:lnTo>
                    <a:pt x="3037" y="2159"/>
                  </a:lnTo>
                  <a:lnTo>
                    <a:pt x="3041" y="2163"/>
                  </a:lnTo>
                  <a:lnTo>
                    <a:pt x="152" y="2163"/>
                  </a:lnTo>
                  <a:lnTo>
                    <a:pt x="121" y="2160"/>
                  </a:lnTo>
                  <a:lnTo>
                    <a:pt x="93" y="2151"/>
                  </a:lnTo>
                  <a:lnTo>
                    <a:pt x="67" y="2138"/>
                  </a:lnTo>
                  <a:lnTo>
                    <a:pt x="45" y="2119"/>
                  </a:lnTo>
                  <a:lnTo>
                    <a:pt x="26" y="2097"/>
                  </a:lnTo>
                  <a:lnTo>
                    <a:pt x="12" y="2072"/>
                  </a:lnTo>
                  <a:lnTo>
                    <a:pt x="3" y="2044"/>
                  </a:lnTo>
                  <a:lnTo>
                    <a:pt x="0" y="2014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2" y="92"/>
                  </a:lnTo>
                  <a:lnTo>
                    <a:pt x="26" y="65"/>
                  </a:lnTo>
                  <a:lnTo>
                    <a:pt x="45" y="43"/>
                  </a:lnTo>
                  <a:lnTo>
                    <a:pt x="67" y="25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6" name="Freeform 22"/>
            <p:cNvSpPr>
              <a:spLocks noEditPoints="1"/>
            </p:cNvSpPr>
            <p:nvPr/>
          </p:nvSpPr>
          <p:spPr bwMode="auto">
            <a:xfrm>
              <a:off x="6230938" y="1387476"/>
              <a:ext cx="214313" cy="212725"/>
            </a:xfrm>
            <a:custGeom>
              <a:avLst/>
              <a:gdLst>
                <a:gd name="T0" fmla="*/ 558 w 1492"/>
                <a:gd name="T1" fmla="*/ 144 h 1469"/>
                <a:gd name="T2" fmla="*/ 415 w 1492"/>
                <a:gd name="T3" fmla="*/ 194 h 1469"/>
                <a:gd name="T4" fmla="*/ 290 w 1492"/>
                <a:gd name="T5" fmla="*/ 286 h 1469"/>
                <a:gd name="T6" fmla="*/ 198 w 1492"/>
                <a:gd name="T7" fmla="*/ 407 h 1469"/>
                <a:gd name="T8" fmla="*/ 146 w 1492"/>
                <a:gd name="T9" fmla="*/ 550 h 1469"/>
                <a:gd name="T10" fmla="*/ 139 w 1492"/>
                <a:gd name="T11" fmla="*/ 703 h 1469"/>
                <a:gd name="T12" fmla="*/ 176 w 1492"/>
                <a:gd name="T13" fmla="*/ 850 h 1469"/>
                <a:gd name="T14" fmla="*/ 255 w 1492"/>
                <a:gd name="T15" fmla="*/ 979 h 1469"/>
                <a:gd name="T16" fmla="*/ 371 w 1492"/>
                <a:gd name="T17" fmla="*/ 1082 h 1469"/>
                <a:gd name="T18" fmla="*/ 508 w 1492"/>
                <a:gd name="T19" fmla="*/ 1147 h 1469"/>
                <a:gd name="T20" fmla="*/ 661 w 1492"/>
                <a:gd name="T21" fmla="*/ 1169 h 1469"/>
                <a:gd name="T22" fmla="*/ 814 w 1492"/>
                <a:gd name="T23" fmla="*/ 1147 h 1469"/>
                <a:gd name="T24" fmla="*/ 953 w 1492"/>
                <a:gd name="T25" fmla="*/ 1082 h 1469"/>
                <a:gd name="T26" fmla="*/ 1068 w 1492"/>
                <a:gd name="T27" fmla="*/ 979 h 1469"/>
                <a:gd name="T28" fmla="*/ 1147 w 1492"/>
                <a:gd name="T29" fmla="*/ 850 h 1469"/>
                <a:gd name="T30" fmla="*/ 1185 w 1492"/>
                <a:gd name="T31" fmla="*/ 703 h 1469"/>
                <a:gd name="T32" fmla="*/ 1177 w 1492"/>
                <a:gd name="T33" fmla="*/ 550 h 1469"/>
                <a:gd name="T34" fmla="*/ 1126 w 1492"/>
                <a:gd name="T35" fmla="*/ 407 h 1469"/>
                <a:gd name="T36" fmla="*/ 1034 w 1492"/>
                <a:gd name="T37" fmla="*/ 286 h 1469"/>
                <a:gd name="T38" fmla="*/ 909 w 1492"/>
                <a:gd name="T39" fmla="*/ 194 h 1469"/>
                <a:gd name="T40" fmla="*/ 765 w 1492"/>
                <a:gd name="T41" fmla="*/ 144 h 1469"/>
                <a:gd name="T42" fmla="*/ 661 w 1492"/>
                <a:gd name="T43" fmla="*/ 0 h 1469"/>
                <a:gd name="T44" fmla="*/ 834 w 1492"/>
                <a:gd name="T45" fmla="*/ 22 h 1469"/>
                <a:gd name="T46" fmla="*/ 992 w 1492"/>
                <a:gd name="T47" fmla="*/ 87 h 1469"/>
                <a:gd name="T48" fmla="*/ 1130 w 1492"/>
                <a:gd name="T49" fmla="*/ 191 h 1469"/>
                <a:gd name="T50" fmla="*/ 1235 w 1492"/>
                <a:gd name="T51" fmla="*/ 326 h 1469"/>
                <a:gd name="T52" fmla="*/ 1300 w 1492"/>
                <a:gd name="T53" fmla="*/ 482 h 1469"/>
                <a:gd name="T54" fmla="*/ 1322 w 1492"/>
                <a:gd name="T55" fmla="*/ 652 h 1469"/>
                <a:gd name="T56" fmla="*/ 1298 w 1492"/>
                <a:gd name="T57" fmla="*/ 826 h 1469"/>
                <a:gd name="T58" fmla="*/ 1229 w 1492"/>
                <a:gd name="T59" fmla="*/ 986 h 1469"/>
                <a:gd name="T60" fmla="*/ 1189 w 1492"/>
                <a:gd name="T61" fmla="*/ 1112 h 1469"/>
                <a:gd name="T62" fmla="*/ 1233 w 1492"/>
                <a:gd name="T63" fmla="*/ 1122 h 1469"/>
                <a:gd name="T64" fmla="*/ 1484 w 1492"/>
                <a:gd name="T65" fmla="*/ 1370 h 1469"/>
                <a:gd name="T66" fmla="*/ 1490 w 1492"/>
                <a:gd name="T67" fmla="*/ 1419 h 1469"/>
                <a:gd name="T68" fmla="*/ 1458 w 1492"/>
                <a:gd name="T69" fmla="*/ 1461 h 1469"/>
                <a:gd name="T70" fmla="*/ 1407 w 1492"/>
                <a:gd name="T71" fmla="*/ 1467 h 1469"/>
                <a:gd name="T72" fmla="*/ 1149 w 1492"/>
                <a:gd name="T73" fmla="*/ 1225 h 1469"/>
                <a:gd name="T74" fmla="*/ 1130 w 1492"/>
                <a:gd name="T75" fmla="*/ 1186 h 1469"/>
                <a:gd name="T76" fmla="*/ 1051 w 1492"/>
                <a:gd name="T77" fmla="*/ 1177 h 1469"/>
                <a:gd name="T78" fmla="*/ 895 w 1492"/>
                <a:gd name="T79" fmla="*/ 1261 h 1469"/>
                <a:gd name="T80" fmla="*/ 722 w 1492"/>
                <a:gd name="T81" fmla="*/ 1300 h 1469"/>
                <a:gd name="T82" fmla="*/ 546 w 1492"/>
                <a:gd name="T83" fmla="*/ 1293 h 1469"/>
                <a:gd name="T84" fmla="*/ 383 w 1492"/>
                <a:gd name="T85" fmla="*/ 1242 h 1469"/>
                <a:gd name="T86" fmla="*/ 238 w 1492"/>
                <a:gd name="T87" fmla="*/ 1151 h 1469"/>
                <a:gd name="T88" fmla="*/ 120 w 1492"/>
                <a:gd name="T89" fmla="*/ 1024 h 1469"/>
                <a:gd name="T90" fmla="*/ 40 w 1492"/>
                <a:gd name="T91" fmla="*/ 875 h 1469"/>
                <a:gd name="T92" fmla="*/ 4 w 1492"/>
                <a:gd name="T93" fmla="*/ 709 h 1469"/>
                <a:gd name="T94" fmla="*/ 11 w 1492"/>
                <a:gd name="T95" fmla="*/ 537 h 1469"/>
                <a:gd name="T96" fmla="*/ 63 w 1492"/>
                <a:gd name="T97" fmla="*/ 376 h 1469"/>
                <a:gd name="T98" fmla="*/ 155 w 1492"/>
                <a:gd name="T99" fmla="*/ 233 h 1469"/>
                <a:gd name="T100" fmla="*/ 283 w 1492"/>
                <a:gd name="T101" fmla="*/ 117 h 1469"/>
                <a:gd name="T102" fmla="*/ 435 w 1492"/>
                <a:gd name="T103" fmla="*/ 39 h 1469"/>
                <a:gd name="T104" fmla="*/ 603 w 1492"/>
                <a:gd name="T105" fmla="*/ 2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92" h="1469">
                  <a:moveTo>
                    <a:pt x="661" y="134"/>
                  </a:moveTo>
                  <a:lnTo>
                    <a:pt x="609" y="136"/>
                  </a:lnTo>
                  <a:lnTo>
                    <a:pt x="558" y="144"/>
                  </a:lnTo>
                  <a:lnTo>
                    <a:pt x="508" y="156"/>
                  </a:lnTo>
                  <a:lnTo>
                    <a:pt x="461" y="173"/>
                  </a:lnTo>
                  <a:lnTo>
                    <a:pt x="415" y="194"/>
                  </a:lnTo>
                  <a:lnTo>
                    <a:pt x="371" y="220"/>
                  </a:lnTo>
                  <a:lnTo>
                    <a:pt x="329" y="250"/>
                  </a:lnTo>
                  <a:lnTo>
                    <a:pt x="290" y="286"/>
                  </a:lnTo>
                  <a:lnTo>
                    <a:pt x="255" y="324"/>
                  </a:lnTo>
                  <a:lnTo>
                    <a:pt x="225" y="364"/>
                  </a:lnTo>
                  <a:lnTo>
                    <a:pt x="198" y="407"/>
                  </a:lnTo>
                  <a:lnTo>
                    <a:pt x="176" y="453"/>
                  </a:lnTo>
                  <a:lnTo>
                    <a:pt x="159" y="501"/>
                  </a:lnTo>
                  <a:lnTo>
                    <a:pt x="146" y="550"/>
                  </a:lnTo>
                  <a:lnTo>
                    <a:pt x="139" y="600"/>
                  </a:lnTo>
                  <a:lnTo>
                    <a:pt x="136" y="652"/>
                  </a:lnTo>
                  <a:lnTo>
                    <a:pt x="139" y="703"/>
                  </a:lnTo>
                  <a:lnTo>
                    <a:pt x="146" y="753"/>
                  </a:lnTo>
                  <a:lnTo>
                    <a:pt x="159" y="802"/>
                  </a:lnTo>
                  <a:lnTo>
                    <a:pt x="176" y="850"/>
                  </a:lnTo>
                  <a:lnTo>
                    <a:pt x="198" y="895"/>
                  </a:lnTo>
                  <a:lnTo>
                    <a:pt x="225" y="938"/>
                  </a:lnTo>
                  <a:lnTo>
                    <a:pt x="255" y="979"/>
                  </a:lnTo>
                  <a:lnTo>
                    <a:pt x="290" y="1017"/>
                  </a:lnTo>
                  <a:lnTo>
                    <a:pt x="329" y="1052"/>
                  </a:lnTo>
                  <a:lnTo>
                    <a:pt x="371" y="1082"/>
                  </a:lnTo>
                  <a:lnTo>
                    <a:pt x="415" y="1108"/>
                  </a:lnTo>
                  <a:lnTo>
                    <a:pt x="461" y="1130"/>
                  </a:lnTo>
                  <a:lnTo>
                    <a:pt x="508" y="1147"/>
                  </a:lnTo>
                  <a:lnTo>
                    <a:pt x="558" y="1159"/>
                  </a:lnTo>
                  <a:lnTo>
                    <a:pt x="609" y="1166"/>
                  </a:lnTo>
                  <a:lnTo>
                    <a:pt x="661" y="1169"/>
                  </a:lnTo>
                  <a:lnTo>
                    <a:pt x="713" y="1166"/>
                  </a:lnTo>
                  <a:lnTo>
                    <a:pt x="765" y="1159"/>
                  </a:lnTo>
                  <a:lnTo>
                    <a:pt x="814" y="1147"/>
                  </a:lnTo>
                  <a:lnTo>
                    <a:pt x="863" y="1130"/>
                  </a:lnTo>
                  <a:lnTo>
                    <a:pt x="909" y="1108"/>
                  </a:lnTo>
                  <a:lnTo>
                    <a:pt x="953" y="1082"/>
                  </a:lnTo>
                  <a:lnTo>
                    <a:pt x="995" y="1052"/>
                  </a:lnTo>
                  <a:lnTo>
                    <a:pt x="1034" y="1017"/>
                  </a:lnTo>
                  <a:lnTo>
                    <a:pt x="1068" y="979"/>
                  </a:lnTo>
                  <a:lnTo>
                    <a:pt x="1099" y="938"/>
                  </a:lnTo>
                  <a:lnTo>
                    <a:pt x="1126" y="895"/>
                  </a:lnTo>
                  <a:lnTo>
                    <a:pt x="1147" y="850"/>
                  </a:lnTo>
                  <a:lnTo>
                    <a:pt x="1164" y="802"/>
                  </a:lnTo>
                  <a:lnTo>
                    <a:pt x="1177" y="753"/>
                  </a:lnTo>
                  <a:lnTo>
                    <a:pt x="1185" y="703"/>
                  </a:lnTo>
                  <a:lnTo>
                    <a:pt x="1187" y="652"/>
                  </a:lnTo>
                  <a:lnTo>
                    <a:pt x="1185" y="600"/>
                  </a:lnTo>
                  <a:lnTo>
                    <a:pt x="1177" y="550"/>
                  </a:lnTo>
                  <a:lnTo>
                    <a:pt x="1164" y="501"/>
                  </a:lnTo>
                  <a:lnTo>
                    <a:pt x="1147" y="453"/>
                  </a:lnTo>
                  <a:lnTo>
                    <a:pt x="1126" y="407"/>
                  </a:lnTo>
                  <a:lnTo>
                    <a:pt x="1099" y="364"/>
                  </a:lnTo>
                  <a:lnTo>
                    <a:pt x="1068" y="324"/>
                  </a:lnTo>
                  <a:lnTo>
                    <a:pt x="1034" y="286"/>
                  </a:lnTo>
                  <a:lnTo>
                    <a:pt x="995" y="250"/>
                  </a:lnTo>
                  <a:lnTo>
                    <a:pt x="953" y="220"/>
                  </a:lnTo>
                  <a:lnTo>
                    <a:pt x="909" y="194"/>
                  </a:lnTo>
                  <a:lnTo>
                    <a:pt x="863" y="173"/>
                  </a:lnTo>
                  <a:lnTo>
                    <a:pt x="814" y="156"/>
                  </a:lnTo>
                  <a:lnTo>
                    <a:pt x="765" y="144"/>
                  </a:lnTo>
                  <a:lnTo>
                    <a:pt x="713" y="136"/>
                  </a:lnTo>
                  <a:lnTo>
                    <a:pt x="661" y="134"/>
                  </a:lnTo>
                  <a:close/>
                  <a:moveTo>
                    <a:pt x="661" y="0"/>
                  </a:moveTo>
                  <a:lnTo>
                    <a:pt x="721" y="2"/>
                  </a:lnTo>
                  <a:lnTo>
                    <a:pt x="778" y="10"/>
                  </a:lnTo>
                  <a:lnTo>
                    <a:pt x="834" y="22"/>
                  </a:lnTo>
                  <a:lnTo>
                    <a:pt x="888" y="39"/>
                  </a:lnTo>
                  <a:lnTo>
                    <a:pt x="941" y="60"/>
                  </a:lnTo>
                  <a:lnTo>
                    <a:pt x="992" y="87"/>
                  </a:lnTo>
                  <a:lnTo>
                    <a:pt x="1040" y="117"/>
                  </a:lnTo>
                  <a:lnTo>
                    <a:pt x="1086" y="152"/>
                  </a:lnTo>
                  <a:lnTo>
                    <a:pt x="1130" y="191"/>
                  </a:lnTo>
                  <a:lnTo>
                    <a:pt x="1168" y="233"/>
                  </a:lnTo>
                  <a:lnTo>
                    <a:pt x="1204" y="279"/>
                  </a:lnTo>
                  <a:lnTo>
                    <a:pt x="1235" y="326"/>
                  </a:lnTo>
                  <a:lnTo>
                    <a:pt x="1261" y="376"/>
                  </a:lnTo>
                  <a:lnTo>
                    <a:pt x="1283" y="428"/>
                  </a:lnTo>
                  <a:lnTo>
                    <a:pt x="1300" y="482"/>
                  </a:lnTo>
                  <a:lnTo>
                    <a:pt x="1312" y="537"/>
                  </a:lnTo>
                  <a:lnTo>
                    <a:pt x="1320" y="593"/>
                  </a:lnTo>
                  <a:lnTo>
                    <a:pt x="1322" y="652"/>
                  </a:lnTo>
                  <a:lnTo>
                    <a:pt x="1319" y="711"/>
                  </a:lnTo>
                  <a:lnTo>
                    <a:pt x="1312" y="769"/>
                  </a:lnTo>
                  <a:lnTo>
                    <a:pt x="1298" y="826"/>
                  </a:lnTo>
                  <a:lnTo>
                    <a:pt x="1280" y="882"/>
                  </a:lnTo>
                  <a:lnTo>
                    <a:pt x="1256" y="935"/>
                  </a:lnTo>
                  <a:lnTo>
                    <a:pt x="1229" y="986"/>
                  </a:lnTo>
                  <a:lnTo>
                    <a:pt x="1195" y="1034"/>
                  </a:lnTo>
                  <a:lnTo>
                    <a:pt x="1157" y="1081"/>
                  </a:lnTo>
                  <a:lnTo>
                    <a:pt x="1189" y="1112"/>
                  </a:lnTo>
                  <a:lnTo>
                    <a:pt x="1204" y="1112"/>
                  </a:lnTo>
                  <a:lnTo>
                    <a:pt x="1218" y="1115"/>
                  </a:lnTo>
                  <a:lnTo>
                    <a:pt x="1233" y="1122"/>
                  </a:lnTo>
                  <a:lnTo>
                    <a:pt x="1245" y="1131"/>
                  </a:lnTo>
                  <a:lnTo>
                    <a:pt x="1472" y="1356"/>
                  </a:lnTo>
                  <a:lnTo>
                    <a:pt x="1484" y="1370"/>
                  </a:lnTo>
                  <a:lnTo>
                    <a:pt x="1490" y="1386"/>
                  </a:lnTo>
                  <a:lnTo>
                    <a:pt x="1492" y="1402"/>
                  </a:lnTo>
                  <a:lnTo>
                    <a:pt x="1490" y="1419"/>
                  </a:lnTo>
                  <a:lnTo>
                    <a:pt x="1484" y="1436"/>
                  </a:lnTo>
                  <a:lnTo>
                    <a:pt x="1472" y="1450"/>
                  </a:lnTo>
                  <a:lnTo>
                    <a:pt x="1458" y="1461"/>
                  </a:lnTo>
                  <a:lnTo>
                    <a:pt x="1442" y="1467"/>
                  </a:lnTo>
                  <a:lnTo>
                    <a:pt x="1424" y="1469"/>
                  </a:lnTo>
                  <a:lnTo>
                    <a:pt x="1407" y="1467"/>
                  </a:lnTo>
                  <a:lnTo>
                    <a:pt x="1391" y="1461"/>
                  </a:lnTo>
                  <a:lnTo>
                    <a:pt x="1376" y="1450"/>
                  </a:lnTo>
                  <a:lnTo>
                    <a:pt x="1149" y="1225"/>
                  </a:lnTo>
                  <a:lnTo>
                    <a:pt x="1139" y="1213"/>
                  </a:lnTo>
                  <a:lnTo>
                    <a:pt x="1133" y="1200"/>
                  </a:lnTo>
                  <a:lnTo>
                    <a:pt x="1130" y="1186"/>
                  </a:lnTo>
                  <a:lnTo>
                    <a:pt x="1130" y="1171"/>
                  </a:lnTo>
                  <a:lnTo>
                    <a:pt x="1098" y="1140"/>
                  </a:lnTo>
                  <a:lnTo>
                    <a:pt x="1051" y="1177"/>
                  </a:lnTo>
                  <a:lnTo>
                    <a:pt x="1001" y="1209"/>
                  </a:lnTo>
                  <a:lnTo>
                    <a:pt x="949" y="1238"/>
                  </a:lnTo>
                  <a:lnTo>
                    <a:pt x="895" y="1261"/>
                  </a:lnTo>
                  <a:lnTo>
                    <a:pt x="839" y="1279"/>
                  </a:lnTo>
                  <a:lnTo>
                    <a:pt x="782" y="1292"/>
                  </a:lnTo>
                  <a:lnTo>
                    <a:pt x="722" y="1300"/>
                  </a:lnTo>
                  <a:lnTo>
                    <a:pt x="661" y="1303"/>
                  </a:lnTo>
                  <a:lnTo>
                    <a:pt x="603" y="1300"/>
                  </a:lnTo>
                  <a:lnTo>
                    <a:pt x="546" y="1293"/>
                  </a:lnTo>
                  <a:lnTo>
                    <a:pt x="490" y="1281"/>
                  </a:lnTo>
                  <a:lnTo>
                    <a:pt x="435" y="1264"/>
                  </a:lnTo>
                  <a:lnTo>
                    <a:pt x="383" y="1242"/>
                  </a:lnTo>
                  <a:lnTo>
                    <a:pt x="332" y="1216"/>
                  </a:lnTo>
                  <a:lnTo>
                    <a:pt x="283" y="1185"/>
                  </a:lnTo>
                  <a:lnTo>
                    <a:pt x="238" y="1151"/>
                  </a:lnTo>
                  <a:lnTo>
                    <a:pt x="194" y="1112"/>
                  </a:lnTo>
                  <a:lnTo>
                    <a:pt x="155" y="1070"/>
                  </a:lnTo>
                  <a:lnTo>
                    <a:pt x="120" y="1024"/>
                  </a:lnTo>
                  <a:lnTo>
                    <a:pt x="89" y="976"/>
                  </a:lnTo>
                  <a:lnTo>
                    <a:pt x="63" y="926"/>
                  </a:lnTo>
                  <a:lnTo>
                    <a:pt x="40" y="875"/>
                  </a:lnTo>
                  <a:lnTo>
                    <a:pt x="23" y="820"/>
                  </a:lnTo>
                  <a:lnTo>
                    <a:pt x="11" y="765"/>
                  </a:lnTo>
                  <a:lnTo>
                    <a:pt x="4" y="709"/>
                  </a:lnTo>
                  <a:lnTo>
                    <a:pt x="0" y="652"/>
                  </a:lnTo>
                  <a:lnTo>
                    <a:pt x="4" y="593"/>
                  </a:lnTo>
                  <a:lnTo>
                    <a:pt x="11" y="537"/>
                  </a:lnTo>
                  <a:lnTo>
                    <a:pt x="23" y="482"/>
                  </a:lnTo>
                  <a:lnTo>
                    <a:pt x="40" y="428"/>
                  </a:lnTo>
                  <a:lnTo>
                    <a:pt x="63" y="376"/>
                  </a:lnTo>
                  <a:lnTo>
                    <a:pt x="89" y="326"/>
                  </a:lnTo>
                  <a:lnTo>
                    <a:pt x="120" y="279"/>
                  </a:lnTo>
                  <a:lnTo>
                    <a:pt x="155" y="233"/>
                  </a:lnTo>
                  <a:lnTo>
                    <a:pt x="194" y="191"/>
                  </a:lnTo>
                  <a:lnTo>
                    <a:pt x="238" y="152"/>
                  </a:lnTo>
                  <a:lnTo>
                    <a:pt x="283" y="117"/>
                  </a:lnTo>
                  <a:lnTo>
                    <a:pt x="332" y="87"/>
                  </a:lnTo>
                  <a:lnTo>
                    <a:pt x="383" y="60"/>
                  </a:lnTo>
                  <a:lnTo>
                    <a:pt x="435" y="39"/>
                  </a:lnTo>
                  <a:lnTo>
                    <a:pt x="490" y="22"/>
                  </a:lnTo>
                  <a:lnTo>
                    <a:pt x="546" y="10"/>
                  </a:lnTo>
                  <a:lnTo>
                    <a:pt x="603" y="2"/>
                  </a:lnTo>
                  <a:lnTo>
                    <a:pt x="6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07" name="Group 206"/>
          <p:cNvGrpSpPr/>
          <p:nvPr userDrawn="1"/>
        </p:nvGrpSpPr>
        <p:grpSpPr>
          <a:xfrm>
            <a:off x="4280031" y="4626517"/>
            <a:ext cx="478179" cy="601580"/>
            <a:chOff x="6656408" y="1300175"/>
            <a:chExt cx="347661" cy="381004"/>
          </a:xfrm>
          <a:solidFill>
            <a:schemeClr val="bg1"/>
          </a:solidFill>
        </p:grpSpPr>
        <p:sp>
          <p:nvSpPr>
            <p:cNvPr id="208" name="Freeform 27"/>
            <p:cNvSpPr>
              <a:spLocks noEditPoints="1"/>
            </p:cNvSpPr>
            <p:nvPr/>
          </p:nvSpPr>
          <p:spPr bwMode="auto">
            <a:xfrm>
              <a:off x="6713559" y="1357326"/>
              <a:ext cx="233363" cy="323853"/>
            </a:xfrm>
            <a:custGeom>
              <a:avLst/>
              <a:gdLst>
                <a:gd name="T0" fmla="*/ 762 w 2060"/>
                <a:gd name="T1" fmla="*/ 305 h 2844"/>
                <a:gd name="T2" fmla="*/ 486 w 2060"/>
                <a:gd name="T3" fmla="*/ 474 h 2844"/>
                <a:gd name="T4" fmla="*/ 309 w 2060"/>
                <a:gd name="T5" fmla="*/ 735 h 2844"/>
                <a:gd name="T6" fmla="*/ 263 w 2060"/>
                <a:gd name="T7" fmla="*/ 1051 h 2844"/>
                <a:gd name="T8" fmla="*/ 318 w 2060"/>
                <a:gd name="T9" fmla="*/ 1304 h 2844"/>
                <a:gd name="T10" fmla="*/ 420 w 2060"/>
                <a:gd name="T11" fmla="*/ 1495 h 2844"/>
                <a:gd name="T12" fmla="*/ 538 w 2060"/>
                <a:gd name="T13" fmla="*/ 1673 h 2844"/>
                <a:gd name="T14" fmla="*/ 612 w 2060"/>
                <a:gd name="T15" fmla="*/ 1872 h 2844"/>
                <a:gd name="T16" fmla="*/ 656 w 2060"/>
                <a:gd name="T17" fmla="*/ 2010 h 2844"/>
                <a:gd name="T18" fmla="*/ 1366 w 2060"/>
                <a:gd name="T19" fmla="*/ 2043 h 2844"/>
                <a:gd name="T20" fmla="*/ 1443 w 2060"/>
                <a:gd name="T21" fmla="*/ 1943 h 2844"/>
                <a:gd name="T22" fmla="*/ 1482 w 2060"/>
                <a:gd name="T23" fmla="*/ 1749 h 2844"/>
                <a:gd name="T24" fmla="*/ 1594 w 2060"/>
                <a:gd name="T25" fmla="*/ 1563 h 2844"/>
                <a:gd name="T26" fmla="*/ 1703 w 2060"/>
                <a:gd name="T27" fmla="*/ 1386 h 2844"/>
                <a:gd name="T28" fmla="*/ 1783 w 2060"/>
                <a:gd name="T29" fmla="*/ 1161 h 2844"/>
                <a:gd name="T30" fmla="*/ 1787 w 2060"/>
                <a:gd name="T31" fmla="*/ 858 h 2844"/>
                <a:gd name="T32" fmla="*/ 1659 w 2060"/>
                <a:gd name="T33" fmla="*/ 569 h 2844"/>
                <a:gd name="T34" fmla="*/ 1418 w 2060"/>
                <a:gd name="T35" fmla="*/ 359 h 2844"/>
                <a:gd name="T36" fmla="*/ 1100 w 2060"/>
                <a:gd name="T37" fmla="*/ 262 h 2844"/>
                <a:gd name="T38" fmla="*/ 1277 w 2060"/>
                <a:gd name="T39" fmla="*/ 30 h 2844"/>
                <a:gd name="T40" fmla="*/ 1637 w 2060"/>
                <a:gd name="T41" fmla="*/ 192 h 2844"/>
                <a:gd name="T42" fmla="*/ 1905 w 2060"/>
                <a:gd name="T43" fmla="*/ 468 h 2844"/>
                <a:gd name="T44" fmla="*/ 2046 w 2060"/>
                <a:gd name="T45" fmla="*/ 829 h 2844"/>
                <a:gd name="T46" fmla="*/ 2044 w 2060"/>
                <a:gd name="T47" fmla="*/ 1185 h 2844"/>
                <a:gd name="T48" fmla="*/ 1964 w 2060"/>
                <a:gd name="T49" fmla="*/ 1447 h 2844"/>
                <a:gd name="T50" fmla="*/ 1853 w 2060"/>
                <a:gd name="T51" fmla="*/ 1643 h 2844"/>
                <a:gd name="T52" fmla="*/ 1740 w 2060"/>
                <a:gd name="T53" fmla="*/ 1813 h 2844"/>
                <a:gd name="T54" fmla="*/ 1702 w 2060"/>
                <a:gd name="T55" fmla="*/ 1965 h 2844"/>
                <a:gd name="T56" fmla="*/ 1596 w 2060"/>
                <a:gd name="T57" fmla="*/ 2184 h 2844"/>
                <a:gd name="T58" fmla="*/ 1510 w 2060"/>
                <a:gd name="T59" fmla="*/ 2331 h 2844"/>
                <a:gd name="T60" fmla="*/ 1502 w 2060"/>
                <a:gd name="T61" fmla="*/ 2468 h 2844"/>
                <a:gd name="T62" fmla="*/ 1499 w 2060"/>
                <a:gd name="T63" fmla="*/ 2532 h 2844"/>
                <a:gd name="T64" fmla="*/ 1468 w 2060"/>
                <a:gd name="T65" fmla="*/ 2616 h 2844"/>
                <a:gd name="T66" fmla="*/ 1361 w 2060"/>
                <a:gd name="T67" fmla="*/ 2709 h 2844"/>
                <a:gd name="T68" fmla="*/ 1202 w 2060"/>
                <a:gd name="T69" fmla="*/ 2823 h 2844"/>
                <a:gd name="T70" fmla="*/ 904 w 2060"/>
                <a:gd name="T71" fmla="*/ 2842 h 2844"/>
                <a:gd name="T72" fmla="*/ 773 w 2060"/>
                <a:gd name="T73" fmla="*/ 2741 h 2844"/>
                <a:gd name="T74" fmla="*/ 616 w 2060"/>
                <a:gd name="T75" fmla="*/ 2648 h 2844"/>
                <a:gd name="T76" fmla="*/ 564 w 2060"/>
                <a:gd name="T77" fmla="*/ 2549 h 2844"/>
                <a:gd name="T78" fmla="*/ 560 w 2060"/>
                <a:gd name="T79" fmla="*/ 2505 h 2844"/>
                <a:gd name="T80" fmla="*/ 553 w 2060"/>
                <a:gd name="T81" fmla="*/ 2388 h 2844"/>
                <a:gd name="T82" fmla="*/ 546 w 2060"/>
                <a:gd name="T83" fmla="*/ 2257 h 2844"/>
                <a:gd name="T84" fmla="*/ 382 w 2060"/>
                <a:gd name="T85" fmla="*/ 2057 h 2844"/>
                <a:gd name="T86" fmla="*/ 345 w 2060"/>
                <a:gd name="T87" fmla="*/ 1868 h 2844"/>
                <a:gd name="T88" fmla="*/ 251 w 2060"/>
                <a:gd name="T89" fmla="*/ 1709 h 2844"/>
                <a:gd name="T90" fmla="*/ 139 w 2060"/>
                <a:gd name="T91" fmla="*/ 1532 h 2844"/>
                <a:gd name="T92" fmla="*/ 41 w 2060"/>
                <a:gd name="T93" fmla="*/ 1299 h 2844"/>
                <a:gd name="T94" fmla="*/ 0 w 2060"/>
                <a:gd name="T95" fmla="*/ 989 h 2844"/>
                <a:gd name="T96" fmla="*/ 81 w 2060"/>
                <a:gd name="T97" fmla="*/ 605 h 2844"/>
                <a:gd name="T98" fmla="*/ 302 w 2060"/>
                <a:gd name="T99" fmla="*/ 291 h 2844"/>
                <a:gd name="T100" fmla="*/ 630 w 2060"/>
                <a:gd name="T101" fmla="*/ 79 h 2844"/>
                <a:gd name="T102" fmla="*/ 1030 w 2060"/>
                <a:gd name="T103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0" h="2844">
                  <a:moveTo>
                    <a:pt x="1030" y="259"/>
                  </a:moveTo>
                  <a:lnTo>
                    <a:pt x="960" y="262"/>
                  </a:lnTo>
                  <a:lnTo>
                    <a:pt x="891" y="271"/>
                  </a:lnTo>
                  <a:lnTo>
                    <a:pt x="826" y="286"/>
                  </a:lnTo>
                  <a:lnTo>
                    <a:pt x="762" y="305"/>
                  </a:lnTo>
                  <a:lnTo>
                    <a:pt x="700" y="330"/>
                  </a:lnTo>
                  <a:lnTo>
                    <a:pt x="641" y="360"/>
                  </a:lnTo>
                  <a:lnTo>
                    <a:pt x="586" y="393"/>
                  </a:lnTo>
                  <a:lnTo>
                    <a:pt x="535" y="431"/>
                  </a:lnTo>
                  <a:lnTo>
                    <a:pt x="486" y="474"/>
                  </a:lnTo>
                  <a:lnTo>
                    <a:pt x="441" y="519"/>
                  </a:lnTo>
                  <a:lnTo>
                    <a:pt x="402" y="569"/>
                  </a:lnTo>
                  <a:lnTo>
                    <a:pt x="366" y="622"/>
                  </a:lnTo>
                  <a:lnTo>
                    <a:pt x="335" y="677"/>
                  </a:lnTo>
                  <a:lnTo>
                    <a:pt x="309" y="735"/>
                  </a:lnTo>
                  <a:lnTo>
                    <a:pt x="288" y="796"/>
                  </a:lnTo>
                  <a:lnTo>
                    <a:pt x="273" y="858"/>
                  </a:lnTo>
                  <a:lnTo>
                    <a:pt x="264" y="923"/>
                  </a:lnTo>
                  <a:lnTo>
                    <a:pt x="261" y="989"/>
                  </a:lnTo>
                  <a:lnTo>
                    <a:pt x="263" y="1051"/>
                  </a:lnTo>
                  <a:lnTo>
                    <a:pt x="268" y="1108"/>
                  </a:lnTo>
                  <a:lnTo>
                    <a:pt x="277" y="1161"/>
                  </a:lnTo>
                  <a:lnTo>
                    <a:pt x="288" y="1212"/>
                  </a:lnTo>
                  <a:lnTo>
                    <a:pt x="302" y="1260"/>
                  </a:lnTo>
                  <a:lnTo>
                    <a:pt x="318" y="1304"/>
                  </a:lnTo>
                  <a:lnTo>
                    <a:pt x="336" y="1346"/>
                  </a:lnTo>
                  <a:lnTo>
                    <a:pt x="356" y="1386"/>
                  </a:lnTo>
                  <a:lnTo>
                    <a:pt x="377" y="1424"/>
                  </a:lnTo>
                  <a:lnTo>
                    <a:pt x="399" y="1460"/>
                  </a:lnTo>
                  <a:lnTo>
                    <a:pt x="420" y="1495"/>
                  </a:lnTo>
                  <a:lnTo>
                    <a:pt x="444" y="1529"/>
                  </a:lnTo>
                  <a:lnTo>
                    <a:pt x="465" y="1562"/>
                  </a:lnTo>
                  <a:lnTo>
                    <a:pt x="490" y="1599"/>
                  </a:lnTo>
                  <a:lnTo>
                    <a:pt x="515" y="1636"/>
                  </a:lnTo>
                  <a:lnTo>
                    <a:pt x="538" y="1673"/>
                  </a:lnTo>
                  <a:lnTo>
                    <a:pt x="560" y="1710"/>
                  </a:lnTo>
                  <a:lnTo>
                    <a:pt x="578" y="1749"/>
                  </a:lnTo>
                  <a:lnTo>
                    <a:pt x="593" y="1788"/>
                  </a:lnTo>
                  <a:lnTo>
                    <a:pt x="604" y="1829"/>
                  </a:lnTo>
                  <a:lnTo>
                    <a:pt x="612" y="1872"/>
                  </a:lnTo>
                  <a:lnTo>
                    <a:pt x="614" y="1918"/>
                  </a:lnTo>
                  <a:lnTo>
                    <a:pt x="617" y="1943"/>
                  </a:lnTo>
                  <a:lnTo>
                    <a:pt x="627" y="1967"/>
                  </a:lnTo>
                  <a:lnTo>
                    <a:pt x="639" y="1990"/>
                  </a:lnTo>
                  <a:lnTo>
                    <a:pt x="656" y="2010"/>
                  </a:lnTo>
                  <a:lnTo>
                    <a:pt x="674" y="2028"/>
                  </a:lnTo>
                  <a:lnTo>
                    <a:pt x="694" y="2043"/>
                  </a:lnTo>
                  <a:lnTo>
                    <a:pt x="712" y="2057"/>
                  </a:lnTo>
                  <a:lnTo>
                    <a:pt x="1348" y="2057"/>
                  </a:lnTo>
                  <a:lnTo>
                    <a:pt x="1366" y="2043"/>
                  </a:lnTo>
                  <a:lnTo>
                    <a:pt x="1385" y="2028"/>
                  </a:lnTo>
                  <a:lnTo>
                    <a:pt x="1404" y="2010"/>
                  </a:lnTo>
                  <a:lnTo>
                    <a:pt x="1420" y="1990"/>
                  </a:lnTo>
                  <a:lnTo>
                    <a:pt x="1433" y="1967"/>
                  </a:lnTo>
                  <a:lnTo>
                    <a:pt x="1443" y="1943"/>
                  </a:lnTo>
                  <a:lnTo>
                    <a:pt x="1446" y="1918"/>
                  </a:lnTo>
                  <a:lnTo>
                    <a:pt x="1448" y="1872"/>
                  </a:lnTo>
                  <a:lnTo>
                    <a:pt x="1455" y="1829"/>
                  </a:lnTo>
                  <a:lnTo>
                    <a:pt x="1467" y="1788"/>
                  </a:lnTo>
                  <a:lnTo>
                    <a:pt x="1482" y="1749"/>
                  </a:lnTo>
                  <a:lnTo>
                    <a:pt x="1500" y="1711"/>
                  </a:lnTo>
                  <a:lnTo>
                    <a:pt x="1521" y="1673"/>
                  </a:lnTo>
                  <a:lnTo>
                    <a:pt x="1544" y="1636"/>
                  </a:lnTo>
                  <a:lnTo>
                    <a:pt x="1568" y="1600"/>
                  </a:lnTo>
                  <a:lnTo>
                    <a:pt x="1594" y="1563"/>
                  </a:lnTo>
                  <a:lnTo>
                    <a:pt x="1616" y="1530"/>
                  </a:lnTo>
                  <a:lnTo>
                    <a:pt x="1638" y="1496"/>
                  </a:lnTo>
                  <a:lnTo>
                    <a:pt x="1661" y="1461"/>
                  </a:lnTo>
                  <a:lnTo>
                    <a:pt x="1683" y="1424"/>
                  </a:lnTo>
                  <a:lnTo>
                    <a:pt x="1703" y="1386"/>
                  </a:lnTo>
                  <a:lnTo>
                    <a:pt x="1723" y="1346"/>
                  </a:lnTo>
                  <a:lnTo>
                    <a:pt x="1741" y="1304"/>
                  </a:lnTo>
                  <a:lnTo>
                    <a:pt x="1757" y="1260"/>
                  </a:lnTo>
                  <a:lnTo>
                    <a:pt x="1771" y="1212"/>
                  </a:lnTo>
                  <a:lnTo>
                    <a:pt x="1783" y="1161"/>
                  </a:lnTo>
                  <a:lnTo>
                    <a:pt x="1791" y="1108"/>
                  </a:lnTo>
                  <a:lnTo>
                    <a:pt x="1797" y="1051"/>
                  </a:lnTo>
                  <a:lnTo>
                    <a:pt x="1799" y="989"/>
                  </a:lnTo>
                  <a:lnTo>
                    <a:pt x="1796" y="923"/>
                  </a:lnTo>
                  <a:lnTo>
                    <a:pt x="1787" y="858"/>
                  </a:lnTo>
                  <a:lnTo>
                    <a:pt x="1771" y="795"/>
                  </a:lnTo>
                  <a:lnTo>
                    <a:pt x="1751" y="735"/>
                  </a:lnTo>
                  <a:lnTo>
                    <a:pt x="1726" y="677"/>
                  </a:lnTo>
                  <a:lnTo>
                    <a:pt x="1694" y="621"/>
                  </a:lnTo>
                  <a:lnTo>
                    <a:pt x="1659" y="569"/>
                  </a:lnTo>
                  <a:lnTo>
                    <a:pt x="1618" y="519"/>
                  </a:lnTo>
                  <a:lnTo>
                    <a:pt x="1573" y="474"/>
                  </a:lnTo>
                  <a:lnTo>
                    <a:pt x="1526" y="431"/>
                  </a:lnTo>
                  <a:lnTo>
                    <a:pt x="1473" y="392"/>
                  </a:lnTo>
                  <a:lnTo>
                    <a:pt x="1418" y="359"/>
                  </a:lnTo>
                  <a:lnTo>
                    <a:pt x="1360" y="330"/>
                  </a:lnTo>
                  <a:lnTo>
                    <a:pt x="1298" y="305"/>
                  </a:lnTo>
                  <a:lnTo>
                    <a:pt x="1234" y="286"/>
                  </a:lnTo>
                  <a:lnTo>
                    <a:pt x="1168" y="271"/>
                  </a:lnTo>
                  <a:lnTo>
                    <a:pt x="1100" y="262"/>
                  </a:lnTo>
                  <a:lnTo>
                    <a:pt x="1030" y="259"/>
                  </a:lnTo>
                  <a:close/>
                  <a:moveTo>
                    <a:pt x="1030" y="0"/>
                  </a:moveTo>
                  <a:lnTo>
                    <a:pt x="1114" y="4"/>
                  </a:lnTo>
                  <a:lnTo>
                    <a:pt x="1197" y="14"/>
                  </a:lnTo>
                  <a:lnTo>
                    <a:pt x="1277" y="30"/>
                  </a:lnTo>
                  <a:lnTo>
                    <a:pt x="1355" y="51"/>
                  </a:lnTo>
                  <a:lnTo>
                    <a:pt x="1430" y="79"/>
                  </a:lnTo>
                  <a:lnTo>
                    <a:pt x="1502" y="111"/>
                  </a:lnTo>
                  <a:lnTo>
                    <a:pt x="1571" y="149"/>
                  </a:lnTo>
                  <a:lnTo>
                    <a:pt x="1637" y="192"/>
                  </a:lnTo>
                  <a:lnTo>
                    <a:pt x="1699" y="239"/>
                  </a:lnTo>
                  <a:lnTo>
                    <a:pt x="1757" y="291"/>
                  </a:lnTo>
                  <a:lnTo>
                    <a:pt x="1811" y="346"/>
                  </a:lnTo>
                  <a:lnTo>
                    <a:pt x="1861" y="406"/>
                  </a:lnTo>
                  <a:lnTo>
                    <a:pt x="1905" y="468"/>
                  </a:lnTo>
                  <a:lnTo>
                    <a:pt x="1945" y="535"/>
                  </a:lnTo>
                  <a:lnTo>
                    <a:pt x="1979" y="605"/>
                  </a:lnTo>
                  <a:lnTo>
                    <a:pt x="2006" y="678"/>
                  </a:lnTo>
                  <a:lnTo>
                    <a:pt x="2030" y="752"/>
                  </a:lnTo>
                  <a:lnTo>
                    <a:pt x="2046" y="829"/>
                  </a:lnTo>
                  <a:lnTo>
                    <a:pt x="2056" y="908"/>
                  </a:lnTo>
                  <a:lnTo>
                    <a:pt x="2060" y="989"/>
                  </a:lnTo>
                  <a:lnTo>
                    <a:pt x="2057" y="1058"/>
                  </a:lnTo>
                  <a:lnTo>
                    <a:pt x="2052" y="1123"/>
                  </a:lnTo>
                  <a:lnTo>
                    <a:pt x="2044" y="1185"/>
                  </a:lnTo>
                  <a:lnTo>
                    <a:pt x="2032" y="1244"/>
                  </a:lnTo>
                  <a:lnTo>
                    <a:pt x="2018" y="1299"/>
                  </a:lnTo>
                  <a:lnTo>
                    <a:pt x="2002" y="1351"/>
                  </a:lnTo>
                  <a:lnTo>
                    <a:pt x="1983" y="1400"/>
                  </a:lnTo>
                  <a:lnTo>
                    <a:pt x="1964" y="1447"/>
                  </a:lnTo>
                  <a:lnTo>
                    <a:pt x="1943" y="1490"/>
                  </a:lnTo>
                  <a:lnTo>
                    <a:pt x="1921" y="1531"/>
                  </a:lnTo>
                  <a:lnTo>
                    <a:pt x="1898" y="1571"/>
                  </a:lnTo>
                  <a:lnTo>
                    <a:pt x="1876" y="1608"/>
                  </a:lnTo>
                  <a:lnTo>
                    <a:pt x="1853" y="1643"/>
                  </a:lnTo>
                  <a:lnTo>
                    <a:pt x="1831" y="1676"/>
                  </a:lnTo>
                  <a:lnTo>
                    <a:pt x="1809" y="1708"/>
                  </a:lnTo>
                  <a:lnTo>
                    <a:pt x="1783" y="1747"/>
                  </a:lnTo>
                  <a:lnTo>
                    <a:pt x="1760" y="1782"/>
                  </a:lnTo>
                  <a:lnTo>
                    <a:pt x="1740" y="1813"/>
                  </a:lnTo>
                  <a:lnTo>
                    <a:pt x="1726" y="1842"/>
                  </a:lnTo>
                  <a:lnTo>
                    <a:pt x="1715" y="1868"/>
                  </a:lnTo>
                  <a:lnTo>
                    <a:pt x="1707" y="1893"/>
                  </a:lnTo>
                  <a:lnTo>
                    <a:pt x="1705" y="1918"/>
                  </a:lnTo>
                  <a:lnTo>
                    <a:pt x="1702" y="1965"/>
                  </a:lnTo>
                  <a:lnTo>
                    <a:pt x="1693" y="2012"/>
                  </a:lnTo>
                  <a:lnTo>
                    <a:pt x="1678" y="2057"/>
                  </a:lnTo>
                  <a:lnTo>
                    <a:pt x="1655" y="2102"/>
                  </a:lnTo>
                  <a:lnTo>
                    <a:pt x="1629" y="2144"/>
                  </a:lnTo>
                  <a:lnTo>
                    <a:pt x="1596" y="2184"/>
                  </a:lnTo>
                  <a:lnTo>
                    <a:pt x="1557" y="2222"/>
                  </a:lnTo>
                  <a:lnTo>
                    <a:pt x="1514" y="2257"/>
                  </a:lnTo>
                  <a:lnTo>
                    <a:pt x="1513" y="2278"/>
                  </a:lnTo>
                  <a:lnTo>
                    <a:pt x="1512" y="2303"/>
                  </a:lnTo>
                  <a:lnTo>
                    <a:pt x="1510" y="2331"/>
                  </a:lnTo>
                  <a:lnTo>
                    <a:pt x="1509" y="2359"/>
                  </a:lnTo>
                  <a:lnTo>
                    <a:pt x="1506" y="2388"/>
                  </a:lnTo>
                  <a:lnTo>
                    <a:pt x="1505" y="2416"/>
                  </a:lnTo>
                  <a:lnTo>
                    <a:pt x="1503" y="2444"/>
                  </a:lnTo>
                  <a:lnTo>
                    <a:pt x="1502" y="2468"/>
                  </a:lnTo>
                  <a:lnTo>
                    <a:pt x="1501" y="2488"/>
                  </a:lnTo>
                  <a:lnTo>
                    <a:pt x="1500" y="2505"/>
                  </a:lnTo>
                  <a:lnTo>
                    <a:pt x="1500" y="2516"/>
                  </a:lnTo>
                  <a:lnTo>
                    <a:pt x="1499" y="2519"/>
                  </a:lnTo>
                  <a:lnTo>
                    <a:pt x="1499" y="2532"/>
                  </a:lnTo>
                  <a:lnTo>
                    <a:pt x="1497" y="2546"/>
                  </a:lnTo>
                  <a:lnTo>
                    <a:pt x="1493" y="2562"/>
                  </a:lnTo>
                  <a:lnTo>
                    <a:pt x="1487" y="2579"/>
                  </a:lnTo>
                  <a:lnTo>
                    <a:pt x="1479" y="2598"/>
                  </a:lnTo>
                  <a:lnTo>
                    <a:pt x="1468" y="2616"/>
                  </a:lnTo>
                  <a:lnTo>
                    <a:pt x="1454" y="2635"/>
                  </a:lnTo>
                  <a:lnTo>
                    <a:pt x="1437" y="2655"/>
                  </a:lnTo>
                  <a:lnTo>
                    <a:pt x="1416" y="2673"/>
                  </a:lnTo>
                  <a:lnTo>
                    <a:pt x="1390" y="2692"/>
                  </a:lnTo>
                  <a:lnTo>
                    <a:pt x="1361" y="2709"/>
                  </a:lnTo>
                  <a:lnTo>
                    <a:pt x="1327" y="2726"/>
                  </a:lnTo>
                  <a:lnTo>
                    <a:pt x="1286" y="2741"/>
                  </a:lnTo>
                  <a:lnTo>
                    <a:pt x="1263" y="2770"/>
                  </a:lnTo>
                  <a:lnTo>
                    <a:pt x="1234" y="2798"/>
                  </a:lnTo>
                  <a:lnTo>
                    <a:pt x="1202" y="2823"/>
                  </a:lnTo>
                  <a:lnTo>
                    <a:pt x="1180" y="2835"/>
                  </a:lnTo>
                  <a:lnTo>
                    <a:pt x="1155" y="2842"/>
                  </a:lnTo>
                  <a:lnTo>
                    <a:pt x="1130" y="2844"/>
                  </a:lnTo>
                  <a:lnTo>
                    <a:pt x="930" y="2844"/>
                  </a:lnTo>
                  <a:lnTo>
                    <a:pt x="904" y="2842"/>
                  </a:lnTo>
                  <a:lnTo>
                    <a:pt x="880" y="2835"/>
                  </a:lnTo>
                  <a:lnTo>
                    <a:pt x="857" y="2823"/>
                  </a:lnTo>
                  <a:lnTo>
                    <a:pt x="826" y="2798"/>
                  </a:lnTo>
                  <a:lnTo>
                    <a:pt x="797" y="2770"/>
                  </a:lnTo>
                  <a:lnTo>
                    <a:pt x="773" y="2741"/>
                  </a:lnTo>
                  <a:lnTo>
                    <a:pt x="731" y="2724"/>
                  </a:lnTo>
                  <a:lnTo>
                    <a:pt x="695" y="2707"/>
                  </a:lnTo>
                  <a:lnTo>
                    <a:pt x="663" y="2688"/>
                  </a:lnTo>
                  <a:lnTo>
                    <a:pt x="637" y="2668"/>
                  </a:lnTo>
                  <a:lnTo>
                    <a:pt x="616" y="2648"/>
                  </a:lnTo>
                  <a:lnTo>
                    <a:pt x="599" y="2627"/>
                  </a:lnTo>
                  <a:lnTo>
                    <a:pt x="586" y="2607"/>
                  </a:lnTo>
                  <a:lnTo>
                    <a:pt x="576" y="2586"/>
                  </a:lnTo>
                  <a:lnTo>
                    <a:pt x="569" y="2567"/>
                  </a:lnTo>
                  <a:lnTo>
                    <a:pt x="564" y="2549"/>
                  </a:lnTo>
                  <a:lnTo>
                    <a:pt x="562" y="2534"/>
                  </a:lnTo>
                  <a:lnTo>
                    <a:pt x="561" y="2519"/>
                  </a:lnTo>
                  <a:lnTo>
                    <a:pt x="561" y="2519"/>
                  </a:lnTo>
                  <a:lnTo>
                    <a:pt x="561" y="2516"/>
                  </a:lnTo>
                  <a:lnTo>
                    <a:pt x="560" y="2505"/>
                  </a:lnTo>
                  <a:lnTo>
                    <a:pt x="559" y="2488"/>
                  </a:lnTo>
                  <a:lnTo>
                    <a:pt x="557" y="2468"/>
                  </a:lnTo>
                  <a:lnTo>
                    <a:pt x="556" y="2444"/>
                  </a:lnTo>
                  <a:lnTo>
                    <a:pt x="554" y="2416"/>
                  </a:lnTo>
                  <a:lnTo>
                    <a:pt x="553" y="2388"/>
                  </a:lnTo>
                  <a:lnTo>
                    <a:pt x="551" y="2359"/>
                  </a:lnTo>
                  <a:lnTo>
                    <a:pt x="550" y="2331"/>
                  </a:lnTo>
                  <a:lnTo>
                    <a:pt x="548" y="2303"/>
                  </a:lnTo>
                  <a:lnTo>
                    <a:pt x="547" y="2278"/>
                  </a:lnTo>
                  <a:lnTo>
                    <a:pt x="546" y="2257"/>
                  </a:lnTo>
                  <a:lnTo>
                    <a:pt x="502" y="2222"/>
                  </a:lnTo>
                  <a:lnTo>
                    <a:pt x="464" y="2184"/>
                  </a:lnTo>
                  <a:lnTo>
                    <a:pt x="431" y="2144"/>
                  </a:lnTo>
                  <a:lnTo>
                    <a:pt x="404" y="2102"/>
                  </a:lnTo>
                  <a:lnTo>
                    <a:pt x="382" y="2057"/>
                  </a:lnTo>
                  <a:lnTo>
                    <a:pt x="367" y="2012"/>
                  </a:lnTo>
                  <a:lnTo>
                    <a:pt x="357" y="1965"/>
                  </a:lnTo>
                  <a:lnTo>
                    <a:pt x="354" y="1918"/>
                  </a:lnTo>
                  <a:lnTo>
                    <a:pt x="352" y="1893"/>
                  </a:lnTo>
                  <a:lnTo>
                    <a:pt x="345" y="1868"/>
                  </a:lnTo>
                  <a:lnTo>
                    <a:pt x="334" y="1842"/>
                  </a:lnTo>
                  <a:lnTo>
                    <a:pt x="319" y="1813"/>
                  </a:lnTo>
                  <a:lnTo>
                    <a:pt x="300" y="1782"/>
                  </a:lnTo>
                  <a:lnTo>
                    <a:pt x="278" y="1747"/>
                  </a:lnTo>
                  <a:lnTo>
                    <a:pt x="251" y="1709"/>
                  </a:lnTo>
                  <a:lnTo>
                    <a:pt x="230" y="1677"/>
                  </a:lnTo>
                  <a:lnTo>
                    <a:pt x="207" y="1643"/>
                  </a:lnTo>
                  <a:lnTo>
                    <a:pt x="184" y="1608"/>
                  </a:lnTo>
                  <a:lnTo>
                    <a:pt x="162" y="1571"/>
                  </a:lnTo>
                  <a:lnTo>
                    <a:pt x="139" y="1532"/>
                  </a:lnTo>
                  <a:lnTo>
                    <a:pt x="117" y="1490"/>
                  </a:lnTo>
                  <a:lnTo>
                    <a:pt x="96" y="1447"/>
                  </a:lnTo>
                  <a:lnTo>
                    <a:pt x="77" y="1400"/>
                  </a:lnTo>
                  <a:lnTo>
                    <a:pt x="57" y="1351"/>
                  </a:lnTo>
                  <a:lnTo>
                    <a:pt x="41" y="1299"/>
                  </a:lnTo>
                  <a:lnTo>
                    <a:pt x="28" y="1244"/>
                  </a:lnTo>
                  <a:lnTo>
                    <a:pt x="16" y="1185"/>
                  </a:lnTo>
                  <a:lnTo>
                    <a:pt x="7" y="1123"/>
                  </a:lnTo>
                  <a:lnTo>
                    <a:pt x="2" y="1058"/>
                  </a:lnTo>
                  <a:lnTo>
                    <a:pt x="0" y="989"/>
                  </a:lnTo>
                  <a:lnTo>
                    <a:pt x="3" y="908"/>
                  </a:lnTo>
                  <a:lnTo>
                    <a:pt x="14" y="829"/>
                  </a:lnTo>
                  <a:lnTo>
                    <a:pt x="30" y="752"/>
                  </a:lnTo>
                  <a:lnTo>
                    <a:pt x="53" y="678"/>
                  </a:lnTo>
                  <a:lnTo>
                    <a:pt x="81" y="605"/>
                  </a:lnTo>
                  <a:lnTo>
                    <a:pt x="115" y="535"/>
                  </a:lnTo>
                  <a:lnTo>
                    <a:pt x="154" y="468"/>
                  </a:lnTo>
                  <a:lnTo>
                    <a:pt x="199" y="406"/>
                  </a:lnTo>
                  <a:lnTo>
                    <a:pt x="249" y="346"/>
                  </a:lnTo>
                  <a:lnTo>
                    <a:pt x="302" y="291"/>
                  </a:lnTo>
                  <a:lnTo>
                    <a:pt x="361" y="239"/>
                  </a:lnTo>
                  <a:lnTo>
                    <a:pt x="422" y="192"/>
                  </a:lnTo>
                  <a:lnTo>
                    <a:pt x="488" y="149"/>
                  </a:lnTo>
                  <a:lnTo>
                    <a:pt x="557" y="111"/>
                  </a:lnTo>
                  <a:lnTo>
                    <a:pt x="630" y="79"/>
                  </a:lnTo>
                  <a:lnTo>
                    <a:pt x="705" y="51"/>
                  </a:lnTo>
                  <a:lnTo>
                    <a:pt x="783" y="30"/>
                  </a:lnTo>
                  <a:lnTo>
                    <a:pt x="863" y="14"/>
                  </a:lnTo>
                  <a:lnTo>
                    <a:pt x="946" y="4"/>
                  </a:lnTo>
                  <a:lnTo>
                    <a:pt x="10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9" name="Freeform 28"/>
            <p:cNvSpPr>
              <a:spLocks/>
            </p:cNvSpPr>
            <p:nvPr/>
          </p:nvSpPr>
          <p:spPr bwMode="auto">
            <a:xfrm>
              <a:off x="6823096" y="1300175"/>
              <a:ext cx="14287" cy="36513"/>
            </a:xfrm>
            <a:custGeom>
              <a:avLst/>
              <a:gdLst>
                <a:gd name="T0" fmla="*/ 65 w 130"/>
                <a:gd name="T1" fmla="*/ 0 h 322"/>
                <a:gd name="T2" fmla="*/ 65 w 130"/>
                <a:gd name="T3" fmla="*/ 0 h 322"/>
                <a:gd name="T4" fmla="*/ 82 w 130"/>
                <a:gd name="T5" fmla="*/ 2 h 322"/>
                <a:gd name="T6" fmla="*/ 98 w 130"/>
                <a:gd name="T7" fmla="*/ 8 h 322"/>
                <a:gd name="T8" fmla="*/ 111 w 130"/>
                <a:gd name="T9" fmla="*/ 19 h 322"/>
                <a:gd name="T10" fmla="*/ 121 w 130"/>
                <a:gd name="T11" fmla="*/ 32 h 322"/>
                <a:gd name="T12" fmla="*/ 128 w 130"/>
                <a:gd name="T13" fmla="*/ 47 h 322"/>
                <a:gd name="T14" fmla="*/ 130 w 130"/>
                <a:gd name="T15" fmla="*/ 64 h 322"/>
                <a:gd name="T16" fmla="*/ 130 w 130"/>
                <a:gd name="T17" fmla="*/ 258 h 322"/>
                <a:gd name="T18" fmla="*/ 128 w 130"/>
                <a:gd name="T19" fmla="*/ 276 h 322"/>
                <a:gd name="T20" fmla="*/ 121 w 130"/>
                <a:gd name="T21" fmla="*/ 290 h 322"/>
                <a:gd name="T22" fmla="*/ 111 w 130"/>
                <a:gd name="T23" fmla="*/ 304 h 322"/>
                <a:gd name="T24" fmla="*/ 98 w 130"/>
                <a:gd name="T25" fmla="*/ 314 h 322"/>
                <a:gd name="T26" fmla="*/ 82 w 130"/>
                <a:gd name="T27" fmla="*/ 320 h 322"/>
                <a:gd name="T28" fmla="*/ 65 w 130"/>
                <a:gd name="T29" fmla="*/ 322 h 322"/>
                <a:gd name="T30" fmla="*/ 48 w 130"/>
                <a:gd name="T31" fmla="*/ 320 h 322"/>
                <a:gd name="T32" fmla="*/ 32 w 130"/>
                <a:gd name="T33" fmla="*/ 314 h 322"/>
                <a:gd name="T34" fmla="*/ 19 w 130"/>
                <a:gd name="T35" fmla="*/ 304 h 322"/>
                <a:gd name="T36" fmla="*/ 8 w 130"/>
                <a:gd name="T37" fmla="*/ 290 h 322"/>
                <a:gd name="T38" fmla="*/ 2 w 130"/>
                <a:gd name="T39" fmla="*/ 276 h 322"/>
                <a:gd name="T40" fmla="*/ 0 w 130"/>
                <a:gd name="T41" fmla="*/ 258 h 322"/>
                <a:gd name="T42" fmla="*/ 0 w 130"/>
                <a:gd name="T43" fmla="*/ 64 h 322"/>
                <a:gd name="T44" fmla="*/ 2 w 130"/>
                <a:gd name="T45" fmla="*/ 47 h 322"/>
                <a:gd name="T46" fmla="*/ 8 w 130"/>
                <a:gd name="T47" fmla="*/ 32 h 322"/>
                <a:gd name="T48" fmla="*/ 19 w 130"/>
                <a:gd name="T49" fmla="*/ 19 h 322"/>
                <a:gd name="T50" fmla="*/ 32 w 130"/>
                <a:gd name="T51" fmla="*/ 8 h 322"/>
                <a:gd name="T52" fmla="*/ 48 w 130"/>
                <a:gd name="T53" fmla="*/ 2 h 322"/>
                <a:gd name="T54" fmla="*/ 65 w 130"/>
                <a:gd name="T5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0" h="322">
                  <a:moveTo>
                    <a:pt x="65" y="0"/>
                  </a:moveTo>
                  <a:lnTo>
                    <a:pt x="65" y="0"/>
                  </a:lnTo>
                  <a:lnTo>
                    <a:pt x="82" y="2"/>
                  </a:lnTo>
                  <a:lnTo>
                    <a:pt x="98" y="8"/>
                  </a:lnTo>
                  <a:lnTo>
                    <a:pt x="111" y="19"/>
                  </a:lnTo>
                  <a:lnTo>
                    <a:pt x="121" y="32"/>
                  </a:lnTo>
                  <a:lnTo>
                    <a:pt x="128" y="47"/>
                  </a:lnTo>
                  <a:lnTo>
                    <a:pt x="130" y="64"/>
                  </a:lnTo>
                  <a:lnTo>
                    <a:pt x="130" y="258"/>
                  </a:lnTo>
                  <a:lnTo>
                    <a:pt x="128" y="276"/>
                  </a:lnTo>
                  <a:lnTo>
                    <a:pt x="121" y="290"/>
                  </a:lnTo>
                  <a:lnTo>
                    <a:pt x="111" y="304"/>
                  </a:lnTo>
                  <a:lnTo>
                    <a:pt x="98" y="314"/>
                  </a:lnTo>
                  <a:lnTo>
                    <a:pt x="82" y="320"/>
                  </a:lnTo>
                  <a:lnTo>
                    <a:pt x="65" y="322"/>
                  </a:lnTo>
                  <a:lnTo>
                    <a:pt x="48" y="320"/>
                  </a:lnTo>
                  <a:lnTo>
                    <a:pt x="32" y="314"/>
                  </a:lnTo>
                  <a:lnTo>
                    <a:pt x="19" y="304"/>
                  </a:lnTo>
                  <a:lnTo>
                    <a:pt x="8" y="290"/>
                  </a:lnTo>
                  <a:lnTo>
                    <a:pt x="2" y="276"/>
                  </a:lnTo>
                  <a:lnTo>
                    <a:pt x="0" y="258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2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0" name="Freeform 29"/>
            <p:cNvSpPr>
              <a:spLocks/>
            </p:cNvSpPr>
            <p:nvPr/>
          </p:nvSpPr>
          <p:spPr bwMode="auto">
            <a:xfrm>
              <a:off x="6738959" y="1320810"/>
              <a:ext cx="26987" cy="34925"/>
            </a:xfrm>
            <a:custGeom>
              <a:avLst/>
              <a:gdLst>
                <a:gd name="T0" fmla="*/ 65 w 228"/>
                <a:gd name="T1" fmla="*/ 0 h 298"/>
                <a:gd name="T2" fmla="*/ 82 w 228"/>
                <a:gd name="T3" fmla="*/ 2 h 298"/>
                <a:gd name="T4" fmla="*/ 97 w 228"/>
                <a:gd name="T5" fmla="*/ 9 h 298"/>
                <a:gd name="T6" fmla="*/ 111 w 228"/>
                <a:gd name="T7" fmla="*/ 19 h 298"/>
                <a:gd name="T8" fmla="*/ 121 w 228"/>
                <a:gd name="T9" fmla="*/ 33 h 298"/>
                <a:gd name="T10" fmla="*/ 219 w 228"/>
                <a:gd name="T11" fmla="*/ 201 h 298"/>
                <a:gd name="T12" fmla="*/ 225 w 228"/>
                <a:gd name="T13" fmla="*/ 217 h 298"/>
                <a:gd name="T14" fmla="*/ 228 w 228"/>
                <a:gd name="T15" fmla="*/ 234 h 298"/>
                <a:gd name="T16" fmla="*/ 225 w 228"/>
                <a:gd name="T17" fmla="*/ 250 h 298"/>
                <a:gd name="T18" fmla="*/ 219 w 228"/>
                <a:gd name="T19" fmla="*/ 265 h 298"/>
                <a:gd name="T20" fmla="*/ 209 w 228"/>
                <a:gd name="T21" fmla="*/ 279 h 298"/>
                <a:gd name="T22" fmla="*/ 196 w 228"/>
                <a:gd name="T23" fmla="*/ 290 h 298"/>
                <a:gd name="T24" fmla="*/ 180 w 228"/>
                <a:gd name="T25" fmla="*/ 296 h 298"/>
                <a:gd name="T26" fmla="*/ 163 w 228"/>
                <a:gd name="T27" fmla="*/ 298 h 298"/>
                <a:gd name="T28" fmla="*/ 146 w 228"/>
                <a:gd name="T29" fmla="*/ 296 h 298"/>
                <a:gd name="T30" fmla="*/ 131 w 228"/>
                <a:gd name="T31" fmla="*/ 290 h 298"/>
                <a:gd name="T32" fmla="*/ 117 w 228"/>
                <a:gd name="T33" fmla="*/ 279 h 298"/>
                <a:gd name="T34" fmla="*/ 106 w 228"/>
                <a:gd name="T35" fmla="*/ 265 h 298"/>
                <a:gd name="T36" fmla="*/ 8 w 228"/>
                <a:gd name="T37" fmla="*/ 97 h 298"/>
                <a:gd name="T38" fmla="*/ 2 w 228"/>
                <a:gd name="T39" fmla="*/ 82 h 298"/>
                <a:gd name="T40" fmla="*/ 0 w 228"/>
                <a:gd name="T41" fmla="*/ 65 h 298"/>
                <a:gd name="T42" fmla="*/ 2 w 228"/>
                <a:gd name="T43" fmla="*/ 49 h 298"/>
                <a:gd name="T44" fmla="*/ 8 w 228"/>
                <a:gd name="T45" fmla="*/ 33 h 298"/>
                <a:gd name="T46" fmla="*/ 19 w 228"/>
                <a:gd name="T47" fmla="*/ 20 h 298"/>
                <a:gd name="T48" fmla="*/ 32 w 228"/>
                <a:gd name="T49" fmla="*/ 10 h 298"/>
                <a:gd name="T50" fmla="*/ 49 w 228"/>
                <a:gd name="T51" fmla="*/ 2 h 298"/>
                <a:gd name="T52" fmla="*/ 65 w 228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8">
                  <a:moveTo>
                    <a:pt x="65" y="0"/>
                  </a:moveTo>
                  <a:lnTo>
                    <a:pt x="82" y="2"/>
                  </a:lnTo>
                  <a:lnTo>
                    <a:pt x="97" y="9"/>
                  </a:lnTo>
                  <a:lnTo>
                    <a:pt x="111" y="19"/>
                  </a:lnTo>
                  <a:lnTo>
                    <a:pt x="121" y="33"/>
                  </a:lnTo>
                  <a:lnTo>
                    <a:pt x="219" y="201"/>
                  </a:lnTo>
                  <a:lnTo>
                    <a:pt x="225" y="217"/>
                  </a:lnTo>
                  <a:lnTo>
                    <a:pt x="228" y="234"/>
                  </a:lnTo>
                  <a:lnTo>
                    <a:pt x="225" y="250"/>
                  </a:lnTo>
                  <a:lnTo>
                    <a:pt x="219" y="265"/>
                  </a:lnTo>
                  <a:lnTo>
                    <a:pt x="209" y="279"/>
                  </a:lnTo>
                  <a:lnTo>
                    <a:pt x="196" y="290"/>
                  </a:lnTo>
                  <a:lnTo>
                    <a:pt x="180" y="296"/>
                  </a:lnTo>
                  <a:lnTo>
                    <a:pt x="163" y="298"/>
                  </a:lnTo>
                  <a:lnTo>
                    <a:pt x="146" y="296"/>
                  </a:lnTo>
                  <a:lnTo>
                    <a:pt x="131" y="290"/>
                  </a:lnTo>
                  <a:lnTo>
                    <a:pt x="117" y="279"/>
                  </a:lnTo>
                  <a:lnTo>
                    <a:pt x="106" y="265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20"/>
                  </a:lnTo>
                  <a:lnTo>
                    <a:pt x="32" y="10"/>
                  </a:lnTo>
                  <a:lnTo>
                    <a:pt x="49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1" name="Freeform 30"/>
            <p:cNvSpPr>
              <a:spLocks/>
            </p:cNvSpPr>
            <p:nvPr/>
          </p:nvSpPr>
          <p:spPr bwMode="auto">
            <a:xfrm>
              <a:off x="6678634" y="1382723"/>
              <a:ext cx="33337" cy="25400"/>
            </a:xfrm>
            <a:custGeom>
              <a:avLst/>
              <a:gdLst>
                <a:gd name="T0" fmla="*/ 65 w 299"/>
                <a:gd name="T1" fmla="*/ 0 h 226"/>
                <a:gd name="T2" fmla="*/ 81 w 299"/>
                <a:gd name="T3" fmla="*/ 2 h 226"/>
                <a:gd name="T4" fmla="*/ 98 w 299"/>
                <a:gd name="T5" fmla="*/ 8 h 226"/>
                <a:gd name="T6" fmla="*/ 267 w 299"/>
                <a:gd name="T7" fmla="*/ 104 h 226"/>
                <a:gd name="T8" fmla="*/ 281 w 299"/>
                <a:gd name="T9" fmla="*/ 116 h 226"/>
                <a:gd name="T10" fmla="*/ 290 w 299"/>
                <a:gd name="T11" fmla="*/ 129 h 226"/>
                <a:gd name="T12" fmla="*/ 297 w 299"/>
                <a:gd name="T13" fmla="*/ 144 h 226"/>
                <a:gd name="T14" fmla="*/ 299 w 299"/>
                <a:gd name="T15" fmla="*/ 160 h 226"/>
                <a:gd name="T16" fmla="*/ 297 w 299"/>
                <a:gd name="T17" fmla="*/ 177 h 226"/>
                <a:gd name="T18" fmla="*/ 290 w 299"/>
                <a:gd name="T19" fmla="*/ 193 h 226"/>
                <a:gd name="T20" fmla="*/ 280 w 299"/>
                <a:gd name="T21" fmla="*/ 207 h 226"/>
                <a:gd name="T22" fmla="*/ 266 w 299"/>
                <a:gd name="T23" fmla="*/ 217 h 226"/>
                <a:gd name="T24" fmla="*/ 250 w 299"/>
                <a:gd name="T25" fmla="*/ 224 h 226"/>
                <a:gd name="T26" fmla="*/ 234 w 299"/>
                <a:gd name="T27" fmla="*/ 226 h 226"/>
                <a:gd name="T28" fmla="*/ 217 w 299"/>
                <a:gd name="T29" fmla="*/ 224 h 226"/>
                <a:gd name="T30" fmla="*/ 201 w 299"/>
                <a:gd name="T31" fmla="*/ 216 h 226"/>
                <a:gd name="T32" fmla="*/ 32 w 299"/>
                <a:gd name="T33" fmla="*/ 120 h 226"/>
                <a:gd name="T34" fmla="*/ 18 w 299"/>
                <a:gd name="T35" fmla="*/ 110 h 226"/>
                <a:gd name="T36" fmla="*/ 8 w 299"/>
                <a:gd name="T37" fmla="*/ 96 h 226"/>
                <a:gd name="T38" fmla="*/ 2 w 299"/>
                <a:gd name="T39" fmla="*/ 81 h 226"/>
                <a:gd name="T40" fmla="*/ 0 w 299"/>
                <a:gd name="T41" fmla="*/ 64 h 226"/>
                <a:gd name="T42" fmla="*/ 2 w 299"/>
                <a:gd name="T43" fmla="*/ 47 h 226"/>
                <a:gd name="T44" fmla="*/ 8 w 299"/>
                <a:gd name="T45" fmla="*/ 31 h 226"/>
                <a:gd name="T46" fmla="*/ 19 w 299"/>
                <a:gd name="T47" fmla="*/ 18 h 226"/>
                <a:gd name="T48" fmla="*/ 33 w 299"/>
                <a:gd name="T49" fmla="*/ 8 h 226"/>
                <a:gd name="T50" fmla="*/ 48 w 299"/>
                <a:gd name="T51" fmla="*/ 2 h 226"/>
                <a:gd name="T52" fmla="*/ 65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65" y="0"/>
                  </a:moveTo>
                  <a:lnTo>
                    <a:pt x="81" y="2"/>
                  </a:lnTo>
                  <a:lnTo>
                    <a:pt x="98" y="8"/>
                  </a:lnTo>
                  <a:lnTo>
                    <a:pt x="267" y="104"/>
                  </a:lnTo>
                  <a:lnTo>
                    <a:pt x="281" y="116"/>
                  </a:lnTo>
                  <a:lnTo>
                    <a:pt x="290" y="129"/>
                  </a:lnTo>
                  <a:lnTo>
                    <a:pt x="297" y="144"/>
                  </a:lnTo>
                  <a:lnTo>
                    <a:pt x="299" y="160"/>
                  </a:lnTo>
                  <a:lnTo>
                    <a:pt x="297" y="177"/>
                  </a:lnTo>
                  <a:lnTo>
                    <a:pt x="290" y="193"/>
                  </a:lnTo>
                  <a:lnTo>
                    <a:pt x="280" y="207"/>
                  </a:lnTo>
                  <a:lnTo>
                    <a:pt x="266" y="217"/>
                  </a:lnTo>
                  <a:lnTo>
                    <a:pt x="250" y="224"/>
                  </a:lnTo>
                  <a:lnTo>
                    <a:pt x="234" y="226"/>
                  </a:lnTo>
                  <a:lnTo>
                    <a:pt x="217" y="224"/>
                  </a:lnTo>
                  <a:lnTo>
                    <a:pt x="201" y="216"/>
                  </a:lnTo>
                  <a:lnTo>
                    <a:pt x="32" y="120"/>
                  </a:lnTo>
                  <a:lnTo>
                    <a:pt x="18" y="110"/>
                  </a:lnTo>
                  <a:lnTo>
                    <a:pt x="8" y="96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3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2" name="Freeform 31"/>
            <p:cNvSpPr>
              <a:spLocks/>
            </p:cNvSpPr>
            <p:nvPr/>
          </p:nvSpPr>
          <p:spPr bwMode="auto">
            <a:xfrm>
              <a:off x="6656408" y="1463686"/>
              <a:ext cx="36512" cy="15875"/>
            </a:xfrm>
            <a:custGeom>
              <a:avLst/>
              <a:gdLst>
                <a:gd name="T0" fmla="*/ 65 w 325"/>
                <a:gd name="T1" fmla="*/ 0 h 129"/>
                <a:gd name="T2" fmla="*/ 261 w 325"/>
                <a:gd name="T3" fmla="*/ 0 h 129"/>
                <a:gd name="T4" fmla="*/ 278 w 325"/>
                <a:gd name="T5" fmla="*/ 3 h 129"/>
                <a:gd name="T6" fmla="*/ 294 w 325"/>
                <a:gd name="T7" fmla="*/ 9 h 129"/>
                <a:gd name="T8" fmla="*/ 306 w 325"/>
                <a:gd name="T9" fmla="*/ 19 h 129"/>
                <a:gd name="T10" fmla="*/ 317 w 325"/>
                <a:gd name="T11" fmla="*/ 32 h 129"/>
                <a:gd name="T12" fmla="*/ 323 w 325"/>
                <a:gd name="T13" fmla="*/ 47 h 129"/>
                <a:gd name="T14" fmla="*/ 325 w 325"/>
                <a:gd name="T15" fmla="*/ 65 h 129"/>
                <a:gd name="T16" fmla="*/ 323 w 325"/>
                <a:gd name="T17" fmla="*/ 82 h 129"/>
                <a:gd name="T18" fmla="*/ 317 w 325"/>
                <a:gd name="T19" fmla="*/ 97 h 129"/>
                <a:gd name="T20" fmla="*/ 306 w 325"/>
                <a:gd name="T21" fmla="*/ 110 h 129"/>
                <a:gd name="T22" fmla="*/ 294 w 325"/>
                <a:gd name="T23" fmla="*/ 120 h 129"/>
                <a:gd name="T24" fmla="*/ 278 w 325"/>
                <a:gd name="T25" fmla="*/ 127 h 129"/>
                <a:gd name="T26" fmla="*/ 261 w 325"/>
                <a:gd name="T27" fmla="*/ 129 h 129"/>
                <a:gd name="T28" fmla="*/ 65 w 325"/>
                <a:gd name="T29" fmla="*/ 129 h 129"/>
                <a:gd name="T30" fmla="*/ 48 w 325"/>
                <a:gd name="T31" fmla="*/ 127 h 129"/>
                <a:gd name="T32" fmla="*/ 33 w 325"/>
                <a:gd name="T33" fmla="*/ 120 h 129"/>
                <a:gd name="T34" fmla="*/ 19 w 325"/>
                <a:gd name="T35" fmla="*/ 110 h 129"/>
                <a:gd name="T36" fmla="*/ 10 w 325"/>
                <a:gd name="T37" fmla="*/ 97 h 129"/>
                <a:gd name="T38" fmla="*/ 2 w 325"/>
                <a:gd name="T39" fmla="*/ 82 h 129"/>
                <a:gd name="T40" fmla="*/ 0 w 325"/>
                <a:gd name="T41" fmla="*/ 65 h 129"/>
                <a:gd name="T42" fmla="*/ 2 w 325"/>
                <a:gd name="T43" fmla="*/ 47 h 129"/>
                <a:gd name="T44" fmla="*/ 10 w 325"/>
                <a:gd name="T45" fmla="*/ 32 h 129"/>
                <a:gd name="T46" fmla="*/ 19 w 325"/>
                <a:gd name="T47" fmla="*/ 19 h 129"/>
                <a:gd name="T48" fmla="*/ 33 w 325"/>
                <a:gd name="T49" fmla="*/ 9 h 129"/>
                <a:gd name="T50" fmla="*/ 48 w 325"/>
                <a:gd name="T51" fmla="*/ 3 h 129"/>
                <a:gd name="T52" fmla="*/ 65 w 325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5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7" y="32"/>
                  </a:lnTo>
                  <a:lnTo>
                    <a:pt x="323" y="47"/>
                  </a:lnTo>
                  <a:lnTo>
                    <a:pt x="325" y="65"/>
                  </a:lnTo>
                  <a:lnTo>
                    <a:pt x="323" y="82"/>
                  </a:lnTo>
                  <a:lnTo>
                    <a:pt x="317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3" y="120"/>
                  </a:lnTo>
                  <a:lnTo>
                    <a:pt x="19" y="110"/>
                  </a:lnTo>
                  <a:lnTo>
                    <a:pt x="10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10" y="32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3" name="Freeform 32"/>
            <p:cNvSpPr>
              <a:spLocks/>
            </p:cNvSpPr>
            <p:nvPr/>
          </p:nvSpPr>
          <p:spPr bwMode="auto">
            <a:xfrm>
              <a:off x="6678627" y="1536712"/>
              <a:ext cx="33337" cy="25400"/>
            </a:xfrm>
            <a:custGeom>
              <a:avLst/>
              <a:gdLst>
                <a:gd name="T0" fmla="*/ 234 w 299"/>
                <a:gd name="T1" fmla="*/ 0 h 227"/>
                <a:gd name="T2" fmla="*/ 251 w 299"/>
                <a:gd name="T3" fmla="*/ 3 h 227"/>
                <a:gd name="T4" fmla="*/ 266 w 299"/>
                <a:gd name="T5" fmla="*/ 9 h 227"/>
                <a:gd name="T6" fmla="*/ 280 w 299"/>
                <a:gd name="T7" fmla="*/ 19 h 227"/>
                <a:gd name="T8" fmla="*/ 290 w 299"/>
                <a:gd name="T9" fmla="*/ 33 h 227"/>
                <a:gd name="T10" fmla="*/ 297 w 299"/>
                <a:gd name="T11" fmla="*/ 49 h 227"/>
                <a:gd name="T12" fmla="*/ 299 w 299"/>
                <a:gd name="T13" fmla="*/ 66 h 227"/>
                <a:gd name="T14" fmla="*/ 297 w 299"/>
                <a:gd name="T15" fmla="*/ 82 h 227"/>
                <a:gd name="T16" fmla="*/ 290 w 299"/>
                <a:gd name="T17" fmla="*/ 97 h 227"/>
                <a:gd name="T18" fmla="*/ 280 w 299"/>
                <a:gd name="T19" fmla="*/ 111 h 227"/>
                <a:gd name="T20" fmla="*/ 267 w 299"/>
                <a:gd name="T21" fmla="*/ 122 h 227"/>
                <a:gd name="T22" fmla="*/ 98 w 299"/>
                <a:gd name="T23" fmla="*/ 218 h 227"/>
                <a:gd name="T24" fmla="*/ 82 w 299"/>
                <a:gd name="T25" fmla="*/ 224 h 227"/>
                <a:gd name="T26" fmla="*/ 65 w 299"/>
                <a:gd name="T27" fmla="*/ 227 h 227"/>
                <a:gd name="T28" fmla="*/ 48 w 299"/>
                <a:gd name="T29" fmla="*/ 224 h 227"/>
                <a:gd name="T30" fmla="*/ 33 w 299"/>
                <a:gd name="T31" fmla="*/ 219 h 227"/>
                <a:gd name="T32" fmla="*/ 19 w 299"/>
                <a:gd name="T33" fmla="*/ 208 h 227"/>
                <a:gd name="T34" fmla="*/ 8 w 299"/>
                <a:gd name="T35" fmla="*/ 195 h 227"/>
                <a:gd name="T36" fmla="*/ 2 w 299"/>
                <a:gd name="T37" fmla="*/ 179 h 227"/>
                <a:gd name="T38" fmla="*/ 0 w 299"/>
                <a:gd name="T39" fmla="*/ 162 h 227"/>
                <a:gd name="T40" fmla="*/ 2 w 299"/>
                <a:gd name="T41" fmla="*/ 146 h 227"/>
                <a:gd name="T42" fmla="*/ 8 w 299"/>
                <a:gd name="T43" fmla="*/ 130 h 227"/>
                <a:gd name="T44" fmla="*/ 18 w 299"/>
                <a:gd name="T45" fmla="*/ 117 h 227"/>
                <a:gd name="T46" fmla="*/ 32 w 299"/>
                <a:gd name="T47" fmla="*/ 107 h 227"/>
                <a:gd name="T48" fmla="*/ 201 w 299"/>
                <a:gd name="T49" fmla="*/ 10 h 227"/>
                <a:gd name="T50" fmla="*/ 218 w 299"/>
                <a:gd name="T51" fmla="*/ 2 h 227"/>
                <a:gd name="T52" fmla="*/ 234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234" y="0"/>
                  </a:moveTo>
                  <a:lnTo>
                    <a:pt x="251" y="3"/>
                  </a:lnTo>
                  <a:lnTo>
                    <a:pt x="266" y="9"/>
                  </a:lnTo>
                  <a:lnTo>
                    <a:pt x="280" y="19"/>
                  </a:lnTo>
                  <a:lnTo>
                    <a:pt x="290" y="33"/>
                  </a:lnTo>
                  <a:lnTo>
                    <a:pt x="297" y="49"/>
                  </a:lnTo>
                  <a:lnTo>
                    <a:pt x="299" y="66"/>
                  </a:lnTo>
                  <a:lnTo>
                    <a:pt x="297" y="82"/>
                  </a:lnTo>
                  <a:lnTo>
                    <a:pt x="290" y="97"/>
                  </a:lnTo>
                  <a:lnTo>
                    <a:pt x="280" y="111"/>
                  </a:lnTo>
                  <a:lnTo>
                    <a:pt x="267" y="122"/>
                  </a:lnTo>
                  <a:lnTo>
                    <a:pt x="98" y="218"/>
                  </a:lnTo>
                  <a:lnTo>
                    <a:pt x="82" y="224"/>
                  </a:lnTo>
                  <a:lnTo>
                    <a:pt x="65" y="227"/>
                  </a:lnTo>
                  <a:lnTo>
                    <a:pt x="48" y="224"/>
                  </a:lnTo>
                  <a:lnTo>
                    <a:pt x="33" y="219"/>
                  </a:lnTo>
                  <a:lnTo>
                    <a:pt x="19" y="208"/>
                  </a:lnTo>
                  <a:lnTo>
                    <a:pt x="8" y="195"/>
                  </a:lnTo>
                  <a:lnTo>
                    <a:pt x="2" y="179"/>
                  </a:lnTo>
                  <a:lnTo>
                    <a:pt x="0" y="162"/>
                  </a:lnTo>
                  <a:lnTo>
                    <a:pt x="2" y="146"/>
                  </a:lnTo>
                  <a:lnTo>
                    <a:pt x="8" y="130"/>
                  </a:lnTo>
                  <a:lnTo>
                    <a:pt x="18" y="117"/>
                  </a:lnTo>
                  <a:lnTo>
                    <a:pt x="32" y="107"/>
                  </a:lnTo>
                  <a:lnTo>
                    <a:pt x="201" y="10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4" name="Freeform 33"/>
            <p:cNvSpPr>
              <a:spLocks/>
            </p:cNvSpPr>
            <p:nvPr/>
          </p:nvSpPr>
          <p:spPr bwMode="auto">
            <a:xfrm>
              <a:off x="6946914" y="1536712"/>
              <a:ext cx="34925" cy="25400"/>
            </a:xfrm>
            <a:custGeom>
              <a:avLst/>
              <a:gdLst>
                <a:gd name="T0" fmla="*/ 65 w 299"/>
                <a:gd name="T1" fmla="*/ 0 h 227"/>
                <a:gd name="T2" fmla="*/ 82 w 299"/>
                <a:gd name="T3" fmla="*/ 2 h 227"/>
                <a:gd name="T4" fmla="*/ 98 w 299"/>
                <a:gd name="T5" fmla="*/ 10 h 227"/>
                <a:gd name="T6" fmla="*/ 267 w 299"/>
                <a:gd name="T7" fmla="*/ 107 h 227"/>
                <a:gd name="T8" fmla="*/ 281 w 299"/>
                <a:gd name="T9" fmla="*/ 117 h 227"/>
                <a:gd name="T10" fmla="*/ 290 w 299"/>
                <a:gd name="T11" fmla="*/ 130 h 227"/>
                <a:gd name="T12" fmla="*/ 297 w 299"/>
                <a:gd name="T13" fmla="*/ 146 h 227"/>
                <a:gd name="T14" fmla="*/ 299 w 299"/>
                <a:gd name="T15" fmla="*/ 162 h 227"/>
                <a:gd name="T16" fmla="*/ 297 w 299"/>
                <a:gd name="T17" fmla="*/ 179 h 227"/>
                <a:gd name="T18" fmla="*/ 290 w 299"/>
                <a:gd name="T19" fmla="*/ 195 h 227"/>
                <a:gd name="T20" fmla="*/ 280 w 299"/>
                <a:gd name="T21" fmla="*/ 208 h 227"/>
                <a:gd name="T22" fmla="*/ 266 w 299"/>
                <a:gd name="T23" fmla="*/ 219 h 227"/>
                <a:gd name="T24" fmla="*/ 251 w 299"/>
                <a:gd name="T25" fmla="*/ 224 h 227"/>
                <a:gd name="T26" fmla="*/ 234 w 299"/>
                <a:gd name="T27" fmla="*/ 227 h 227"/>
                <a:gd name="T28" fmla="*/ 217 w 299"/>
                <a:gd name="T29" fmla="*/ 224 h 227"/>
                <a:gd name="T30" fmla="*/ 201 w 299"/>
                <a:gd name="T31" fmla="*/ 218 h 227"/>
                <a:gd name="T32" fmla="*/ 32 w 299"/>
                <a:gd name="T33" fmla="*/ 122 h 227"/>
                <a:gd name="T34" fmla="*/ 19 w 299"/>
                <a:gd name="T35" fmla="*/ 111 h 227"/>
                <a:gd name="T36" fmla="*/ 8 w 299"/>
                <a:gd name="T37" fmla="*/ 97 h 227"/>
                <a:gd name="T38" fmla="*/ 2 w 299"/>
                <a:gd name="T39" fmla="*/ 82 h 227"/>
                <a:gd name="T40" fmla="*/ 0 w 299"/>
                <a:gd name="T41" fmla="*/ 66 h 227"/>
                <a:gd name="T42" fmla="*/ 2 w 299"/>
                <a:gd name="T43" fmla="*/ 49 h 227"/>
                <a:gd name="T44" fmla="*/ 8 w 299"/>
                <a:gd name="T45" fmla="*/ 33 h 227"/>
                <a:gd name="T46" fmla="*/ 19 w 299"/>
                <a:gd name="T47" fmla="*/ 19 h 227"/>
                <a:gd name="T48" fmla="*/ 33 w 299"/>
                <a:gd name="T49" fmla="*/ 9 h 227"/>
                <a:gd name="T50" fmla="*/ 48 w 299"/>
                <a:gd name="T51" fmla="*/ 3 h 227"/>
                <a:gd name="T52" fmla="*/ 65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65" y="0"/>
                  </a:moveTo>
                  <a:lnTo>
                    <a:pt x="82" y="2"/>
                  </a:lnTo>
                  <a:lnTo>
                    <a:pt x="98" y="10"/>
                  </a:lnTo>
                  <a:lnTo>
                    <a:pt x="267" y="107"/>
                  </a:lnTo>
                  <a:lnTo>
                    <a:pt x="281" y="117"/>
                  </a:lnTo>
                  <a:lnTo>
                    <a:pt x="290" y="130"/>
                  </a:lnTo>
                  <a:lnTo>
                    <a:pt x="297" y="146"/>
                  </a:lnTo>
                  <a:lnTo>
                    <a:pt x="299" y="162"/>
                  </a:lnTo>
                  <a:lnTo>
                    <a:pt x="297" y="179"/>
                  </a:lnTo>
                  <a:lnTo>
                    <a:pt x="290" y="195"/>
                  </a:lnTo>
                  <a:lnTo>
                    <a:pt x="280" y="208"/>
                  </a:lnTo>
                  <a:lnTo>
                    <a:pt x="266" y="219"/>
                  </a:lnTo>
                  <a:lnTo>
                    <a:pt x="251" y="224"/>
                  </a:lnTo>
                  <a:lnTo>
                    <a:pt x="234" y="227"/>
                  </a:lnTo>
                  <a:lnTo>
                    <a:pt x="217" y="224"/>
                  </a:lnTo>
                  <a:lnTo>
                    <a:pt x="201" y="218"/>
                  </a:lnTo>
                  <a:lnTo>
                    <a:pt x="32" y="122"/>
                  </a:lnTo>
                  <a:lnTo>
                    <a:pt x="19" y="111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6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5" name="Freeform 34"/>
            <p:cNvSpPr>
              <a:spLocks/>
            </p:cNvSpPr>
            <p:nvPr/>
          </p:nvSpPr>
          <p:spPr bwMode="auto">
            <a:xfrm>
              <a:off x="6965969" y="1463686"/>
              <a:ext cx="38100" cy="15875"/>
            </a:xfrm>
            <a:custGeom>
              <a:avLst/>
              <a:gdLst>
                <a:gd name="T0" fmla="*/ 65 w 326"/>
                <a:gd name="T1" fmla="*/ 0 h 129"/>
                <a:gd name="T2" fmla="*/ 261 w 326"/>
                <a:gd name="T3" fmla="*/ 0 h 129"/>
                <a:gd name="T4" fmla="*/ 278 w 326"/>
                <a:gd name="T5" fmla="*/ 3 h 129"/>
                <a:gd name="T6" fmla="*/ 294 w 326"/>
                <a:gd name="T7" fmla="*/ 9 h 129"/>
                <a:gd name="T8" fmla="*/ 306 w 326"/>
                <a:gd name="T9" fmla="*/ 19 h 129"/>
                <a:gd name="T10" fmla="*/ 316 w 326"/>
                <a:gd name="T11" fmla="*/ 32 h 129"/>
                <a:gd name="T12" fmla="*/ 324 w 326"/>
                <a:gd name="T13" fmla="*/ 47 h 129"/>
                <a:gd name="T14" fmla="*/ 326 w 326"/>
                <a:gd name="T15" fmla="*/ 65 h 129"/>
                <a:gd name="T16" fmla="*/ 324 w 326"/>
                <a:gd name="T17" fmla="*/ 82 h 129"/>
                <a:gd name="T18" fmla="*/ 316 w 326"/>
                <a:gd name="T19" fmla="*/ 97 h 129"/>
                <a:gd name="T20" fmla="*/ 306 w 326"/>
                <a:gd name="T21" fmla="*/ 110 h 129"/>
                <a:gd name="T22" fmla="*/ 294 w 326"/>
                <a:gd name="T23" fmla="*/ 120 h 129"/>
                <a:gd name="T24" fmla="*/ 278 w 326"/>
                <a:gd name="T25" fmla="*/ 127 h 129"/>
                <a:gd name="T26" fmla="*/ 261 w 326"/>
                <a:gd name="T27" fmla="*/ 129 h 129"/>
                <a:gd name="T28" fmla="*/ 65 w 326"/>
                <a:gd name="T29" fmla="*/ 129 h 129"/>
                <a:gd name="T30" fmla="*/ 48 w 326"/>
                <a:gd name="T31" fmla="*/ 127 h 129"/>
                <a:gd name="T32" fmla="*/ 32 w 326"/>
                <a:gd name="T33" fmla="*/ 120 h 129"/>
                <a:gd name="T34" fmla="*/ 19 w 326"/>
                <a:gd name="T35" fmla="*/ 110 h 129"/>
                <a:gd name="T36" fmla="*/ 9 w 326"/>
                <a:gd name="T37" fmla="*/ 97 h 129"/>
                <a:gd name="T38" fmla="*/ 2 w 326"/>
                <a:gd name="T39" fmla="*/ 82 h 129"/>
                <a:gd name="T40" fmla="*/ 0 w 326"/>
                <a:gd name="T41" fmla="*/ 65 h 129"/>
                <a:gd name="T42" fmla="*/ 2 w 326"/>
                <a:gd name="T43" fmla="*/ 47 h 129"/>
                <a:gd name="T44" fmla="*/ 9 w 326"/>
                <a:gd name="T45" fmla="*/ 32 h 129"/>
                <a:gd name="T46" fmla="*/ 19 w 326"/>
                <a:gd name="T47" fmla="*/ 19 h 129"/>
                <a:gd name="T48" fmla="*/ 32 w 326"/>
                <a:gd name="T49" fmla="*/ 9 h 129"/>
                <a:gd name="T50" fmla="*/ 48 w 326"/>
                <a:gd name="T51" fmla="*/ 3 h 129"/>
                <a:gd name="T52" fmla="*/ 65 w 326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6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6" y="32"/>
                  </a:lnTo>
                  <a:lnTo>
                    <a:pt x="324" y="47"/>
                  </a:lnTo>
                  <a:lnTo>
                    <a:pt x="326" y="65"/>
                  </a:lnTo>
                  <a:lnTo>
                    <a:pt x="324" y="82"/>
                  </a:lnTo>
                  <a:lnTo>
                    <a:pt x="316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2" y="120"/>
                  </a:lnTo>
                  <a:lnTo>
                    <a:pt x="19" y="110"/>
                  </a:lnTo>
                  <a:lnTo>
                    <a:pt x="9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6" name="Freeform 35"/>
            <p:cNvSpPr>
              <a:spLocks/>
            </p:cNvSpPr>
            <p:nvPr/>
          </p:nvSpPr>
          <p:spPr bwMode="auto">
            <a:xfrm>
              <a:off x="6946932" y="1382723"/>
              <a:ext cx="34925" cy="25400"/>
            </a:xfrm>
            <a:custGeom>
              <a:avLst/>
              <a:gdLst>
                <a:gd name="T0" fmla="*/ 234 w 299"/>
                <a:gd name="T1" fmla="*/ 0 h 226"/>
                <a:gd name="T2" fmla="*/ 251 w 299"/>
                <a:gd name="T3" fmla="*/ 2 h 226"/>
                <a:gd name="T4" fmla="*/ 266 w 299"/>
                <a:gd name="T5" fmla="*/ 8 h 226"/>
                <a:gd name="T6" fmla="*/ 280 w 299"/>
                <a:gd name="T7" fmla="*/ 18 h 226"/>
                <a:gd name="T8" fmla="*/ 290 w 299"/>
                <a:gd name="T9" fmla="*/ 31 h 226"/>
                <a:gd name="T10" fmla="*/ 297 w 299"/>
                <a:gd name="T11" fmla="*/ 47 h 226"/>
                <a:gd name="T12" fmla="*/ 299 w 299"/>
                <a:gd name="T13" fmla="*/ 64 h 226"/>
                <a:gd name="T14" fmla="*/ 297 w 299"/>
                <a:gd name="T15" fmla="*/ 81 h 226"/>
                <a:gd name="T16" fmla="*/ 290 w 299"/>
                <a:gd name="T17" fmla="*/ 96 h 226"/>
                <a:gd name="T18" fmla="*/ 281 w 299"/>
                <a:gd name="T19" fmla="*/ 110 h 226"/>
                <a:gd name="T20" fmla="*/ 267 w 299"/>
                <a:gd name="T21" fmla="*/ 120 h 226"/>
                <a:gd name="T22" fmla="*/ 98 w 299"/>
                <a:gd name="T23" fmla="*/ 216 h 226"/>
                <a:gd name="T24" fmla="*/ 82 w 299"/>
                <a:gd name="T25" fmla="*/ 224 h 226"/>
                <a:gd name="T26" fmla="*/ 65 w 299"/>
                <a:gd name="T27" fmla="*/ 226 h 226"/>
                <a:gd name="T28" fmla="*/ 49 w 299"/>
                <a:gd name="T29" fmla="*/ 224 h 226"/>
                <a:gd name="T30" fmla="*/ 33 w 299"/>
                <a:gd name="T31" fmla="*/ 217 h 226"/>
                <a:gd name="T32" fmla="*/ 19 w 299"/>
                <a:gd name="T33" fmla="*/ 207 h 226"/>
                <a:gd name="T34" fmla="*/ 8 w 299"/>
                <a:gd name="T35" fmla="*/ 193 h 226"/>
                <a:gd name="T36" fmla="*/ 2 w 299"/>
                <a:gd name="T37" fmla="*/ 177 h 226"/>
                <a:gd name="T38" fmla="*/ 0 w 299"/>
                <a:gd name="T39" fmla="*/ 160 h 226"/>
                <a:gd name="T40" fmla="*/ 2 w 299"/>
                <a:gd name="T41" fmla="*/ 144 h 226"/>
                <a:gd name="T42" fmla="*/ 8 w 299"/>
                <a:gd name="T43" fmla="*/ 129 h 226"/>
                <a:gd name="T44" fmla="*/ 19 w 299"/>
                <a:gd name="T45" fmla="*/ 116 h 226"/>
                <a:gd name="T46" fmla="*/ 32 w 299"/>
                <a:gd name="T47" fmla="*/ 104 h 226"/>
                <a:gd name="T48" fmla="*/ 201 w 299"/>
                <a:gd name="T49" fmla="*/ 8 h 226"/>
                <a:gd name="T50" fmla="*/ 218 w 299"/>
                <a:gd name="T51" fmla="*/ 2 h 226"/>
                <a:gd name="T52" fmla="*/ 234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234" y="0"/>
                  </a:moveTo>
                  <a:lnTo>
                    <a:pt x="251" y="2"/>
                  </a:lnTo>
                  <a:lnTo>
                    <a:pt x="266" y="8"/>
                  </a:lnTo>
                  <a:lnTo>
                    <a:pt x="280" y="18"/>
                  </a:lnTo>
                  <a:lnTo>
                    <a:pt x="290" y="31"/>
                  </a:lnTo>
                  <a:lnTo>
                    <a:pt x="297" y="47"/>
                  </a:lnTo>
                  <a:lnTo>
                    <a:pt x="299" y="64"/>
                  </a:lnTo>
                  <a:lnTo>
                    <a:pt x="297" y="81"/>
                  </a:lnTo>
                  <a:lnTo>
                    <a:pt x="290" y="96"/>
                  </a:lnTo>
                  <a:lnTo>
                    <a:pt x="281" y="110"/>
                  </a:lnTo>
                  <a:lnTo>
                    <a:pt x="267" y="120"/>
                  </a:lnTo>
                  <a:lnTo>
                    <a:pt x="98" y="216"/>
                  </a:lnTo>
                  <a:lnTo>
                    <a:pt x="82" y="224"/>
                  </a:lnTo>
                  <a:lnTo>
                    <a:pt x="65" y="226"/>
                  </a:lnTo>
                  <a:lnTo>
                    <a:pt x="49" y="224"/>
                  </a:lnTo>
                  <a:lnTo>
                    <a:pt x="33" y="217"/>
                  </a:lnTo>
                  <a:lnTo>
                    <a:pt x="19" y="207"/>
                  </a:lnTo>
                  <a:lnTo>
                    <a:pt x="8" y="193"/>
                  </a:lnTo>
                  <a:lnTo>
                    <a:pt x="2" y="177"/>
                  </a:lnTo>
                  <a:lnTo>
                    <a:pt x="0" y="160"/>
                  </a:lnTo>
                  <a:lnTo>
                    <a:pt x="2" y="144"/>
                  </a:lnTo>
                  <a:lnTo>
                    <a:pt x="8" y="129"/>
                  </a:lnTo>
                  <a:lnTo>
                    <a:pt x="19" y="116"/>
                  </a:lnTo>
                  <a:lnTo>
                    <a:pt x="32" y="104"/>
                  </a:lnTo>
                  <a:lnTo>
                    <a:pt x="201" y="8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7" name="Freeform 36"/>
            <p:cNvSpPr>
              <a:spLocks/>
            </p:cNvSpPr>
            <p:nvPr/>
          </p:nvSpPr>
          <p:spPr bwMode="auto">
            <a:xfrm>
              <a:off x="6894539" y="1320811"/>
              <a:ext cx="25400" cy="34925"/>
            </a:xfrm>
            <a:custGeom>
              <a:avLst/>
              <a:gdLst>
                <a:gd name="T0" fmla="*/ 162 w 228"/>
                <a:gd name="T1" fmla="*/ 0 h 297"/>
                <a:gd name="T2" fmla="*/ 179 w 228"/>
                <a:gd name="T3" fmla="*/ 2 h 297"/>
                <a:gd name="T4" fmla="*/ 195 w 228"/>
                <a:gd name="T5" fmla="*/ 10 h 297"/>
                <a:gd name="T6" fmla="*/ 209 w 228"/>
                <a:gd name="T7" fmla="*/ 20 h 297"/>
                <a:gd name="T8" fmla="*/ 219 w 228"/>
                <a:gd name="T9" fmla="*/ 33 h 297"/>
                <a:gd name="T10" fmla="*/ 226 w 228"/>
                <a:gd name="T11" fmla="*/ 49 h 297"/>
                <a:gd name="T12" fmla="*/ 228 w 228"/>
                <a:gd name="T13" fmla="*/ 65 h 297"/>
                <a:gd name="T14" fmla="*/ 226 w 228"/>
                <a:gd name="T15" fmla="*/ 82 h 297"/>
                <a:gd name="T16" fmla="*/ 219 w 228"/>
                <a:gd name="T17" fmla="*/ 97 h 297"/>
                <a:gd name="T18" fmla="*/ 121 w 228"/>
                <a:gd name="T19" fmla="*/ 265 h 297"/>
                <a:gd name="T20" fmla="*/ 111 w 228"/>
                <a:gd name="T21" fmla="*/ 279 h 297"/>
                <a:gd name="T22" fmla="*/ 97 w 228"/>
                <a:gd name="T23" fmla="*/ 290 h 297"/>
                <a:gd name="T24" fmla="*/ 82 w 228"/>
                <a:gd name="T25" fmla="*/ 295 h 297"/>
                <a:gd name="T26" fmla="*/ 65 w 228"/>
                <a:gd name="T27" fmla="*/ 297 h 297"/>
                <a:gd name="T28" fmla="*/ 49 w 228"/>
                <a:gd name="T29" fmla="*/ 295 h 297"/>
                <a:gd name="T30" fmla="*/ 33 w 228"/>
                <a:gd name="T31" fmla="*/ 289 h 297"/>
                <a:gd name="T32" fmla="*/ 18 w 228"/>
                <a:gd name="T33" fmla="*/ 278 h 297"/>
                <a:gd name="T34" fmla="*/ 9 w 228"/>
                <a:gd name="T35" fmla="*/ 265 h 297"/>
                <a:gd name="T36" fmla="*/ 2 w 228"/>
                <a:gd name="T37" fmla="*/ 250 h 297"/>
                <a:gd name="T38" fmla="*/ 0 w 228"/>
                <a:gd name="T39" fmla="*/ 234 h 297"/>
                <a:gd name="T40" fmla="*/ 2 w 228"/>
                <a:gd name="T41" fmla="*/ 217 h 297"/>
                <a:gd name="T42" fmla="*/ 9 w 228"/>
                <a:gd name="T43" fmla="*/ 201 h 297"/>
                <a:gd name="T44" fmla="*/ 106 w 228"/>
                <a:gd name="T45" fmla="*/ 33 h 297"/>
                <a:gd name="T46" fmla="*/ 117 w 228"/>
                <a:gd name="T47" fmla="*/ 19 h 297"/>
                <a:gd name="T48" fmla="*/ 131 w 228"/>
                <a:gd name="T49" fmla="*/ 9 h 297"/>
                <a:gd name="T50" fmla="*/ 146 w 228"/>
                <a:gd name="T51" fmla="*/ 2 h 297"/>
                <a:gd name="T52" fmla="*/ 162 w 228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7">
                  <a:moveTo>
                    <a:pt x="162" y="0"/>
                  </a:moveTo>
                  <a:lnTo>
                    <a:pt x="179" y="2"/>
                  </a:lnTo>
                  <a:lnTo>
                    <a:pt x="195" y="10"/>
                  </a:lnTo>
                  <a:lnTo>
                    <a:pt x="209" y="20"/>
                  </a:lnTo>
                  <a:lnTo>
                    <a:pt x="219" y="33"/>
                  </a:lnTo>
                  <a:lnTo>
                    <a:pt x="226" y="49"/>
                  </a:lnTo>
                  <a:lnTo>
                    <a:pt x="228" y="65"/>
                  </a:lnTo>
                  <a:lnTo>
                    <a:pt x="226" y="82"/>
                  </a:lnTo>
                  <a:lnTo>
                    <a:pt x="219" y="97"/>
                  </a:lnTo>
                  <a:lnTo>
                    <a:pt x="121" y="265"/>
                  </a:lnTo>
                  <a:lnTo>
                    <a:pt x="111" y="279"/>
                  </a:lnTo>
                  <a:lnTo>
                    <a:pt x="97" y="290"/>
                  </a:lnTo>
                  <a:lnTo>
                    <a:pt x="82" y="295"/>
                  </a:lnTo>
                  <a:lnTo>
                    <a:pt x="65" y="297"/>
                  </a:lnTo>
                  <a:lnTo>
                    <a:pt x="49" y="295"/>
                  </a:lnTo>
                  <a:lnTo>
                    <a:pt x="33" y="289"/>
                  </a:lnTo>
                  <a:lnTo>
                    <a:pt x="18" y="278"/>
                  </a:lnTo>
                  <a:lnTo>
                    <a:pt x="9" y="265"/>
                  </a:lnTo>
                  <a:lnTo>
                    <a:pt x="2" y="250"/>
                  </a:lnTo>
                  <a:lnTo>
                    <a:pt x="0" y="234"/>
                  </a:lnTo>
                  <a:lnTo>
                    <a:pt x="2" y="217"/>
                  </a:lnTo>
                  <a:lnTo>
                    <a:pt x="9" y="201"/>
                  </a:lnTo>
                  <a:lnTo>
                    <a:pt x="106" y="33"/>
                  </a:lnTo>
                  <a:lnTo>
                    <a:pt x="117" y="19"/>
                  </a:lnTo>
                  <a:lnTo>
                    <a:pt x="131" y="9"/>
                  </a:lnTo>
                  <a:lnTo>
                    <a:pt x="146" y="2"/>
                  </a:lnTo>
                  <a:lnTo>
                    <a:pt x="1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8" name="Freeform 37"/>
            <p:cNvSpPr>
              <a:spLocks/>
            </p:cNvSpPr>
            <p:nvPr/>
          </p:nvSpPr>
          <p:spPr bwMode="auto">
            <a:xfrm>
              <a:off x="6811956" y="1409713"/>
              <a:ext cx="34925" cy="114301"/>
            </a:xfrm>
            <a:custGeom>
              <a:avLst/>
              <a:gdLst>
                <a:gd name="T0" fmla="*/ 157 w 313"/>
                <a:gd name="T1" fmla="*/ 0 h 1007"/>
                <a:gd name="T2" fmla="*/ 189 w 313"/>
                <a:gd name="T3" fmla="*/ 2 h 1007"/>
                <a:gd name="T4" fmla="*/ 216 w 313"/>
                <a:gd name="T5" fmla="*/ 7 h 1007"/>
                <a:gd name="T6" fmla="*/ 242 w 313"/>
                <a:gd name="T7" fmla="*/ 17 h 1007"/>
                <a:gd name="T8" fmla="*/ 263 w 313"/>
                <a:gd name="T9" fmla="*/ 31 h 1007"/>
                <a:gd name="T10" fmla="*/ 281 w 313"/>
                <a:gd name="T11" fmla="*/ 48 h 1007"/>
                <a:gd name="T12" fmla="*/ 295 w 313"/>
                <a:gd name="T13" fmla="*/ 68 h 1007"/>
                <a:gd name="T14" fmla="*/ 306 w 313"/>
                <a:gd name="T15" fmla="*/ 92 h 1007"/>
                <a:gd name="T16" fmla="*/ 311 w 313"/>
                <a:gd name="T17" fmla="*/ 120 h 1007"/>
                <a:gd name="T18" fmla="*/ 313 w 313"/>
                <a:gd name="T19" fmla="*/ 152 h 1007"/>
                <a:gd name="T20" fmla="*/ 313 w 313"/>
                <a:gd name="T21" fmla="*/ 380 h 1007"/>
                <a:gd name="T22" fmla="*/ 312 w 313"/>
                <a:gd name="T23" fmla="*/ 411 h 1007"/>
                <a:gd name="T24" fmla="*/ 309 w 313"/>
                <a:gd name="T25" fmla="*/ 442 h 1007"/>
                <a:gd name="T26" fmla="*/ 306 w 313"/>
                <a:gd name="T27" fmla="*/ 473 h 1007"/>
                <a:gd name="T28" fmla="*/ 244 w 313"/>
                <a:gd name="T29" fmla="*/ 934 h 1007"/>
                <a:gd name="T30" fmla="*/ 240 w 313"/>
                <a:gd name="T31" fmla="*/ 956 h 1007"/>
                <a:gd name="T32" fmla="*/ 232 w 313"/>
                <a:gd name="T33" fmla="*/ 974 h 1007"/>
                <a:gd name="T34" fmla="*/ 223 w 313"/>
                <a:gd name="T35" fmla="*/ 987 h 1007"/>
                <a:gd name="T36" fmla="*/ 210 w 313"/>
                <a:gd name="T37" fmla="*/ 996 h 1007"/>
                <a:gd name="T38" fmla="*/ 195 w 313"/>
                <a:gd name="T39" fmla="*/ 1002 h 1007"/>
                <a:gd name="T40" fmla="*/ 177 w 313"/>
                <a:gd name="T41" fmla="*/ 1006 h 1007"/>
                <a:gd name="T42" fmla="*/ 157 w 313"/>
                <a:gd name="T43" fmla="*/ 1007 h 1007"/>
                <a:gd name="T44" fmla="*/ 137 w 313"/>
                <a:gd name="T45" fmla="*/ 1006 h 1007"/>
                <a:gd name="T46" fmla="*/ 118 w 313"/>
                <a:gd name="T47" fmla="*/ 1002 h 1007"/>
                <a:gd name="T48" fmla="*/ 104 w 313"/>
                <a:gd name="T49" fmla="*/ 996 h 1007"/>
                <a:gd name="T50" fmla="*/ 91 w 313"/>
                <a:gd name="T51" fmla="*/ 987 h 1007"/>
                <a:gd name="T52" fmla="*/ 81 w 313"/>
                <a:gd name="T53" fmla="*/ 974 h 1007"/>
                <a:gd name="T54" fmla="*/ 74 w 313"/>
                <a:gd name="T55" fmla="*/ 956 h 1007"/>
                <a:gd name="T56" fmla="*/ 70 w 313"/>
                <a:gd name="T57" fmla="*/ 934 h 1007"/>
                <a:gd name="T58" fmla="*/ 8 w 313"/>
                <a:gd name="T59" fmla="*/ 473 h 1007"/>
                <a:gd name="T60" fmla="*/ 5 w 313"/>
                <a:gd name="T61" fmla="*/ 442 h 1007"/>
                <a:gd name="T62" fmla="*/ 1 w 313"/>
                <a:gd name="T63" fmla="*/ 411 h 1007"/>
                <a:gd name="T64" fmla="*/ 0 w 313"/>
                <a:gd name="T65" fmla="*/ 380 h 1007"/>
                <a:gd name="T66" fmla="*/ 0 w 313"/>
                <a:gd name="T67" fmla="*/ 152 h 1007"/>
                <a:gd name="T68" fmla="*/ 3 w 313"/>
                <a:gd name="T69" fmla="*/ 120 h 1007"/>
                <a:gd name="T70" fmla="*/ 8 w 313"/>
                <a:gd name="T71" fmla="*/ 92 h 1007"/>
                <a:gd name="T72" fmla="*/ 18 w 313"/>
                <a:gd name="T73" fmla="*/ 68 h 1007"/>
                <a:gd name="T74" fmla="*/ 32 w 313"/>
                <a:gd name="T75" fmla="*/ 48 h 1007"/>
                <a:gd name="T76" fmla="*/ 50 w 313"/>
                <a:gd name="T77" fmla="*/ 31 h 1007"/>
                <a:gd name="T78" fmla="*/ 72 w 313"/>
                <a:gd name="T79" fmla="*/ 17 h 1007"/>
                <a:gd name="T80" fmla="*/ 97 w 313"/>
                <a:gd name="T81" fmla="*/ 7 h 1007"/>
                <a:gd name="T82" fmla="*/ 125 w 313"/>
                <a:gd name="T83" fmla="*/ 2 h 1007"/>
                <a:gd name="T84" fmla="*/ 157 w 313"/>
                <a:gd name="T85" fmla="*/ 0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3" h="1007">
                  <a:moveTo>
                    <a:pt x="157" y="0"/>
                  </a:moveTo>
                  <a:lnTo>
                    <a:pt x="189" y="2"/>
                  </a:lnTo>
                  <a:lnTo>
                    <a:pt x="216" y="7"/>
                  </a:lnTo>
                  <a:lnTo>
                    <a:pt x="242" y="17"/>
                  </a:lnTo>
                  <a:lnTo>
                    <a:pt x="263" y="31"/>
                  </a:lnTo>
                  <a:lnTo>
                    <a:pt x="281" y="48"/>
                  </a:lnTo>
                  <a:lnTo>
                    <a:pt x="295" y="68"/>
                  </a:lnTo>
                  <a:lnTo>
                    <a:pt x="306" y="92"/>
                  </a:lnTo>
                  <a:lnTo>
                    <a:pt x="311" y="120"/>
                  </a:lnTo>
                  <a:lnTo>
                    <a:pt x="313" y="152"/>
                  </a:lnTo>
                  <a:lnTo>
                    <a:pt x="313" y="380"/>
                  </a:lnTo>
                  <a:lnTo>
                    <a:pt x="312" y="411"/>
                  </a:lnTo>
                  <a:lnTo>
                    <a:pt x="309" y="442"/>
                  </a:lnTo>
                  <a:lnTo>
                    <a:pt x="306" y="473"/>
                  </a:lnTo>
                  <a:lnTo>
                    <a:pt x="244" y="934"/>
                  </a:lnTo>
                  <a:lnTo>
                    <a:pt x="240" y="956"/>
                  </a:lnTo>
                  <a:lnTo>
                    <a:pt x="232" y="974"/>
                  </a:lnTo>
                  <a:lnTo>
                    <a:pt x="223" y="987"/>
                  </a:lnTo>
                  <a:lnTo>
                    <a:pt x="210" y="996"/>
                  </a:lnTo>
                  <a:lnTo>
                    <a:pt x="195" y="1002"/>
                  </a:lnTo>
                  <a:lnTo>
                    <a:pt x="177" y="1006"/>
                  </a:lnTo>
                  <a:lnTo>
                    <a:pt x="157" y="1007"/>
                  </a:lnTo>
                  <a:lnTo>
                    <a:pt x="137" y="1006"/>
                  </a:lnTo>
                  <a:lnTo>
                    <a:pt x="118" y="1002"/>
                  </a:lnTo>
                  <a:lnTo>
                    <a:pt x="104" y="996"/>
                  </a:lnTo>
                  <a:lnTo>
                    <a:pt x="91" y="987"/>
                  </a:lnTo>
                  <a:lnTo>
                    <a:pt x="81" y="974"/>
                  </a:lnTo>
                  <a:lnTo>
                    <a:pt x="74" y="956"/>
                  </a:lnTo>
                  <a:lnTo>
                    <a:pt x="70" y="934"/>
                  </a:lnTo>
                  <a:lnTo>
                    <a:pt x="8" y="473"/>
                  </a:lnTo>
                  <a:lnTo>
                    <a:pt x="5" y="442"/>
                  </a:lnTo>
                  <a:lnTo>
                    <a:pt x="1" y="411"/>
                  </a:lnTo>
                  <a:lnTo>
                    <a:pt x="0" y="380"/>
                  </a:lnTo>
                  <a:lnTo>
                    <a:pt x="0" y="152"/>
                  </a:lnTo>
                  <a:lnTo>
                    <a:pt x="3" y="120"/>
                  </a:lnTo>
                  <a:lnTo>
                    <a:pt x="8" y="92"/>
                  </a:lnTo>
                  <a:lnTo>
                    <a:pt x="18" y="68"/>
                  </a:lnTo>
                  <a:lnTo>
                    <a:pt x="32" y="48"/>
                  </a:lnTo>
                  <a:lnTo>
                    <a:pt x="50" y="31"/>
                  </a:lnTo>
                  <a:lnTo>
                    <a:pt x="72" y="17"/>
                  </a:lnTo>
                  <a:lnTo>
                    <a:pt x="97" y="7"/>
                  </a:lnTo>
                  <a:lnTo>
                    <a:pt x="125" y="2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9" name="Freeform 38"/>
            <p:cNvSpPr>
              <a:spLocks/>
            </p:cNvSpPr>
            <p:nvPr/>
          </p:nvSpPr>
          <p:spPr bwMode="auto">
            <a:xfrm>
              <a:off x="6811963" y="1538288"/>
              <a:ext cx="36512" cy="36513"/>
            </a:xfrm>
            <a:custGeom>
              <a:avLst/>
              <a:gdLst>
                <a:gd name="T0" fmla="*/ 163 w 326"/>
                <a:gd name="T1" fmla="*/ 0 h 323"/>
                <a:gd name="T2" fmla="*/ 196 w 326"/>
                <a:gd name="T3" fmla="*/ 4 h 323"/>
                <a:gd name="T4" fmla="*/ 226 w 326"/>
                <a:gd name="T5" fmla="*/ 13 h 323"/>
                <a:gd name="T6" fmla="*/ 253 w 326"/>
                <a:gd name="T7" fmla="*/ 28 h 323"/>
                <a:gd name="T8" fmla="*/ 278 w 326"/>
                <a:gd name="T9" fmla="*/ 47 h 323"/>
                <a:gd name="T10" fmla="*/ 298 w 326"/>
                <a:gd name="T11" fmla="*/ 71 h 323"/>
                <a:gd name="T12" fmla="*/ 313 w 326"/>
                <a:gd name="T13" fmla="*/ 99 h 323"/>
                <a:gd name="T14" fmla="*/ 322 w 326"/>
                <a:gd name="T15" fmla="*/ 129 h 323"/>
                <a:gd name="T16" fmla="*/ 326 w 326"/>
                <a:gd name="T17" fmla="*/ 161 h 323"/>
                <a:gd name="T18" fmla="*/ 322 w 326"/>
                <a:gd name="T19" fmla="*/ 194 h 323"/>
                <a:gd name="T20" fmla="*/ 313 w 326"/>
                <a:gd name="T21" fmla="*/ 225 h 323"/>
                <a:gd name="T22" fmla="*/ 298 w 326"/>
                <a:gd name="T23" fmla="*/ 252 h 323"/>
                <a:gd name="T24" fmla="*/ 278 w 326"/>
                <a:gd name="T25" fmla="*/ 275 h 323"/>
                <a:gd name="T26" fmla="*/ 253 w 326"/>
                <a:gd name="T27" fmla="*/ 295 h 323"/>
                <a:gd name="T28" fmla="*/ 226 w 326"/>
                <a:gd name="T29" fmla="*/ 310 h 323"/>
                <a:gd name="T30" fmla="*/ 196 w 326"/>
                <a:gd name="T31" fmla="*/ 320 h 323"/>
                <a:gd name="T32" fmla="*/ 163 w 326"/>
                <a:gd name="T33" fmla="*/ 323 h 323"/>
                <a:gd name="T34" fmla="*/ 130 w 326"/>
                <a:gd name="T35" fmla="*/ 320 h 323"/>
                <a:gd name="T36" fmla="*/ 100 w 326"/>
                <a:gd name="T37" fmla="*/ 310 h 323"/>
                <a:gd name="T38" fmla="*/ 72 w 326"/>
                <a:gd name="T39" fmla="*/ 295 h 323"/>
                <a:gd name="T40" fmla="*/ 48 w 326"/>
                <a:gd name="T41" fmla="*/ 275 h 323"/>
                <a:gd name="T42" fmla="*/ 28 w 326"/>
                <a:gd name="T43" fmla="*/ 252 h 323"/>
                <a:gd name="T44" fmla="*/ 13 w 326"/>
                <a:gd name="T45" fmla="*/ 225 h 323"/>
                <a:gd name="T46" fmla="*/ 3 w 326"/>
                <a:gd name="T47" fmla="*/ 194 h 323"/>
                <a:gd name="T48" fmla="*/ 0 w 326"/>
                <a:gd name="T49" fmla="*/ 161 h 323"/>
                <a:gd name="T50" fmla="*/ 3 w 326"/>
                <a:gd name="T51" fmla="*/ 129 h 323"/>
                <a:gd name="T52" fmla="*/ 13 w 326"/>
                <a:gd name="T53" fmla="*/ 99 h 323"/>
                <a:gd name="T54" fmla="*/ 28 w 326"/>
                <a:gd name="T55" fmla="*/ 71 h 323"/>
                <a:gd name="T56" fmla="*/ 48 w 326"/>
                <a:gd name="T57" fmla="*/ 47 h 323"/>
                <a:gd name="T58" fmla="*/ 72 w 326"/>
                <a:gd name="T59" fmla="*/ 28 h 323"/>
                <a:gd name="T60" fmla="*/ 100 w 326"/>
                <a:gd name="T61" fmla="*/ 13 h 323"/>
                <a:gd name="T62" fmla="*/ 130 w 326"/>
                <a:gd name="T63" fmla="*/ 4 h 323"/>
                <a:gd name="T64" fmla="*/ 163 w 326"/>
                <a:gd name="T65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6" h="323">
                  <a:moveTo>
                    <a:pt x="163" y="0"/>
                  </a:moveTo>
                  <a:lnTo>
                    <a:pt x="196" y="4"/>
                  </a:lnTo>
                  <a:lnTo>
                    <a:pt x="226" y="13"/>
                  </a:lnTo>
                  <a:lnTo>
                    <a:pt x="253" y="28"/>
                  </a:lnTo>
                  <a:lnTo>
                    <a:pt x="278" y="47"/>
                  </a:lnTo>
                  <a:lnTo>
                    <a:pt x="298" y="71"/>
                  </a:lnTo>
                  <a:lnTo>
                    <a:pt x="313" y="99"/>
                  </a:lnTo>
                  <a:lnTo>
                    <a:pt x="322" y="129"/>
                  </a:lnTo>
                  <a:lnTo>
                    <a:pt x="326" y="161"/>
                  </a:lnTo>
                  <a:lnTo>
                    <a:pt x="322" y="194"/>
                  </a:lnTo>
                  <a:lnTo>
                    <a:pt x="313" y="225"/>
                  </a:lnTo>
                  <a:lnTo>
                    <a:pt x="298" y="252"/>
                  </a:lnTo>
                  <a:lnTo>
                    <a:pt x="278" y="275"/>
                  </a:lnTo>
                  <a:lnTo>
                    <a:pt x="253" y="295"/>
                  </a:lnTo>
                  <a:lnTo>
                    <a:pt x="226" y="310"/>
                  </a:lnTo>
                  <a:lnTo>
                    <a:pt x="196" y="320"/>
                  </a:lnTo>
                  <a:lnTo>
                    <a:pt x="163" y="323"/>
                  </a:lnTo>
                  <a:lnTo>
                    <a:pt x="130" y="320"/>
                  </a:lnTo>
                  <a:lnTo>
                    <a:pt x="100" y="310"/>
                  </a:lnTo>
                  <a:lnTo>
                    <a:pt x="72" y="295"/>
                  </a:lnTo>
                  <a:lnTo>
                    <a:pt x="48" y="275"/>
                  </a:lnTo>
                  <a:lnTo>
                    <a:pt x="28" y="252"/>
                  </a:lnTo>
                  <a:lnTo>
                    <a:pt x="13" y="225"/>
                  </a:lnTo>
                  <a:lnTo>
                    <a:pt x="3" y="194"/>
                  </a:lnTo>
                  <a:lnTo>
                    <a:pt x="0" y="161"/>
                  </a:lnTo>
                  <a:lnTo>
                    <a:pt x="3" y="129"/>
                  </a:lnTo>
                  <a:lnTo>
                    <a:pt x="13" y="99"/>
                  </a:lnTo>
                  <a:lnTo>
                    <a:pt x="28" y="71"/>
                  </a:lnTo>
                  <a:lnTo>
                    <a:pt x="48" y="47"/>
                  </a:lnTo>
                  <a:lnTo>
                    <a:pt x="72" y="28"/>
                  </a:lnTo>
                  <a:lnTo>
                    <a:pt x="100" y="13"/>
                  </a:lnTo>
                  <a:lnTo>
                    <a:pt x="130" y="4"/>
                  </a:lnTo>
                  <a:lnTo>
                    <a:pt x="1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20" name="Freeform 43"/>
          <p:cNvSpPr>
            <a:spLocks noEditPoints="1"/>
          </p:cNvSpPr>
          <p:nvPr userDrawn="1"/>
        </p:nvSpPr>
        <p:spPr bwMode="auto">
          <a:xfrm>
            <a:off x="5126576" y="4626518"/>
            <a:ext cx="380365" cy="523228"/>
          </a:xfrm>
          <a:custGeom>
            <a:avLst/>
            <a:gdLst>
              <a:gd name="T0" fmla="*/ 1063 w 2784"/>
              <a:gd name="T1" fmla="*/ 1489 h 3336"/>
              <a:gd name="T2" fmla="*/ 1410 w 2784"/>
              <a:gd name="T3" fmla="*/ 1742 h 3336"/>
              <a:gd name="T4" fmla="*/ 1721 w 2784"/>
              <a:gd name="T5" fmla="*/ 1488 h 3336"/>
              <a:gd name="T6" fmla="*/ 1558 w 2784"/>
              <a:gd name="T7" fmla="*/ 1038 h 3336"/>
              <a:gd name="T8" fmla="*/ 2377 w 2784"/>
              <a:gd name="T9" fmla="*/ 901 h 3336"/>
              <a:gd name="T10" fmla="*/ 1879 w 2784"/>
              <a:gd name="T11" fmla="*/ 1012 h 3336"/>
              <a:gd name="T12" fmla="*/ 1879 w 2784"/>
              <a:gd name="T13" fmla="*/ 1771 h 3336"/>
              <a:gd name="T14" fmla="*/ 2378 w 2784"/>
              <a:gd name="T15" fmla="*/ 1882 h 3336"/>
              <a:gd name="T16" fmla="*/ 2554 w 2784"/>
              <a:gd name="T17" fmla="*/ 1548 h 3336"/>
              <a:gd name="T18" fmla="*/ 2524 w 2784"/>
              <a:gd name="T19" fmla="*/ 1085 h 3336"/>
              <a:gd name="T20" fmla="*/ 1740 w 2784"/>
              <a:gd name="T21" fmla="*/ 376 h 3336"/>
              <a:gd name="T22" fmla="*/ 1858 w 2784"/>
              <a:gd name="T23" fmla="*/ 838 h 3336"/>
              <a:gd name="T24" fmla="*/ 2296 w 2784"/>
              <a:gd name="T25" fmla="*/ 743 h 3336"/>
              <a:gd name="T26" fmla="*/ 2093 w 2784"/>
              <a:gd name="T27" fmla="*/ 453 h 3336"/>
              <a:gd name="T28" fmla="*/ 1685 w 2784"/>
              <a:gd name="T29" fmla="*/ 257 h 3336"/>
              <a:gd name="T30" fmla="*/ 727 w 2784"/>
              <a:gd name="T31" fmla="*/ 428 h 3336"/>
              <a:gd name="T32" fmla="*/ 496 w 2784"/>
              <a:gd name="T33" fmla="*/ 733 h 3336"/>
              <a:gd name="T34" fmla="*/ 927 w 2784"/>
              <a:gd name="T35" fmla="*/ 833 h 3336"/>
              <a:gd name="T36" fmla="*/ 1045 w 2784"/>
              <a:gd name="T37" fmla="*/ 376 h 3336"/>
              <a:gd name="T38" fmla="*/ 1311 w 2784"/>
              <a:gd name="T39" fmla="*/ 258 h 3336"/>
              <a:gd name="T40" fmla="*/ 1186 w 2784"/>
              <a:gd name="T41" fmla="*/ 501 h 3336"/>
              <a:gd name="T42" fmla="*/ 1215 w 2784"/>
              <a:gd name="T43" fmla="*/ 860 h 3336"/>
              <a:gd name="T44" fmla="*/ 1654 w 2784"/>
              <a:gd name="T45" fmla="*/ 699 h 3336"/>
              <a:gd name="T46" fmla="*/ 1538 w 2784"/>
              <a:gd name="T47" fmla="*/ 356 h 3336"/>
              <a:gd name="T48" fmla="*/ 1392 w 2784"/>
              <a:gd name="T49" fmla="*/ 219 h 3336"/>
              <a:gd name="T50" fmla="*/ 1850 w 2784"/>
              <a:gd name="T51" fmla="*/ 77 h 3336"/>
              <a:gd name="T52" fmla="*/ 2312 w 2784"/>
              <a:gd name="T53" fmla="*/ 347 h 3336"/>
              <a:gd name="T54" fmla="*/ 2637 w 2784"/>
              <a:gd name="T55" fmla="*/ 768 h 3336"/>
              <a:gd name="T56" fmla="*/ 2781 w 2784"/>
              <a:gd name="T57" fmla="*/ 1297 h 3336"/>
              <a:gd name="T58" fmla="*/ 2713 w 2784"/>
              <a:gd name="T59" fmla="*/ 1831 h 3336"/>
              <a:gd name="T60" fmla="*/ 2461 w 2784"/>
              <a:gd name="T61" fmla="*/ 2276 h 3336"/>
              <a:gd name="T62" fmla="*/ 2195 w 2784"/>
              <a:gd name="T63" fmla="*/ 2245 h 3336"/>
              <a:gd name="T64" fmla="*/ 2165 w 2784"/>
              <a:gd name="T65" fmla="*/ 2002 h 3336"/>
              <a:gd name="T66" fmla="*/ 1826 w 2784"/>
              <a:gd name="T67" fmla="*/ 2116 h 3336"/>
              <a:gd name="T68" fmla="*/ 1595 w 2784"/>
              <a:gd name="T69" fmla="*/ 1923 h 3336"/>
              <a:gd name="T70" fmla="*/ 1060 w 2784"/>
              <a:gd name="T71" fmla="*/ 2193 h 3336"/>
              <a:gd name="T72" fmla="*/ 1011 w 2784"/>
              <a:gd name="T73" fmla="*/ 2186 h 3336"/>
              <a:gd name="T74" fmla="*/ 927 w 2784"/>
              <a:gd name="T75" fmla="*/ 1950 h 3336"/>
              <a:gd name="T76" fmla="*/ 617 w 2784"/>
              <a:gd name="T77" fmla="*/ 1946 h 3336"/>
              <a:gd name="T78" fmla="*/ 623 w 2784"/>
              <a:gd name="T79" fmla="*/ 1829 h 3336"/>
              <a:gd name="T80" fmla="*/ 887 w 2784"/>
              <a:gd name="T81" fmla="*/ 1392 h 3336"/>
              <a:gd name="T82" fmla="*/ 639 w 2784"/>
              <a:gd name="T83" fmla="*/ 958 h 3336"/>
              <a:gd name="T84" fmla="*/ 287 w 2784"/>
              <a:gd name="T85" fmla="*/ 1000 h 3336"/>
              <a:gd name="T86" fmla="*/ 223 w 2784"/>
              <a:gd name="T87" fmla="*/ 1380 h 3336"/>
              <a:gd name="T88" fmla="*/ 301 w 2784"/>
              <a:gd name="T89" fmla="*/ 1726 h 3336"/>
              <a:gd name="T90" fmla="*/ 491 w 2784"/>
              <a:gd name="T91" fmla="*/ 2029 h 3336"/>
              <a:gd name="T92" fmla="*/ 791 w 2784"/>
              <a:gd name="T93" fmla="*/ 2243 h 3336"/>
              <a:gd name="T94" fmla="*/ 1196 w 2784"/>
              <a:gd name="T95" fmla="*/ 2325 h 3336"/>
              <a:gd name="T96" fmla="*/ 1007 w 2784"/>
              <a:gd name="T97" fmla="*/ 2925 h 3336"/>
              <a:gd name="T98" fmla="*/ 536 w 2784"/>
              <a:gd name="T99" fmla="*/ 2645 h 3336"/>
              <a:gd name="T100" fmla="*/ 211 w 2784"/>
              <a:gd name="T101" fmla="*/ 2250 h 3336"/>
              <a:gd name="T102" fmla="*/ 34 w 2784"/>
              <a:gd name="T103" fmla="*/ 1761 h 3336"/>
              <a:gd name="T104" fmla="*/ 10 w 2784"/>
              <a:gd name="T105" fmla="*/ 1226 h 3336"/>
              <a:gd name="T106" fmla="*/ 168 w 2784"/>
              <a:gd name="T107" fmla="*/ 730 h 3336"/>
              <a:gd name="T108" fmla="*/ 494 w 2784"/>
              <a:gd name="T109" fmla="*/ 329 h 3336"/>
              <a:gd name="T110" fmla="*/ 948 w 2784"/>
              <a:gd name="T111" fmla="*/ 73 h 3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784" h="3336">
                <a:moveTo>
                  <a:pt x="1079" y="1027"/>
                </a:moveTo>
                <a:lnTo>
                  <a:pt x="1072" y="1112"/>
                </a:lnTo>
                <a:lnTo>
                  <a:pt x="1067" y="1201"/>
                </a:lnTo>
                <a:lnTo>
                  <a:pt x="1063" y="1294"/>
                </a:lnTo>
                <a:lnTo>
                  <a:pt x="1062" y="1392"/>
                </a:lnTo>
                <a:lnTo>
                  <a:pt x="1063" y="1489"/>
                </a:lnTo>
                <a:lnTo>
                  <a:pt x="1067" y="1582"/>
                </a:lnTo>
                <a:lnTo>
                  <a:pt x="1072" y="1671"/>
                </a:lnTo>
                <a:lnTo>
                  <a:pt x="1079" y="1756"/>
                </a:lnTo>
                <a:lnTo>
                  <a:pt x="1187" y="1749"/>
                </a:lnTo>
                <a:lnTo>
                  <a:pt x="1297" y="1744"/>
                </a:lnTo>
                <a:lnTo>
                  <a:pt x="1410" y="1742"/>
                </a:lnTo>
                <a:lnTo>
                  <a:pt x="1511" y="1744"/>
                </a:lnTo>
                <a:lnTo>
                  <a:pt x="1609" y="1747"/>
                </a:lnTo>
                <a:lnTo>
                  <a:pt x="1705" y="1754"/>
                </a:lnTo>
                <a:lnTo>
                  <a:pt x="1713" y="1669"/>
                </a:lnTo>
                <a:lnTo>
                  <a:pt x="1718" y="1581"/>
                </a:lnTo>
                <a:lnTo>
                  <a:pt x="1721" y="1488"/>
                </a:lnTo>
                <a:lnTo>
                  <a:pt x="1722" y="1392"/>
                </a:lnTo>
                <a:lnTo>
                  <a:pt x="1721" y="1295"/>
                </a:lnTo>
                <a:lnTo>
                  <a:pt x="1718" y="1203"/>
                </a:lnTo>
                <a:lnTo>
                  <a:pt x="1713" y="1114"/>
                </a:lnTo>
                <a:lnTo>
                  <a:pt x="1705" y="1029"/>
                </a:lnTo>
                <a:lnTo>
                  <a:pt x="1558" y="1038"/>
                </a:lnTo>
                <a:lnTo>
                  <a:pt x="1410" y="1041"/>
                </a:lnTo>
                <a:lnTo>
                  <a:pt x="1297" y="1039"/>
                </a:lnTo>
                <a:lnTo>
                  <a:pt x="1187" y="1035"/>
                </a:lnTo>
                <a:lnTo>
                  <a:pt x="1079" y="1027"/>
                </a:lnTo>
                <a:close/>
                <a:moveTo>
                  <a:pt x="2444" y="874"/>
                </a:moveTo>
                <a:lnTo>
                  <a:pt x="2377" y="901"/>
                </a:lnTo>
                <a:lnTo>
                  <a:pt x="2306" y="924"/>
                </a:lnTo>
                <a:lnTo>
                  <a:pt x="2229" y="946"/>
                </a:lnTo>
                <a:lnTo>
                  <a:pt x="2148" y="965"/>
                </a:lnTo>
                <a:lnTo>
                  <a:pt x="2062" y="984"/>
                </a:lnTo>
                <a:lnTo>
                  <a:pt x="1973" y="999"/>
                </a:lnTo>
                <a:lnTo>
                  <a:pt x="1879" y="1012"/>
                </a:lnTo>
                <a:lnTo>
                  <a:pt x="1890" y="1137"/>
                </a:lnTo>
                <a:lnTo>
                  <a:pt x="1896" y="1264"/>
                </a:lnTo>
                <a:lnTo>
                  <a:pt x="1898" y="1392"/>
                </a:lnTo>
                <a:lnTo>
                  <a:pt x="1896" y="1519"/>
                </a:lnTo>
                <a:lnTo>
                  <a:pt x="1890" y="1647"/>
                </a:lnTo>
                <a:lnTo>
                  <a:pt x="1879" y="1771"/>
                </a:lnTo>
                <a:lnTo>
                  <a:pt x="1973" y="1784"/>
                </a:lnTo>
                <a:lnTo>
                  <a:pt x="2062" y="1799"/>
                </a:lnTo>
                <a:lnTo>
                  <a:pt x="2148" y="1818"/>
                </a:lnTo>
                <a:lnTo>
                  <a:pt x="2230" y="1837"/>
                </a:lnTo>
                <a:lnTo>
                  <a:pt x="2307" y="1859"/>
                </a:lnTo>
                <a:lnTo>
                  <a:pt x="2378" y="1882"/>
                </a:lnTo>
                <a:lnTo>
                  <a:pt x="2445" y="1909"/>
                </a:lnTo>
                <a:lnTo>
                  <a:pt x="2476" y="1840"/>
                </a:lnTo>
                <a:lnTo>
                  <a:pt x="2502" y="1770"/>
                </a:lnTo>
                <a:lnTo>
                  <a:pt x="2524" y="1698"/>
                </a:lnTo>
                <a:lnTo>
                  <a:pt x="2541" y="1624"/>
                </a:lnTo>
                <a:lnTo>
                  <a:pt x="2554" y="1548"/>
                </a:lnTo>
                <a:lnTo>
                  <a:pt x="2563" y="1471"/>
                </a:lnTo>
                <a:lnTo>
                  <a:pt x="2565" y="1392"/>
                </a:lnTo>
                <a:lnTo>
                  <a:pt x="2563" y="1313"/>
                </a:lnTo>
                <a:lnTo>
                  <a:pt x="2554" y="1235"/>
                </a:lnTo>
                <a:lnTo>
                  <a:pt x="2541" y="1160"/>
                </a:lnTo>
                <a:lnTo>
                  <a:pt x="2524" y="1085"/>
                </a:lnTo>
                <a:lnTo>
                  <a:pt x="2502" y="1013"/>
                </a:lnTo>
                <a:lnTo>
                  <a:pt x="2476" y="942"/>
                </a:lnTo>
                <a:lnTo>
                  <a:pt x="2444" y="874"/>
                </a:lnTo>
                <a:close/>
                <a:moveTo>
                  <a:pt x="1685" y="257"/>
                </a:moveTo>
                <a:lnTo>
                  <a:pt x="1714" y="313"/>
                </a:lnTo>
                <a:lnTo>
                  <a:pt x="1740" y="376"/>
                </a:lnTo>
                <a:lnTo>
                  <a:pt x="1766" y="444"/>
                </a:lnTo>
                <a:lnTo>
                  <a:pt x="1788" y="516"/>
                </a:lnTo>
                <a:lnTo>
                  <a:pt x="1809" y="591"/>
                </a:lnTo>
                <a:lnTo>
                  <a:pt x="1827" y="670"/>
                </a:lnTo>
                <a:lnTo>
                  <a:pt x="1844" y="752"/>
                </a:lnTo>
                <a:lnTo>
                  <a:pt x="1858" y="838"/>
                </a:lnTo>
                <a:lnTo>
                  <a:pt x="1940" y="826"/>
                </a:lnTo>
                <a:lnTo>
                  <a:pt x="2018" y="813"/>
                </a:lnTo>
                <a:lnTo>
                  <a:pt x="2093" y="799"/>
                </a:lnTo>
                <a:lnTo>
                  <a:pt x="2165" y="781"/>
                </a:lnTo>
                <a:lnTo>
                  <a:pt x="2232" y="763"/>
                </a:lnTo>
                <a:lnTo>
                  <a:pt x="2296" y="743"/>
                </a:lnTo>
                <a:lnTo>
                  <a:pt x="2354" y="722"/>
                </a:lnTo>
                <a:lnTo>
                  <a:pt x="2309" y="662"/>
                </a:lnTo>
                <a:lnTo>
                  <a:pt x="2260" y="605"/>
                </a:lnTo>
                <a:lnTo>
                  <a:pt x="2208" y="551"/>
                </a:lnTo>
                <a:lnTo>
                  <a:pt x="2152" y="499"/>
                </a:lnTo>
                <a:lnTo>
                  <a:pt x="2093" y="453"/>
                </a:lnTo>
                <a:lnTo>
                  <a:pt x="2032" y="409"/>
                </a:lnTo>
                <a:lnTo>
                  <a:pt x="1968" y="370"/>
                </a:lnTo>
                <a:lnTo>
                  <a:pt x="1900" y="336"/>
                </a:lnTo>
                <a:lnTo>
                  <a:pt x="1831" y="304"/>
                </a:lnTo>
                <a:lnTo>
                  <a:pt x="1760" y="278"/>
                </a:lnTo>
                <a:lnTo>
                  <a:pt x="1685" y="257"/>
                </a:lnTo>
                <a:close/>
                <a:moveTo>
                  <a:pt x="1100" y="257"/>
                </a:moveTo>
                <a:lnTo>
                  <a:pt x="1020" y="280"/>
                </a:lnTo>
                <a:lnTo>
                  <a:pt x="942" y="309"/>
                </a:lnTo>
                <a:lnTo>
                  <a:pt x="868" y="344"/>
                </a:lnTo>
                <a:lnTo>
                  <a:pt x="796" y="383"/>
                </a:lnTo>
                <a:lnTo>
                  <a:pt x="727" y="428"/>
                </a:lnTo>
                <a:lnTo>
                  <a:pt x="662" y="476"/>
                </a:lnTo>
                <a:lnTo>
                  <a:pt x="600" y="529"/>
                </a:lnTo>
                <a:lnTo>
                  <a:pt x="542" y="585"/>
                </a:lnTo>
                <a:lnTo>
                  <a:pt x="488" y="647"/>
                </a:lnTo>
                <a:lnTo>
                  <a:pt x="439" y="711"/>
                </a:lnTo>
                <a:lnTo>
                  <a:pt x="496" y="733"/>
                </a:lnTo>
                <a:lnTo>
                  <a:pt x="557" y="754"/>
                </a:lnTo>
                <a:lnTo>
                  <a:pt x="624" y="773"/>
                </a:lnTo>
                <a:lnTo>
                  <a:pt x="695" y="791"/>
                </a:lnTo>
                <a:lnTo>
                  <a:pt x="769" y="807"/>
                </a:lnTo>
                <a:lnTo>
                  <a:pt x="846" y="821"/>
                </a:lnTo>
                <a:lnTo>
                  <a:pt x="927" y="833"/>
                </a:lnTo>
                <a:lnTo>
                  <a:pt x="941" y="749"/>
                </a:lnTo>
                <a:lnTo>
                  <a:pt x="958" y="667"/>
                </a:lnTo>
                <a:lnTo>
                  <a:pt x="977" y="588"/>
                </a:lnTo>
                <a:lnTo>
                  <a:pt x="997" y="514"/>
                </a:lnTo>
                <a:lnTo>
                  <a:pt x="1019" y="443"/>
                </a:lnTo>
                <a:lnTo>
                  <a:pt x="1045" y="376"/>
                </a:lnTo>
                <a:lnTo>
                  <a:pt x="1071" y="313"/>
                </a:lnTo>
                <a:lnTo>
                  <a:pt x="1100" y="257"/>
                </a:lnTo>
                <a:close/>
                <a:moveTo>
                  <a:pt x="1392" y="219"/>
                </a:moveTo>
                <a:lnTo>
                  <a:pt x="1350" y="220"/>
                </a:lnTo>
                <a:lnTo>
                  <a:pt x="1331" y="237"/>
                </a:lnTo>
                <a:lnTo>
                  <a:pt x="1311" y="258"/>
                </a:lnTo>
                <a:lnTo>
                  <a:pt x="1289" y="284"/>
                </a:lnTo>
                <a:lnTo>
                  <a:pt x="1268" y="316"/>
                </a:lnTo>
                <a:lnTo>
                  <a:pt x="1248" y="355"/>
                </a:lnTo>
                <a:lnTo>
                  <a:pt x="1227" y="398"/>
                </a:lnTo>
                <a:lnTo>
                  <a:pt x="1205" y="447"/>
                </a:lnTo>
                <a:lnTo>
                  <a:pt x="1186" y="501"/>
                </a:lnTo>
                <a:lnTo>
                  <a:pt x="1167" y="561"/>
                </a:lnTo>
                <a:lnTo>
                  <a:pt x="1149" y="626"/>
                </a:lnTo>
                <a:lnTo>
                  <a:pt x="1132" y="696"/>
                </a:lnTo>
                <a:lnTo>
                  <a:pt x="1115" y="771"/>
                </a:lnTo>
                <a:lnTo>
                  <a:pt x="1101" y="852"/>
                </a:lnTo>
                <a:lnTo>
                  <a:pt x="1215" y="860"/>
                </a:lnTo>
                <a:lnTo>
                  <a:pt x="1330" y="864"/>
                </a:lnTo>
                <a:lnTo>
                  <a:pt x="1448" y="865"/>
                </a:lnTo>
                <a:lnTo>
                  <a:pt x="1566" y="862"/>
                </a:lnTo>
                <a:lnTo>
                  <a:pt x="1684" y="855"/>
                </a:lnTo>
                <a:lnTo>
                  <a:pt x="1670" y="774"/>
                </a:lnTo>
                <a:lnTo>
                  <a:pt x="1654" y="699"/>
                </a:lnTo>
                <a:lnTo>
                  <a:pt x="1637" y="628"/>
                </a:lnTo>
                <a:lnTo>
                  <a:pt x="1619" y="562"/>
                </a:lnTo>
                <a:lnTo>
                  <a:pt x="1600" y="502"/>
                </a:lnTo>
                <a:lnTo>
                  <a:pt x="1580" y="448"/>
                </a:lnTo>
                <a:lnTo>
                  <a:pt x="1558" y="399"/>
                </a:lnTo>
                <a:lnTo>
                  <a:pt x="1538" y="356"/>
                </a:lnTo>
                <a:lnTo>
                  <a:pt x="1517" y="317"/>
                </a:lnTo>
                <a:lnTo>
                  <a:pt x="1496" y="285"/>
                </a:lnTo>
                <a:lnTo>
                  <a:pt x="1474" y="258"/>
                </a:lnTo>
                <a:lnTo>
                  <a:pt x="1454" y="237"/>
                </a:lnTo>
                <a:lnTo>
                  <a:pt x="1435" y="220"/>
                </a:lnTo>
                <a:lnTo>
                  <a:pt x="1392" y="219"/>
                </a:lnTo>
                <a:close/>
                <a:moveTo>
                  <a:pt x="1392" y="0"/>
                </a:moveTo>
                <a:lnTo>
                  <a:pt x="1488" y="3"/>
                </a:lnTo>
                <a:lnTo>
                  <a:pt x="1582" y="13"/>
                </a:lnTo>
                <a:lnTo>
                  <a:pt x="1673" y="28"/>
                </a:lnTo>
                <a:lnTo>
                  <a:pt x="1763" y="50"/>
                </a:lnTo>
                <a:lnTo>
                  <a:pt x="1850" y="77"/>
                </a:lnTo>
                <a:lnTo>
                  <a:pt x="1934" y="109"/>
                </a:lnTo>
                <a:lnTo>
                  <a:pt x="2015" y="148"/>
                </a:lnTo>
                <a:lnTo>
                  <a:pt x="2094" y="190"/>
                </a:lnTo>
                <a:lnTo>
                  <a:pt x="2170" y="238"/>
                </a:lnTo>
                <a:lnTo>
                  <a:pt x="2243" y="290"/>
                </a:lnTo>
                <a:lnTo>
                  <a:pt x="2312" y="347"/>
                </a:lnTo>
                <a:lnTo>
                  <a:pt x="2376" y="408"/>
                </a:lnTo>
                <a:lnTo>
                  <a:pt x="2437" y="473"/>
                </a:lnTo>
                <a:lnTo>
                  <a:pt x="2494" y="542"/>
                </a:lnTo>
                <a:lnTo>
                  <a:pt x="2546" y="614"/>
                </a:lnTo>
                <a:lnTo>
                  <a:pt x="2594" y="689"/>
                </a:lnTo>
                <a:lnTo>
                  <a:pt x="2637" y="768"/>
                </a:lnTo>
                <a:lnTo>
                  <a:pt x="2675" y="850"/>
                </a:lnTo>
                <a:lnTo>
                  <a:pt x="2707" y="935"/>
                </a:lnTo>
                <a:lnTo>
                  <a:pt x="2734" y="1022"/>
                </a:lnTo>
                <a:lnTo>
                  <a:pt x="2756" y="1112"/>
                </a:lnTo>
                <a:lnTo>
                  <a:pt x="2772" y="1203"/>
                </a:lnTo>
                <a:lnTo>
                  <a:pt x="2781" y="1297"/>
                </a:lnTo>
                <a:lnTo>
                  <a:pt x="2784" y="1392"/>
                </a:lnTo>
                <a:lnTo>
                  <a:pt x="2781" y="1484"/>
                </a:lnTo>
                <a:lnTo>
                  <a:pt x="2773" y="1574"/>
                </a:lnTo>
                <a:lnTo>
                  <a:pt x="2759" y="1662"/>
                </a:lnTo>
                <a:lnTo>
                  <a:pt x="2738" y="1747"/>
                </a:lnTo>
                <a:lnTo>
                  <a:pt x="2713" y="1831"/>
                </a:lnTo>
                <a:lnTo>
                  <a:pt x="2683" y="1912"/>
                </a:lnTo>
                <a:lnTo>
                  <a:pt x="2647" y="1990"/>
                </a:lnTo>
                <a:lnTo>
                  <a:pt x="2608" y="2066"/>
                </a:lnTo>
                <a:lnTo>
                  <a:pt x="2564" y="2139"/>
                </a:lnTo>
                <a:lnTo>
                  <a:pt x="2514" y="2209"/>
                </a:lnTo>
                <a:lnTo>
                  <a:pt x="2461" y="2276"/>
                </a:lnTo>
                <a:lnTo>
                  <a:pt x="2404" y="2339"/>
                </a:lnTo>
                <a:lnTo>
                  <a:pt x="2343" y="2399"/>
                </a:lnTo>
                <a:lnTo>
                  <a:pt x="2277" y="2455"/>
                </a:lnTo>
                <a:lnTo>
                  <a:pt x="2070" y="2348"/>
                </a:lnTo>
                <a:lnTo>
                  <a:pt x="2135" y="2299"/>
                </a:lnTo>
                <a:lnTo>
                  <a:pt x="2195" y="2245"/>
                </a:lnTo>
                <a:lnTo>
                  <a:pt x="2252" y="2188"/>
                </a:lnTo>
                <a:lnTo>
                  <a:pt x="2306" y="2126"/>
                </a:lnTo>
                <a:lnTo>
                  <a:pt x="2354" y="2061"/>
                </a:lnTo>
                <a:lnTo>
                  <a:pt x="2296" y="2040"/>
                </a:lnTo>
                <a:lnTo>
                  <a:pt x="2233" y="2020"/>
                </a:lnTo>
                <a:lnTo>
                  <a:pt x="2165" y="2002"/>
                </a:lnTo>
                <a:lnTo>
                  <a:pt x="2094" y="1985"/>
                </a:lnTo>
                <a:lnTo>
                  <a:pt x="2018" y="1970"/>
                </a:lnTo>
                <a:lnTo>
                  <a:pt x="1940" y="1957"/>
                </a:lnTo>
                <a:lnTo>
                  <a:pt x="1858" y="1946"/>
                </a:lnTo>
                <a:lnTo>
                  <a:pt x="1844" y="2032"/>
                </a:lnTo>
                <a:lnTo>
                  <a:pt x="1826" y="2116"/>
                </a:lnTo>
                <a:lnTo>
                  <a:pt x="1808" y="2197"/>
                </a:lnTo>
                <a:lnTo>
                  <a:pt x="1649" y="2106"/>
                </a:lnTo>
                <a:lnTo>
                  <a:pt x="1661" y="2049"/>
                </a:lnTo>
                <a:lnTo>
                  <a:pt x="1674" y="1990"/>
                </a:lnTo>
                <a:lnTo>
                  <a:pt x="1684" y="1928"/>
                </a:lnTo>
                <a:lnTo>
                  <a:pt x="1595" y="1923"/>
                </a:lnTo>
                <a:lnTo>
                  <a:pt x="1503" y="1919"/>
                </a:lnTo>
                <a:lnTo>
                  <a:pt x="1410" y="1918"/>
                </a:lnTo>
                <a:lnTo>
                  <a:pt x="1327" y="1919"/>
                </a:lnTo>
                <a:lnTo>
                  <a:pt x="1065" y="1768"/>
                </a:lnTo>
                <a:lnTo>
                  <a:pt x="1065" y="2193"/>
                </a:lnTo>
                <a:lnTo>
                  <a:pt x="1060" y="2193"/>
                </a:lnTo>
                <a:lnTo>
                  <a:pt x="1055" y="2192"/>
                </a:lnTo>
                <a:lnTo>
                  <a:pt x="1050" y="2192"/>
                </a:lnTo>
                <a:lnTo>
                  <a:pt x="1048" y="2192"/>
                </a:lnTo>
                <a:lnTo>
                  <a:pt x="1043" y="2192"/>
                </a:lnTo>
                <a:lnTo>
                  <a:pt x="1028" y="2190"/>
                </a:lnTo>
                <a:lnTo>
                  <a:pt x="1011" y="2186"/>
                </a:lnTo>
                <a:lnTo>
                  <a:pt x="992" y="2181"/>
                </a:lnTo>
                <a:lnTo>
                  <a:pt x="972" y="2174"/>
                </a:lnTo>
                <a:lnTo>
                  <a:pt x="971" y="2174"/>
                </a:lnTo>
                <a:lnTo>
                  <a:pt x="955" y="2102"/>
                </a:lnTo>
                <a:lnTo>
                  <a:pt x="940" y="2027"/>
                </a:lnTo>
                <a:lnTo>
                  <a:pt x="927" y="1950"/>
                </a:lnTo>
                <a:lnTo>
                  <a:pt x="837" y="1963"/>
                </a:lnTo>
                <a:lnTo>
                  <a:pt x="752" y="1979"/>
                </a:lnTo>
                <a:lnTo>
                  <a:pt x="671" y="1998"/>
                </a:lnTo>
                <a:lnTo>
                  <a:pt x="644" y="1974"/>
                </a:lnTo>
                <a:lnTo>
                  <a:pt x="621" y="1950"/>
                </a:lnTo>
                <a:lnTo>
                  <a:pt x="617" y="1946"/>
                </a:lnTo>
                <a:lnTo>
                  <a:pt x="613" y="1942"/>
                </a:lnTo>
                <a:lnTo>
                  <a:pt x="594" y="1922"/>
                </a:lnTo>
                <a:lnTo>
                  <a:pt x="575" y="1899"/>
                </a:lnTo>
                <a:lnTo>
                  <a:pt x="556" y="1875"/>
                </a:lnTo>
                <a:lnTo>
                  <a:pt x="538" y="1852"/>
                </a:lnTo>
                <a:lnTo>
                  <a:pt x="623" y="1829"/>
                </a:lnTo>
                <a:lnTo>
                  <a:pt x="713" y="1809"/>
                </a:lnTo>
                <a:lnTo>
                  <a:pt x="807" y="1790"/>
                </a:lnTo>
                <a:lnTo>
                  <a:pt x="906" y="1776"/>
                </a:lnTo>
                <a:lnTo>
                  <a:pt x="895" y="1649"/>
                </a:lnTo>
                <a:lnTo>
                  <a:pt x="889" y="1521"/>
                </a:lnTo>
                <a:lnTo>
                  <a:pt x="887" y="1392"/>
                </a:lnTo>
                <a:lnTo>
                  <a:pt x="889" y="1263"/>
                </a:lnTo>
                <a:lnTo>
                  <a:pt x="895" y="1134"/>
                </a:lnTo>
                <a:lnTo>
                  <a:pt x="906" y="1008"/>
                </a:lnTo>
                <a:lnTo>
                  <a:pt x="813" y="994"/>
                </a:lnTo>
                <a:lnTo>
                  <a:pt x="724" y="978"/>
                </a:lnTo>
                <a:lnTo>
                  <a:pt x="639" y="958"/>
                </a:lnTo>
                <a:lnTo>
                  <a:pt x="558" y="937"/>
                </a:lnTo>
                <a:lnTo>
                  <a:pt x="482" y="915"/>
                </a:lnTo>
                <a:lnTo>
                  <a:pt x="412" y="890"/>
                </a:lnTo>
                <a:lnTo>
                  <a:pt x="347" y="863"/>
                </a:lnTo>
                <a:lnTo>
                  <a:pt x="314" y="930"/>
                </a:lnTo>
                <a:lnTo>
                  <a:pt x="287" y="1000"/>
                </a:lnTo>
                <a:lnTo>
                  <a:pt x="264" y="1072"/>
                </a:lnTo>
                <a:lnTo>
                  <a:pt x="246" y="1146"/>
                </a:lnTo>
                <a:lnTo>
                  <a:pt x="235" y="1203"/>
                </a:lnTo>
                <a:lnTo>
                  <a:pt x="228" y="1262"/>
                </a:lnTo>
                <a:lnTo>
                  <a:pt x="222" y="1321"/>
                </a:lnTo>
                <a:lnTo>
                  <a:pt x="223" y="1380"/>
                </a:lnTo>
                <a:lnTo>
                  <a:pt x="229" y="1439"/>
                </a:lnTo>
                <a:lnTo>
                  <a:pt x="237" y="1497"/>
                </a:lnTo>
                <a:lnTo>
                  <a:pt x="248" y="1556"/>
                </a:lnTo>
                <a:lnTo>
                  <a:pt x="263" y="1613"/>
                </a:lnTo>
                <a:lnTo>
                  <a:pt x="280" y="1670"/>
                </a:lnTo>
                <a:lnTo>
                  <a:pt x="301" y="1726"/>
                </a:lnTo>
                <a:lnTo>
                  <a:pt x="325" y="1781"/>
                </a:lnTo>
                <a:lnTo>
                  <a:pt x="352" y="1834"/>
                </a:lnTo>
                <a:lnTo>
                  <a:pt x="382" y="1885"/>
                </a:lnTo>
                <a:lnTo>
                  <a:pt x="416" y="1936"/>
                </a:lnTo>
                <a:lnTo>
                  <a:pt x="452" y="1983"/>
                </a:lnTo>
                <a:lnTo>
                  <a:pt x="491" y="2029"/>
                </a:lnTo>
                <a:lnTo>
                  <a:pt x="534" y="2072"/>
                </a:lnTo>
                <a:lnTo>
                  <a:pt x="578" y="2113"/>
                </a:lnTo>
                <a:lnTo>
                  <a:pt x="627" y="2150"/>
                </a:lnTo>
                <a:lnTo>
                  <a:pt x="679" y="2185"/>
                </a:lnTo>
                <a:lnTo>
                  <a:pt x="733" y="2216"/>
                </a:lnTo>
                <a:lnTo>
                  <a:pt x="791" y="2243"/>
                </a:lnTo>
                <a:lnTo>
                  <a:pt x="851" y="2267"/>
                </a:lnTo>
                <a:lnTo>
                  <a:pt x="914" y="2288"/>
                </a:lnTo>
                <a:lnTo>
                  <a:pt x="981" y="2304"/>
                </a:lnTo>
                <a:lnTo>
                  <a:pt x="1050" y="2315"/>
                </a:lnTo>
                <a:lnTo>
                  <a:pt x="1121" y="2322"/>
                </a:lnTo>
                <a:lnTo>
                  <a:pt x="1196" y="2325"/>
                </a:lnTo>
                <a:lnTo>
                  <a:pt x="1196" y="1996"/>
                </a:lnTo>
                <a:lnTo>
                  <a:pt x="2357" y="2666"/>
                </a:lnTo>
                <a:lnTo>
                  <a:pt x="1196" y="3336"/>
                </a:lnTo>
                <a:lnTo>
                  <a:pt x="1196" y="2988"/>
                </a:lnTo>
                <a:lnTo>
                  <a:pt x="1100" y="2958"/>
                </a:lnTo>
                <a:lnTo>
                  <a:pt x="1007" y="2925"/>
                </a:lnTo>
                <a:lnTo>
                  <a:pt x="919" y="2886"/>
                </a:lnTo>
                <a:lnTo>
                  <a:pt x="834" y="2845"/>
                </a:lnTo>
                <a:lnTo>
                  <a:pt x="753" y="2800"/>
                </a:lnTo>
                <a:lnTo>
                  <a:pt x="678" y="2752"/>
                </a:lnTo>
                <a:lnTo>
                  <a:pt x="605" y="2699"/>
                </a:lnTo>
                <a:lnTo>
                  <a:pt x="536" y="2645"/>
                </a:lnTo>
                <a:lnTo>
                  <a:pt x="472" y="2586"/>
                </a:lnTo>
                <a:lnTo>
                  <a:pt x="412" y="2524"/>
                </a:lnTo>
                <a:lnTo>
                  <a:pt x="355" y="2461"/>
                </a:lnTo>
                <a:lnTo>
                  <a:pt x="303" y="2393"/>
                </a:lnTo>
                <a:lnTo>
                  <a:pt x="255" y="2323"/>
                </a:lnTo>
                <a:lnTo>
                  <a:pt x="211" y="2250"/>
                </a:lnTo>
                <a:lnTo>
                  <a:pt x="171" y="2174"/>
                </a:lnTo>
                <a:lnTo>
                  <a:pt x="135" y="2097"/>
                </a:lnTo>
                <a:lnTo>
                  <a:pt x="104" y="2016"/>
                </a:lnTo>
                <a:lnTo>
                  <a:pt x="77" y="1933"/>
                </a:lnTo>
                <a:lnTo>
                  <a:pt x="54" y="1848"/>
                </a:lnTo>
                <a:lnTo>
                  <a:pt x="34" y="1761"/>
                </a:lnTo>
                <a:lnTo>
                  <a:pt x="19" y="1672"/>
                </a:lnTo>
                <a:lnTo>
                  <a:pt x="9" y="1580"/>
                </a:lnTo>
                <a:lnTo>
                  <a:pt x="2" y="1487"/>
                </a:lnTo>
                <a:lnTo>
                  <a:pt x="0" y="1392"/>
                </a:lnTo>
                <a:lnTo>
                  <a:pt x="3" y="1308"/>
                </a:lnTo>
                <a:lnTo>
                  <a:pt x="10" y="1226"/>
                </a:lnTo>
                <a:lnTo>
                  <a:pt x="22" y="1146"/>
                </a:lnTo>
                <a:lnTo>
                  <a:pt x="40" y="1058"/>
                </a:lnTo>
                <a:lnTo>
                  <a:pt x="65" y="972"/>
                </a:lnTo>
                <a:lnTo>
                  <a:pt x="94" y="890"/>
                </a:lnTo>
                <a:lnTo>
                  <a:pt x="128" y="809"/>
                </a:lnTo>
                <a:lnTo>
                  <a:pt x="168" y="730"/>
                </a:lnTo>
                <a:lnTo>
                  <a:pt x="211" y="655"/>
                </a:lnTo>
                <a:lnTo>
                  <a:pt x="260" y="583"/>
                </a:lnTo>
                <a:lnTo>
                  <a:pt x="312" y="514"/>
                </a:lnTo>
                <a:lnTo>
                  <a:pt x="369" y="449"/>
                </a:lnTo>
                <a:lnTo>
                  <a:pt x="430" y="387"/>
                </a:lnTo>
                <a:lnTo>
                  <a:pt x="494" y="329"/>
                </a:lnTo>
                <a:lnTo>
                  <a:pt x="562" y="275"/>
                </a:lnTo>
                <a:lnTo>
                  <a:pt x="634" y="225"/>
                </a:lnTo>
                <a:lnTo>
                  <a:pt x="708" y="180"/>
                </a:lnTo>
                <a:lnTo>
                  <a:pt x="785" y="140"/>
                </a:lnTo>
                <a:lnTo>
                  <a:pt x="866" y="103"/>
                </a:lnTo>
                <a:lnTo>
                  <a:pt x="948" y="73"/>
                </a:lnTo>
                <a:lnTo>
                  <a:pt x="1032" y="48"/>
                </a:lnTo>
                <a:lnTo>
                  <a:pt x="1120" y="26"/>
                </a:lnTo>
                <a:lnTo>
                  <a:pt x="1209" y="12"/>
                </a:lnTo>
                <a:lnTo>
                  <a:pt x="1300" y="3"/>
                </a:lnTo>
                <a:lnTo>
                  <a:pt x="139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133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1" name="Freeform 48"/>
          <p:cNvSpPr>
            <a:spLocks noEditPoints="1"/>
          </p:cNvSpPr>
          <p:nvPr userDrawn="1"/>
        </p:nvSpPr>
        <p:spPr bwMode="auto">
          <a:xfrm>
            <a:off x="5937811" y="4902854"/>
            <a:ext cx="436348" cy="428553"/>
          </a:xfrm>
          <a:custGeom>
            <a:avLst/>
            <a:gdLst>
              <a:gd name="T0" fmla="*/ 1881 w 3739"/>
              <a:gd name="T1" fmla="*/ 3186 h 3201"/>
              <a:gd name="T2" fmla="*/ 672 w 3739"/>
              <a:gd name="T3" fmla="*/ 3186 h 3201"/>
              <a:gd name="T4" fmla="*/ 3739 w 3739"/>
              <a:gd name="T5" fmla="*/ 3107 h 3201"/>
              <a:gd name="T6" fmla="*/ 1276 w 3739"/>
              <a:gd name="T7" fmla="*/ 2782 h 3201"/>
              <a:gd name="T8" fmla="*/ 1487 w 3739"/>
              <a:gd name="T9" fmla="*/ 2798 h 3201"/>
              <a:gd name="T10" fmla="*/ 1617 w 3739"/>
              <a:gd name="T11" fmla="*/ 2834 h 3201"/>
              <a:gd name="T12" fmla="*/ 1680 w 3739"/>
              <a:gd name="T13" fmla="*/ 2867 h 3201"/>
              <a:gd name="T14" fmla="*/ 830 w 3739"/>
              <a:gd name="T15" fmla="*/ 2858 h 3201"/>
              <a:gd name="T16" fmla="*/ 977 w 3739"/>
              <a:gd name="T17" fmla="*/ 2813 h 3201"/>
              <a:gd name="T18" fmla="*/ 1206 w 3739"/>
              <a:gd name="T19" fmla="*/ 2783 h 3201"/>
              <a:gd name="T20" fmla="*/ 2554 w 3739"/>
              <a:gd name="T21" fmla="*/ 2782 h 3201"/>
              <a:gd name="T22" fmla="*/ 295 w 3739"/>
              <a:gd name="T23" fmla="*/ 2150 h 3201"/>
              <a:gd name="T24" fmla="*/ 172 w 3739"/>
              <a:gd name="T25" fmla="*/ 2222 h 3201"/>
              <a:gd name="T26" fmla="*/ 124 w 3739"/>
              <a:gd name="T27" fmla="*/ 2357 h 3201"/>
              <a:gd name="T28" fmla="*/ 172 w 3739"/>
              <a:gd name="T29" fmla="*/ 2493 h 3201"/>
              <a:gd name="T30" fmla="*/ 295 w 3739"/>
              <a:gd name="T31" fmla="*/ 2564 h 3201"/>
              <a:gd name="T32" fmla="*/ 439 w 3739"/>
              <a:gd name="T33" fmla="*/ 2539 h 3201"/>
              <a:gd name="T34" fmla="*/ 530 w 3739"/>
              <a:gd name="T35" fmla="*/ 2431 h 3201"/>
              <a:gd name="T36" fmla="*/ 530 w 3739"/>
              <a:gd name="T37" fmla="*/ 2283 h 3201"/>
              <a:gd name="T38" fmla="*/ 439 w 3739"/>
              <a:gd name="T39" fmla="*/ 2175 h 3201"/>
              <a:gd name="T40" fmla="*/ 3325 w 3739"/>
              <a:gd name="T41" fmla="*/ 2134 h 3201"/>
              <a:gd name="T42" fmla="*/ 3228 w 3739"/>
              <a:gd name="T43" fmla="*/ 2175 h 3201"/>
              <a:gd name="T44" fmla="*/ 3177 w 3739"/>
              <a:gd name="T45" fmla="*/ 2277 h 3201"/>
              <a:gd name="T46" fmla="*/ 3188 w 3739"/>
              <a:gd name="T47" fmla="*/ 2412 h 3201"/>
              <a:gd name="T48" fmla="*/ 3267 w 3739"/>
              <a:gd name="T49" fmla="*/ 2522 h 3201"/>
              <a:gd name="T50" fmla="*/ 3381 w 3739"/>
              <a:gd name="T51" fmla="*/ 2550 h 3201"/>
              <a:gd name="T52" fmla="*/ 3467 w 3739"/>
              <a:gd name="T53" fmla="*/ 2489 h 3201"/>
              <a:gd name="T54" fmla="*/ 3505 w 3739"/>
              <a:gd name="T55" fmla="*/ 2376 h 3201"/>
              <a:gd name="T56" fmla="*/ 3474 w 3739"/>
              <a:gd name="T57" fmla="*/ 2240 h 3201"/>
              <a:gd name="T58" fmla="*/ 3383 w 3739"/>
              <a:gd name="T59" fmla="*/ 2148 h 3201"/>
              <a:gd name="T60" fmla="*/ 841 w 3739"/>
              <a:gd name="T61" fmla="*/ 1087 h 3201"/>
              <a:gd name="T62" fmla="*/ 1023 w 3739"/>
              <a:gd name="T63" fmla="*/ 1131 h 3201"/>
              <a:gd name="T64" fmla="*/ 1276 w 3739"/>
              <a:gd name="T65" fmla="*/ 1151 h 3201"/>
              <a:gd name="T66" fmla="*/ 1499 w 3739"/>
              <a:gd name="T67" fmla="*/ 1135 h 3201"/>
              <a:gd name="T68" fmla="*/ 1652 w 3739"/>
              <a:gd name="T69" fmla="*/ 1095 h 3201"/>
              <a:gd name="T70" fmla="*/ 1619 w 3739"/>
              <a:gd name="T71" fmla="*/ 2692 h 3201"/>
              <a:gd name="T72" fmla="*/ 1451 w 3739"/>
              <a:gd name="T73" fmla="*/ 2657 h 3201"/>
              <a:gd name="T74" fmla="*/ 1207 w 3739"/>
              <a:gd name="T75" fmla="*/ 2648 h 3201"/>
              <a:gd name="T76" fmla="*/ 971 w 3739"/>
              <a:gd name="T77" fmla="*/ 2676 h 3201"/>
              <a:gd name="T78" fmla="*/ 807 w 3739"/>
              <a:gd name="T79" fmla="*/ 2723 h 3201"/>
              <a:gd name="T80" fmla="*/ 2554 w 3739"/>
              <a:gd name="T81" fmla="*/ 2445 h 3201"/>
              <a:gd name="T82" fmla="*/ 1680 w 3739"/>
              <a:gd name="T83" fmla="*/ 689 h 3201"/>
              <a:gd name="T84" fmla="*/ 1637 w 3739"/>
              <a:gd name="T85" fmla="*/ 955 h 3201"/>
              <a:gd name="T86" fmla="*/ 1526 w 3739"/>
              <a:gd name="T87" fmla="*/ 991 h 3201"/>
              <a:gd name="T88" fmla="*/ 1338 w 3739"/>
              <a:gd name="T89" fmla="*/ 1015 h 3201"/>
              <a:gd name="T90" fmla="*/ 1081 w 3739"/>
              <a:gd name="T91" fmla="*/ 1004 h 3201"/>
              <a:gd name="T92" fmla="*/ 894 w 3739"/>
              <a:gd name="T93" fmla="*/ 962 h 3201"/>
              <a:gd name="T94" fmla="*/ 807 w 3739"/>
              <a:gd name="T95" fmla="*/ 689 h 3201"/>
              <a:gd name="T96" fmla="*/ 1881 w 3739"/>
              <a:gd name="T97" fmla="*/ 689 h 3201"/>
              <a:gd name="T98" fmla="*/ 672 w 3739"/>
              <a:gd name="T99" fmla="*/ 2782 h 3201"/>
              <a:gd name="T100" fmla="*/ 3659 w 3739"/>
              <a:gd name="T101" fmla="*/ 2710 h 3201"/>
              <a:gd name="T102" fmla="*/ 1881 w 3739"/>
              <a:gd name="T103" fmla="*/ 15 h 3201"/>
              <a:gd name="T104" fmla="*/ 1881 w 3739"/>
              <a:gd name="T105" fmla="*/ 15 h 3201"/>
              <a:gd name="T106" fmla="*/ 0 w 3739"/>
              <a:gd name="T107" fmla="*/ 352 h 3201"/>
              <a:gd name="T108" fmla="*/ 2712 w 3739"/>
              <a:gd name="T109" fmla="*/ 425 h 3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739" h="3201">
                <a:moveTo>
                  <a:pt x="1881" y="2916"/>
                </a:moveTo>
                <a:lnTo>
                  <a:pt x="2554" y="2916"/>
                </a:lnTo>
                <a:lnTo>
                  <a:pt x="2554" y="3186"/>
                </a:lnTo>
                <a:lnTo>
                  <a:pt x="1881" y="3186"/>
                </a:lnTo>
                <a:lnTo>
                  <a:pt x="1881" y="2916"/>
                </a:lnTo>
                <a:close/>
                <a:moveTo>
                  <a:pt x="0" y="2916"/>
                </a:moveTo>
                <a:lnTo>
                  <a:pt x="672" y="2916"/>
                </a:lnTo>
                <a:lnTo>
                  <a:pt x="672" y="3186"/>
                </a:lnTo>
                <a:lnTo>
                  <a:pt x="0" y="3186"/>
                </a:lnTo>
                <a:lnTo>
                  <a:pt x="0" y="2916"/>
                </a:lnTo>
                <a:close/>
                <a:moveTo>
                  <a:pt x="3686" y="2842"/>
                </a:moveTo>
                <a:lnTo>
                  <a:pt x="3739" y="3107"/>
                </a:lnTo>
                <a:lnTo>
                  <a:pt x="3279" y="3201"/>
                </a:lnTo>
                <a:lnTo>
                  <a:pt x="3226" y="2937"/>
                </a:lnTo>
                <a:lnTo>
                  <a:pt x="3686" y="2842"/>
                </a:lnTo>
                <a:close/>
                <a:moveTo>
                  <a:pt x="1276" y="2782"/>
                </a:moveTo>
                <a:lnTo>
                  <a:pt x="1338" y="2783"/>
                </a:lnTo>
                <a:lnTo>
                  <a:pt x="1393" y="2787"/>
                </a:lnTo>
                <a:lnTo>
                  <a:pt x="1443" y="2791"/>
                </a:lnTo>
                <a:lnTo>
                  <a:pt x="1487" y="2798"/>
                </a:lnTo>
                <a:lnTo>
                  <a:pt x="1527" y="2806"/>
                </a:lnTo>
                <a:lnTo>
                  <a:pt x="1561" y="2815"/>
                </a:lnTo>
                <a:lnTo>
                  <a:pt x="1591" y="2824"/>
                </a:lnTo>
                <a:lnTo>
                  <a:pt x="1617" y="2834"/>
                </a:lnTo>
                <a:lnTo>
                  <a:pt x="1638" y="2843"/>
                </a:lnTo>
                <a:lnTo>
                  <a:pt x="1655" y="2853"/>
                </a:lnTo>
                <a:lnTo>
                  <a:pt x="1670" y="2861"/>
                </a:lnTo>
                <a:lnTo>
                  <a:pt x="1680" y="2867"/>
                </a:lnTo>
                <a:lnTo>
                  <a:pt x="1680" y="3186"/>
                </a:lnTo>
                <a:lnTo>
                  <a:pt x="807" y="3186"/>
                </a:lnTo>
                <a:lnTo>
                  <a:pt x="807" y="2870"/>
                </a:lnTo>
                <a:lnTo>
                  <a:pt x="830" y="2858"/>
                </a:lnTo>
                <a:lnTo>
                  <a:pt x="860" y="2848"/>
                </a:lnTo>
                <a:lnTo>
                  <a:pt x="894" y="2836"/>
                </a:lnTo>
                <a:lnTo>
                  <a:pt x="933" y="2824"/>
                </a:lnTo>
                <a:lnTo>
                  <a:pt x="977" y="2813"/>
                </a:lnTo>
                <a:lnTo>
                  <a:pt x="1027" y="2802"/>
                </a:lnTo>
                <a:lnTo>
                  <a:pt x="1081" y="2795"/>
                </a:lnTo>
                <a:lnTo>
                  <a:pt x="1141" y="2788"/>
                </a:lnTo>
                <a:lnTo>
                  <a:pt x="1206" y="2783"/>
                </a:lnTo>
                <a:lnTo>
                  <a:pt x="1276" y="2782"/>
                </a:lnTo>
                <a:close/>
                <a:moveTo>
                  <a:pt x="1881" y="2579"/>
                </a:moveTo>
                <a:lnTo>
                  <a:pt x="2554" y="2579"/>
                </a:lnTo>
                <a:lnTo>
                  <a:pt x="2554" y="2782"/>
                </a:lnTo>
                <a:lnTo>
                  <a:pt x="1881" y="2782"/>
                </a:lnTo>
                <a:lnTo>
                  <a:pt x="1881" y="2579"/>
                </a:lnTo>
                <a:close/>
                <a:moveTo>
                  <a:pt x="334" y="2146"/>
                </a:moveTo>
                <a:lnTo>
                  <a:pt x="295" y="2150"/>
                </a:lnTo>
                <a:lnTo>
                  <a:pt x="260" y="2159"/>
                </a:lnTo>
                <a:lnTo>
                  <a:pt x="227" y="2175"/>
                </a:lnTo>
                <a:lnTo>
                  <a:pt x="197" y="2195"/>
                </a:lnTo>
                <a:lnTo>
                  <a:pt x="172" y="2222"/>
                </a:lnTo>
                <a:lnTo>
                  <a:pt x="152" y="2251"/>
                </a:lnTo>
                <a:lnTo>
                  <a:pt x="136" y="2283"/>
                </a:lnTo>
                <a:lnTo>
                  <a:pt x="127" y="2320"/>
                </a:lnTo>
                <a:lnTo>
                  <a:pt x="124" y="2357"/>
                </a:lnTo>
                <a:lnTo>
                  <a:pt x="127" y="2395"/>
                </a:lnTo>
                <a:lnTo>
                  <a:pt x="136" y="2431"/>
                </a:lnTo>
                <a:lnTo>
                  <a:pt x="152" y="2463"/>
                </a:lnTo>
                <a:lnTo>
                  <a:pt x="172" y="2493"/>
                </a:lnTo>
                <a:lnTo>
                  <a:pt x="197" y="2519"/>
                </a:lnTo>
                <a:lnTo>
                  <a:pt x="227" y="2539"/>
                </a:lnTo>
                <a:lnTo>
                  <a:pt x="260" y="2554"/>
                </a:lnTo>
                <a:lnTo>
                  <a:pt x="295" y="2564"/>
                </a:lnTo>
                <a:lnTo>
                  <a:pt x="334" y="2568"/>
                </a:lnTo>
                <a:lnTo>
                  <a:pt x="371" y="2564"/>
                </a:lnTo>
                <a:lnTo>
                  <a:pt x="406" y="2554"/>
                </a:lnTo>
                <a:lnTo>
                  <a:pt x="439" y="2539"/>
                </a:lnTo>
                <a:lnTo>
                  <a:pt x="469" y="2519"/>
                </a:lnTo>
                <a:lnTo>
                  <a:pt x="494" y="2493"/>
                </a:lnTo>
                <a:lnTo>
                  <a:pt x="514" y="2463"/>
                </a:lnTo>
                <a:lnTo>
                  <a:pt x="530" y="2431"/>
                </a:lnTo>
                <a:lnTo>
                  <a:pt x="540" y="2395"/>
                </a:lnTo>
                <a:lnTo>
                  <a:pt x="543" y="2357"/>
                </a:lnTo>
                <a:lnTo>
                  <a:pt x="540" y="2320"/>
                </a:lnTo>
                <a:lnTo>
                  <a:pt x="530" y="2283"/>
                </a:lnTo>
                <a:lnTo>
                  <a:pt x="514" y="2251"/>
                </a:lnTo>
                <a:lnTo>
                  <a:pt x="494" y="2222"/>
                </a:lnTo>
                <a:lnTo>
                  <a:pt x="469" y="2195"/>
                </a:lnTo>
                <a:lnTo>
                  <a:pt x="439" y="2175"/>
                </a:lnTo>
                <a:lnTo>
                  <a:pt x="406" y="2159"/>
                </a:lnTo>
                <a:lnTo>
                  <a:pt x="371" y="2150"/>
                </a:lnTo>
                <a:lnTo>
                  <a:pt x="334" y="2146"/>
                </a:lnTo>
                <a:close/>
                <a:moveTo>
                  <a:pt x="3325" y="2134"/>
                </a:moveTo>
                <a:lnTo>
                  <a:pt x="3296" y="2136"/>
                </a:lnTo>
                <a:lnTo>
                  <a:pt x="3271" y="2144"/>
                </a:lnTo>
                <a:lnTo>
                  <a:pt x="3248" y="2157"/>
                </a:lnTo>
                <a:lnTo>
                  <a:pt x="3228" y="2175"/>
                </a:lnTo>
                <a:lnTo>
                  <a:pt x="3210" y="2195"/>
                </a:lnTo>
                <a:lnTo>
                  <a:pt x="3195" y="2220"/>
                </a:lnTo>
                <a:lnTo>
                  <a:pt x="3184" y="2248"/>
                </a:lnTo>
                <a:lnTo>
                  <a:pt x="3177" y="2277"/>
                </a:lnTo>
                <a:lnTo>
                  <a:pt x="3173" y="2309"/>
                </a:lnTo>
                <a:lnTo>
                  <a:pt x="3173" y="2342"/>
                </a:lnTo>
                <a:lnTo>
                  <a:pt x="3178" y="2375"/>
                </a:lnTo>
                <a:lnTo>
                  <a:pt x="3188" y="2412"/>
                </a:lnTo>
                <a:lnTo>
                  <a:pt x="3203" y="2446"/>
                </a:lnTo>
                <a:lnTo>
                  <a:pt x="3221" y="2476"/>
                </a:lnTo>
                <a:lnTo>
                  <a:pt x="3243" y="2501"/>
                </a:lnTo>
                <a:lnTo>
                  <a:pt x="3267" y="2522"/>
                </a:lnTo>
                <a:lnTo>
                  <a:pt x="3294" y="2538"/>
                </a:lnTo>
                <a:lnTo>
                  <a:pt x="3322" y="2547"/>
                </a:lnTo>
                <a:lnTo>
                  <a:pt x="3351" y="2552"/>
                </a:lnTo>
                <a:lnTo>
                  <a:pt x="3381" y="2550"/>
                </a:lnTo>
                <a:lnTo>
                  <a:pt x="3406" y="2540"/>
                </a:lnTo>
                <a:lnTo>
                  <a:pt x="3430" y="2528"/>
                </a:lnTo>
                <a:lnTo>
                  <a:pt x="3450" y="2511"/>
                </a:lnTo>
                <a:lnTo>
                  <a:pt x="3467" y="2489"/>
                </a:lnTo>
                <a:lnTo>
                  <a:pt x="3482" y="2465"/>
                </a:lnTo>
                <a:lnTo>
                  <a:pt x="3493" y="2438"/>
                </a:lnTo>
                <a:lnTo>
                  <a:pt x="3500" y="2408"/>
                </a:lnTo>
                <a:lnTo>
                  <a:pt x="3505" y="2376"/>
                </a:lnTo>
                <a:lnTo>
                  <a:pt x="3503" y="2343"/>
                </a:lnTo>
                <a:lnTo>
                  <a:pt x="3499" y="2309"/>
                </a:lnTo>
                <a:lnTo>
                  <a:pt x="3489" y="2273"/>
                </a:lnTo>
                <a:lnTo>
                  <a:pt x="3474" y="2240"/>
                </a:lnTo>
                <a:lnTo>
                  <a:pt x="3456" y="2210"/>
                </a:lnTo>
                <a:lnTo>
                  <a:pt x="3434" y="2184"/>
                </a:lnTo>
                <a:lnTo>
                  <a:pt x="3409" y="2163"/>
                </a:lnTo>
                <a:lnTo>
                  <a:pt x="3383" y="2148"/>
                </a:lnTo>
                <a:lnTo>
                  <a:pt x="3355" y="2137"/>
                </a:lnTo>
                <a:lnTo>
                  <a:pt x="3325" y="2134"/>
                </a:lnTo>
                <a:close/>
                <a:moveTo>
                  <a:pt x="807" y="1074"/>
                </a:moveTo>
                <a:lnTo>
                  <a:pt x="841" y="1087"/>
                </a:lnTo>
                <a:lnTo>
                  <a:pt x="880" y="1098"/>
                </a:lnTo>
                <a:lnTo>
                  <a:pt x="924" y="1111"/>
                </a:lnTo>
                <a:lnTo>
                  <a:pt x="971" y="1121"/>
                </a:lnTo>
                <a:lnTo>
                  <a:pt x="1023" y="1131"/>
                </a:lnTo>
                <a:lnTo>
                  <a:pt x="1080" y="1139"/>
                </a:lnTo>
                <a:lnTo>
                  <a:pt x="1141" y="1145"/>
                </a:lnTo>
                <a:lnTo>
                  <a:pt x="1207" y="1150"/>
                </a:lnTo>
                <a:lnTo>
                  <a:pt x="1276" y="1151"/>
                </a:lnTo>
                <a:lnTo>
                  <a:pt x="1340" y="1150"/>
                </a:lnTo>
                <a:lnTo>
                  <a:pt x="1398" y="1146"/>
                </a:lnTo>
                <a:lnTo>
                  <a:pt x="1451" y="1142"/>
                </a:lnTo>
                <a:lnTo>
                  <a:pt x="1499" y="1135"/>
                </a:lnTo>
                <a:lnTo>
                  <a:pt x="1543" y="1126"/>
                </a:lnTo>
                <a:lnTo>
                  <a:pt x="1584" y="1117"/>
                </a:lnTo>
                <a:lnTo>
                  <a:pt x="1619" y="1105"/>
                </a:lnTo>
                <a:lnTo>
                  <a:pt x="1652" y="1095"/>
                </a:lnTo>
                <a:lnTo>
                  <a:pt x="1680" y="1082"/>
                </a:lnTo>
                <a:lnTo>
                  <a:pt x="1680" y="2715"/>
                </a:lnTo>
                <a:lnTo>
                  <a:pt x="1652" y="2703"/>
                </a:lnTo>
                <a:lnTo>
                  <a:pt x="1619" y="2692"/>
                </a:lnTo>
                <a:lnTo>
                  <a:pt x="1584" y="2682"/>
                </a:lnTo>
                <a:lnTo>
                  <a:pt x="1543" y="2671"/>
                </a:lnTo>
                <a:lnTo>
                  <a:pt x="1499" y="2664"/>
                </a:lnTo>
                <a:lnTo>
                  <a:pt x="1451" y="2657"/>
                </a:lnTo>
                <a:lnTo>
                  <a:pt x="1398" y="2651"/>
                </a:lnTo>
                <a:lnTo>
                  <a:pt x="1340" y="2648"/>
                </a:lnTo>
                <a:lnTo>
                  <a:pt x="1276" y="2646"/>
                </a:lnTo>
                <a:lnTo>
                  <a:pt x="1207" y="2648"/>
                </a:lnTo>
                <a:lnTo>
                  <a:pt x="1141" y="2652"/>
                </a:lnTo>
                <a:lnTo>
                  <a:pt x="1080" y="2658"/>
                </a:lnTo>
                <a:lnTo>
                  <a:pt x="1023" y="2667"/>
                </a:lnTo>
                <a:lnTo>
                  <a:pt x="971" y="2676"/>
                </a:lnTo>
                <a:lnTo>
                  <a:pt x="924" y="2687"/>
                </a:lnTo>
                <a:lnTo>
                  <a:pt x="880" y="2699"/>
                </a:lnTo>
                <a:lnTo>
                  <a:pt x="841" y="2711"/>
                </a:lnTo>
                <a:lnTo>
                  <a:pt x="807" y="2723"/>
                </a:lnTo>
                <a:lnTo>
                  <a:pt x="807" y="1074"/>
                </a:lnTo>
                <a:close/>
                <a:moveTo>
                  <a:pt x="1881" y="825"/>
                </a:moveTo>
                <a:lnTo>
                  <a:pt x="2554" y="825"/>
                </a:lnTo>
                <a:lnTo>
                  <a:pt x="2554" y="2445"/>
                </a:lnTo>
                <a:lnTo>
                  <a:pt x="1881" y="2445"/>
                </a:lnTo>
                <a:lnTo>
                  <a:pt x="1881" y="825"/>
                </a:lnTo>
                <a:close/>
                <a:moveTo>
                  <a:pt x="807" y="689"/>
                </a:moveTo>
                <a:lnTo>
                  <a:pt x="1680" y="689"/>
                </a:lnTo>
                <a:lnTo>
                  <a:pt x="1680" y="930"/>
                </a:lnTo>
                <a:lnTo>
                  <a:pt x="1669" y="937"/>
                </a:lnTo>
                <a:lnTo>
                  <a:pt x="1655" y="946"/>
                </a:lnTo>
                <a:lnTo>
                  <a:pt x="1637" y="955"/>
                </a:lnTo>
                <a:lnTo>
                  <a:pt x="1616" y="964"/>
                </a:lnTo>
                <a:lnTo>
                  <a:pt x="1591" y="973"/>
                </a:lnTo>
                <a:lnTo>
                  <a:pt x="1560" y="983"/>
                </a:lnTo>
                <a:lnTo>
                  <a:pt x="1526" y="991"/>
                </a:lnTo>
                <a:lnTo>
                  <a:pt x="1486" y="999"/>
                </a:lnTo>
                <a:lnTo>
                  <a:pt x="1442" y="1006"/>
                </a:lnTo>
                <a:lnTo>
                  <a:pt x="1393" y="1012"/>
                </a:lnTo>
                <a:lnTo>
                  <a:pt x="1338" y="1015"/>
                </a:lnTo>
                <a:lnTo>
                  <a:pt x="1276" y="1016"/>
                </a:lnTo>
                <a:lnTo>
                  <a:pt x="1206" y="1014"/>
                </a:lnTo>
                <a:lnTo>
                  <a:pt x="1141" y="1011"/>
                </a:lnTo>
                <a:lnTo>
                  <a:pt x="1081" y="1004"/>
                </a:lnTo>
                <a:lnTo>
                  <a:pt x="1027" y="995"/>
                </a:lnTo>
                <a:lnTo>
                  <a:pt x="977" y="985"/>
                </a:lnTo>
                <a:lnTo>
                  <a:pt x="933" y="973"/>
                </a:lnTo>
                <a:lnTo>
                  <a:pt x="894" y="962"/>
                </a:lnTo>
                <a:lnTo>
                  <a:pt x="860" y="950"/>
                </a:lnTo>
                <a:lnTo>
                  <a:pt x="830" y="939"/>
                </a:lnTo>
                <a:lnTo>
                  <a:pt x="807" y="929"/>
                </a:lnTo>
                <a:lnTo>
                  <a:pt x="807" y="689"/>
                </a:lnTo>
                <a:close/>
                <a:moveTo>
                  <a:pt x="1881" y="488"/>
                </a:moveTo>
                <a:lnTo>
                  <a:pt x="2554" y="488"/>
                </a:lnTo>
                <a:lnTo>
                  <a:pt x="2554" y="689"/>
                </a:lnTo>
                <a:lnTo>
                  <a:pt x="1881" y="689"/>
                </a:lnTo>
                <a:lnTo>
                  <a:pt x="1881" y="488"/>
                </a:lnTo>
                <a:close/>
                <a:moveTo>
                  <a:pt x="0" y="488"/>
                </a:moveTo>
                <a:lnTo>
                  <a:pt x="672" y="488"/>
                </a:lnTo>
                <a:lnTo>
                  <a:pt x="672" y="2782"/>
                </a:lnTo>
                <a:lnTo>
                  <a:pt x="0" y="2782"/>
                </a:lnTo>
                <a:lnTo>
                  <a:pt x="0" y="488"/>
                </a:lnTo>
                <a:close/>
                <a:moveTo>
                  <a:pt x="3199" y="463"/>
                </a:moveTo>
                <a:lnTo>
                  <a:pt x="3659" y="2710"/>
                </a:lnTo>
                <a:lnTo>
                  <a:pt x="3198" y="2805"/>
                </a:lnTo>
                <a:lnTo>
                  <a:pt x="2739" y="557"/>
                </a:lnTo>
                <a:lnTo>
                  <a:pt x="3199" y="463"/>
                </a:lnTo>
                <a:close/>
                <a:moveTo>
                  <a:pt x="1881" y="15"/>
                </a:moveTo>
                <a:lnTo>
                  <a:pt x="2554" y="15"/>
                </a:lnTo>
                <a:lnTo>
                  <a:pt x="2554" y="352"/>
                </a:lnTo>
                <a:lnTo>
                  <a:pt x="1881" y="352"/>
                </a:lnTo>
                <a:lnTo>
                  <a:pt x="1881" y="15"/>
                </a:lnTo>
                <a:close/>
                <a:moveTo>
                  <a:pt x="0" y="15"/>
                </a:moveTo>
                <a:lnTo>
                  <a:pt x="672" y="15"/>
                </a:lnTo>
                <a:lnTo>
                  <a:pt x="672" y="352"/>
                </a:lnTo>
                <a:lnTo>
                  <a:pt x="0" y="352"/>
                </a:lnTo>
                <a:lnTo>
                  <a:pt x="0" y="15"/>
                </a:lnTo>
                <a:close/>
                <a:moveTo>
                  <a:pt x="3105" y="0"/>
                </a:moveTo>
                <a:lnTo>
                  <a:pt x="3172" y="331"/>
                </a:lnTo>
                <a:lnTo>
                  <a:pt x="2712" y="425"/>
                </a:lnTo>
                <a:lnTo>
                  <a:pt x="2645" y="95"/>
                </a:lnTo>
                <a:lnTo>
                  <a:pt x="310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133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2" name="Group 221"/>
          <p:cNvGrpSpPr/>
          <p:nvPr userDrawn="1"/>
        </p:nvGrpSpPr>
        <p:grpSpPr>
          <a:xfrm>
            <a:off x="6421622" y="5403641"/>
            <a:ext cx="485887" cy="487084"/>
            <a:chOff x="9005888" y="1238250"/>
            <a:chExt cx="1465253" cy="1279527"/>
          </a:xfrm>
          <a:solidFill>
            <a:schemeClr val="bg1"/>
          </a:solidFill>
        </p:grpSpPr>
        <p:sp>
          <p:nvSpPr>
            <p:cNvPr id="223" name="Freeform 53"/>
            <p:cNvSpPr>
              <a:spLocks/>
            </p:cNvSpPr>
            <p:nvPr/>
          </p:nvSpPr>
          <p:spPr bwMode="auto">
            <a:xfrm>
              <a:off x="9983779" y="1420812"/>
              <a:ext cx="201613" cy="411163"/>
            </a:xfrm>
            <a:custGeom>
              <a:avLst/>
              <a:gdLst>
                <a:gd name="T0" fmla="*/ 291 w 506"/>
                <a:gd name="T1" fmla="*/ 3 h 1034"/>
                <a:gd name="T2" fmla="*/ 316 w 506"/>
                <a:gd name="T3" fmla="*/ 40 h 1034"/>
                <a:gd name="T4" fmla="*/ 318 w 506"/>
                <a:gd name="T5" fmla="*/ 118 h 1034"/>
                <a:gd name="T6" fmla="*/ 321 w 506"/>
                <a:gd name="T7" fmla="*/ 122 h 1034"/>
                <a:gd name="T8" fmla="*/ 335 w 506"/>
                <a:gd name="T9" fmla="*/ 124 h 1034"/>
                <a:gd name="T10" fmla="*/ 383 w 506"/>
                <a:gd name="T11" fmla="*/ 134 h 1034"/>
                <a:gd name="T12" fmla="*/ 440 w 506"/>
                <a:gd name="T13" fmla="*/ 150 h 1034"/>
                <a:gd name="T14" fmla="*/ 473 w 506"/>
                <a:gd name="T15" fmla="*/ 172 h 1034"/>
                <a:gd name="T16" fmla="*/ 454 w 506"/>
                <a:gd name="T17" fmla="*/ 248 h 1034"/>
                <a:gd name="T18" fmla="*/ 429 w 506"/>
                <a:gd name="T19" fmla="*/ 272 h 1034"/>
                <a:gd name="T20" fmla="*/ 399 w 506"/>
                <a:gd name="T21" fmla="*/ 268 h 1034"/>
                <a:gd name="T22" fmla="*/ 376 w 506"/>
                <a:gd name="T23" fmla="*/ 258 h 1034"/>
                <a:gd name="T24" fmla="*/ 320 w 506"/>
                <a:gd name="T25" fmla="*/ 244 h 1034"/>
                <a:gd name="T26" fmla="*/ 243 w 506"/>
                <a:gd name="T27" fmla="*/ 240 h 1034"/>
                <a:gd name="T28" fmla="*/ 188 w 506"/>
                <a:gd name="T29" fmla="*/ 261 h 1034"/>
                <a:gd name="T30" fmla="*/ 162 w 506"/>
                <a:gd name="T31" fmla="*/ 296 h 1034"/>
                <a:gd name="T32" fmla="*/ 159 w 506"/>
                <a:gd name="T33" fmla="*/ 338 h 1034"/>
                <a:gd name="T34" fmla="*/ 180 w 506"/>
                <a:gd name="T35" fmla="*/ 378 h 1034"/>
                <a:gd name="T36" fmla="*/ 237 w 506"/>
                <a:gd name="T37" fmla="*/ 415 h 1034"/>
                <a:gd name="T38" fmla="*/ 345 w 506"/>
                <a:gd name="T39" fmla="*/ 462 h 1034"/>
                <a:gd name="T40" fmla="*/ 446 w 506"/>
                <a:gd name="T41" fmla="*/ 529 h 1034"/>
                <a:gd name="T42" fmla="*/ 497 w 506"/>
                <a:gd name="T43" fmla="*/ 614 h 1034"/>
                <a:gd name="T44" fmla="*/ 504 w 506"/>
                <a:gd name="T45" fmla="*/ 718 h 1034"/>
                <a:gd name="T46" fmla="*/ 466 w 506"/>
                <a:gd name="T47" fmla="*/ 811 h 1034"/>
                <a:gd name="T48" fmla="*/ 388 w 506"/>
                <a:gd name="T49" fmla="*/ 878 h 1034"/>
                <a:gd name="T50" fmla="*/ 315 w 506"/>
                <a:gd name="T51" fmla="*/ 904 h 1034"/>
                <a:gd name="T52" fmla="*/ 310 w 506"/>
                <a:gd name="T53" fmla="*/ 907 h 1034"/>
                <a:gd name="T54" fmla="*/ 309 w 506"/>
                <a:gd name="T55" fmla="*/ 994 h 1034"/>
                <a:gd name="T56" fmla="*/ 283 w 506"/>
                <a:gd name="T57" fmla="*/ 1032 h 1034"/>
                <a:gd name="T58" fmla="*/ 214 w 506"/>
                <a:gd name="T59" fmla="*/ 1032 h 1034"/>
                <a:gd name="T60" fmla="*/ 188 w 506"/>
                <a:gd name="T61" fmla="*/ 994 h 1034"/>
                <a:gd name="T62" fmla="*/ 187 w 506"/>
                <a:gd name="T63" fmla="*/ 911 h 1034"/>
                <a:gd name="T64" fmla="*/ 181 w 506"/>
                <a:gd name="T65" fmla="*/ 908 h 1034"/>
                <a:gd name="T66" fmla="*/ 165 w 506"/>
                <a:gd name="T67" fmla="*/ 906 h 1034"/>
                <a:gd name="T68" fmla="*/ 106 w 506"/>
                <a:gd name="T69" fmla="*/ 893 h 1034"/>
                <a:gd name="T70" fmla="*/ 38 w 506"/>
                <a:gd name="T71" fmla="*/ 872 h 1034"/>
                <a:gd name="T72" fmla="*/ 2 w 506"/>
                <a:gd name="T73" fmla="*/ 846 h 1034"/>
                <a:gd name="T74" fmla="*/ 21 w 506"/>
                <a:gd name="T75" fmla="*/ 769 h 1034"/>
                <a:gd name="T76" fmla="*/ 46 w 506"/>
                <a:gd name="T77" fmla="*/ 746 h 1034"/>
                <a:gd name="T78" fmla="*/ 69 w 506"/>
                <a:gd name="T79" fmla="*/ 746 h 1034"/>
                <a:gd name="T80" fmla="*/ 85 w 506"/>
                <a:gd name="T81" fmla="*/ 753 h 1034"/>
                <a:gd name="T82" fmla="*/ 128 w 506"/>
                <a:gd name="T83" fmla="*/ 768 h 1034"/>
                <a:gd name="T84" fmla="*/ 187 w 506"/>
                <a:gd name="T85" fmla="*/ 785 h 1034"/>
                <a:gd name="T86" fmla="*/ 259 w 506"/>
                <a:gd name="T87" fmla="*/ 787 h 1034"/>
                <a:gd name="T88" fmla="*/ 329 w 506"/>
                <a:gd name="T89" fmla="*/ 754 h 1034"/>
                <a:gd name="T90" fmla="*/ 356 w 506"/>
                <a:gd name="T91" fmla="*/ 691 h 1034"/>
                <a:gd name="T92" fmla="*/ 334 w 506"/>
                <a:gd name="T93" fmla="*/ 631 h 1034"/>
                <a:gd name="T94" fmla="*/ 263 w 506"/>
                <a:gd name="T95" fmla="*/ 581 h 1034"/>
                <a:gd name="T96" fmla="*/ 167 w 506"/>
                <a:gd name="T97" fmla="*/ 540 h 1034"/>
                <a:gd name="T98" fmla="*/ 86 w 506"/>
                <a:gd name="T99" fmla="*/ 493 h 1034"/>
                <a:gd name="T100" fmla="*/ 29 w 506"/>
                <a:gd name="T101" fmla="*/ 427 h 1034"/>
                <a:gd name="T102" fmla="*/ 8 w 506"/>
                <a:gd name="T103" fmla="*/ 338 h 1034"/>
                <a:gd name="T104" fmla="*/ 30 w 506"/>
                <a:gd name="T105" fmla="*/ 244 h 1034"/>
                <a:gd name="T106" fmla="*/ 92 w 506"/>
                <a:gd name="T107" fmla="*/ 171 h 1034"/>
                <a:gd name="T108" fmla="*/ 188 w 506"/>
                <a:gd name="T109" fmla="*/ 127 h 1034"/>
                <a:gd name="T110" fmla="*/ 194 w 506"/>
                <a:gd name="T111" fmla="*/ 125 h 1034"/>
                <a:gd name="T112" fmla="*/ 197 w 506"/>
                <a:gd name="T113" fmla="*/ 118 h 1034"/>
                <a:gd name="T114" fmla="*/ 209 w 506"/>
                <a:gd name="T115" fmla="*/ 1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6" h="1034">
                  <a:moveTo>
                    <a:pt x="239" y="0"/>
                  </a:moveTo>
                  <a:lnTo>
                    <a:pt x="274" y="0"/>
                  </a:lnTo>
                  <a:lnTo>
                    <a:pt x="291" y="3"/>
                  </a:lnTo>
                  <a:lnTo>
                    <a:pt x="305" y="11"/>
                  </a:lnTo>
                  <a:lnTo>
                    <a:pt x="314" y="24"/>
                  </a:lnTo>
                  <a:lnTo>
                    <a:pt x="316" y="40"/>
                  </a:lnTo>
                  <a:lnTo>
                    <a:pt x="317" y="114"/>
                  </a:lnTo>
                  <a:lnTo>
                    <a:pt x="317" y="117"/>
                  </a:lnTo>
                  <a:lnTo>
                    <a:pt x="318" y="118"/>
                  </a:lnTo>
                  <a:lnTo>
                    <a:pt x="319" y="119"/>
                  </a:lnTo>
                  <a:lnTo>
                    <a:pt x="320" y="121"/>
                  </a:lnTo>
                  <a:lnTo>
                    <a:pt x="321" y="122"/>
                  </a:lnTo>
                  <a:lnTo>
                    <a:pt x="323" y="122"/>
                  </a:lnTo>
                  <a:lnTo>
                    <a:pt x="326" y="122"/>
                  </a:lnTo>
                  <a:lnTo>
                    <a:pt x="335" y="124"/>
                  </a:lnTo>
                  <a:lnTo>
                    <a:pt x="348" y="126"/>
                  </a:lnTo>
                  <a:lnTo>
                    <a:pt x="364" y="129"/>
                  </a:lnTo>
                  <a:lnTo>
                    <a:pt x="383" y="134"/>
                  </a:lnTo>
                  <a:lnTo>
                    <a:pt x="402" y="138"/>
                  </a:lnTo>
                  <a:lnTo>
                    <a:pt x="422" y="144"/>
                  </a:lnTo>
                  <a:lnTo>
                    <a:pt x="440" y="150"/>
                  </a:lnTo>
                  <a:lnTo>
                    <a:pt x="457" y="156"/>
                  </a:lnTo>
                  <a:lnTo>
                    <a:pt x="466" y="162"/>
                  </a:lnTo>
                  <a:lnTo>
                    <a:pt x="473" y="172"/>
                  </a:lnTo>
                  <a:lnTo>
                    <a:pt x="476" y="183"/>
                  </a:lnTo>
                  <a:lnTo>
                    <a:pt x="474" y="197"/>
                  </a:lnTo>
                  <a:lnTo>
                    <a:pt x="454" y="248"/>
                  </a:lnTo>
                  <a:lnTo>
                    <a:pt x="448" y="258"/>
                  </a:lnTo>
                  <a:lnTo>
                    <a:pt x="439" y="266"/>
                  </a:lnTo>
                  <a:lnTo>
                    <a:pt x="429" y="272"/>
                  </a:lnTo>
                  <a:lnTo>
                    <a:pt x="418" y="273"/>
                  </a:lnTo>
                  <a:lnTo>
                    <a:pt x="408" y="272"/>
                  </a:lnTo>
                  <a:lnTo>
                    <a:pt x="399" y="268"/>
                  </a:lnTo>
                  <a:lnTo>
                    <a:pt x="396" y="267"/>
                  </a:lnTo>
                  <a:lnTo>
                    <a:pt x="389" y="264"/>
                  </a:lnTo>
                  <a:lnTo>
                    <a:pt x="376" y="258"/>
                  </a:lnTo>
                  <a:lnTo>
                    <a:pt x="361" y="254"/>
                  </a:lnTo>
                  <a:lnTo>
                    <a:pt x="342" y="248"/>
                  </a:lnTo>
                  <a:lnTo>
                    <a:pt x="320" y="244"/>
                  </a:lnTo>
                  <a:lnTo>
                    <a:pt x="296" y="240"/>
                  </a:lnTo>
                  <a:lnTo>
                    <a:pt x="269" y="239"/>
                  </a:lnTo>
                  <a:lnTo>
                    <a:pt x="243" y="240"/>
                  </a:lnTo>
                  <a:lnTo>
                    <a:pt x="222" y="245"/>
                  </a:lnTo>
                  <a:lnTo>
                    <a:pt x="204" y="253"/>
                  </a:lnTo>
                  <a:lnTo>
                    <a:pt x="188" y="261"/>
                  </a:lnTo>
                  <a:lnTo>
                    <a:pt x="177" y="272"/>
                  </a:lnTo>
                  <a:lnTo>
                    <a:pt x="168" y="284"/>
                  </a:lnTo>
                  <a:lnTo>
                    <a:pt x="162" y="296"/>
                  </a:lnTo>
                  <a:lnTo>
                    <a:pt x="158" y="310"/>
                  </a:lnTo>
                  <a:lnTo>
                    <a:pt x="157" y="323"/>
                  </a:lnTo>
                  <a:lnTo>
                    <a:pt x="159" y="338"/>
                  </a:lnTo>
                  <a:lnTo>
                    <a:pt x="162" y="352"/>
                  </a:lnTo>
                  <a:lnTo>
                    <a:pt x="169" y="365"/>
                  </a:lnTo>
                  <a:lnTo>
                    <a:pt x="180" y="378"/>
                  </a:lnTo>
                  <a:lnTo>
                    <a:pt x="195" y="390"/>
                  </a:lnTo>
                  <a:lnTo>
                    <a:pt x="214" y="402"/>
                  </a:lnTo>
                  <a:lnTo>
                    <a:pt x="237" y="415"/>
                  </a:lnTo>
                  <a:lnTo>
                    <a:pt x="265" y="428"/>
                  </a:lnTo>
                  <a:lnTo>
                    <a:pt x="300" y="442"/>
                  </a:lnTo>
                  <a:lnTo>
                    <a:pt x="345" y="462"/>
                  </a:lnTo>
                  <a:lnTo>
                    <a:pt x="384" y="483"/>
                  </a:lnTo>
                  <a:lnTo>
                    <a:pt x="418" y="505"/>
                  </a:lnTo>
                  <a:lnTo>
                    <a:pt x="446" y="529"/>
                  </a:lnTo>
                  <a:lnTo>
                    <a:pt x="468" y="556"/>
                  </a:lnTo>
                  <a:lnTo>
                    <a:pt x="485" y="584"/>
                  </a:lnTo>
                  <a:lnTo>
                    <a:pt x="497" y="614"/>
                  </a:lnTo>
                  <a:lnTo>
                    <a:pt x="504" y="646"/>
                  </a:lnTo>
                  <a:lnTo>
                    <a:pt x="506" y="682"/>
                  </a:lnTo>
                  <a:lnTo>
                    <a:pt x="504" y="718"/>
                  </a:lnTo>
                  <a:lnTo>
                    <a:pt x="496" y="751"/>
                  </a:lnTo>
                  <a:lnTo>
                    <a:pt x="484" y="782"/>
                  </a:lnTo>
                  <a:lnTo>
                    <a:pt x="466" y="811"/>
                  </a:lnTo>
                  <a:lnTo>
                    <a:pt x="444" y="836"/>
                  </a:lnTo>
                  <a:lnTo>
                    <a:pt x="418" y="859"/>
                  </a:lnTo>
                  <a:lnTo>
                    <a:pt x="388" y="878"/>
                  </a:lnTo>
                  <a:lnTo>
                    <a:pt x="353" y="892"/>
                  </a:lnTo>
                  <a:lnTo>
                    <a:pt x="316" y="904"/>
                  </a:lnTo>
                  <a:lnTo>
                    <a:pt x="315" y="904"/>
                  </a:lnTo>
                  <a:lnTo>
                    <a:pt x="314" y="905"/>
                  </a:lnTo>
                  <a:lnTo>
                    <a:pt x="311" y="906"/>
                  </a:lnTo>
                  <a:lnTo>
                    <a:pt x="310" y="907"/>
                  </a:lnTo>
                  <a:lnTo>
                    <a:pt x="309" y="909"/>
                  </a:lnTo>
                  <a:lnTo>
                    <a:pt x="309" y="912"/>
                  </a:lnTo>
                  <a:lnTo>
                    <a:pt x="309" y="994"/>
                  </a:lnTo>
                  <a:lnTo>
                    <a:pt x="306" y="1010"/>
                  </a:lnTo>
                  <a:lnTo>
                    <a:pt x="297" y="1023"/>
                  </a:lnTo>
                  <a:lnTo>
                    <a:pt x="283" y="1032"/>
                  </a:lnTo>
                  <a:lnTo>
                    <a:pt x="268" y="1034"/>
                  </a:lnTo>
                  <a:lnTo>
                    <a:pt x="230" y="1034"/>
                  </a:lnTo>
                  <a:lnTo>
                    <a:pt x="214" y="1032"/>
                  </a:lnTo>
                  <a:lnTo>
                    <a:pt x="200" y="1023"/>
                  </a:lnTo>
                  <a:lnTo>
                    <a:pt x="192" y="1010"/>
                  </a:lnTo>
                  <a:lnTo>
                    <a:pt x="188" y="994"/>
                  </a:lnTo>
                  <a:lnTo>
                    <a:pt x="188" y="917"/>
                  </a:lnTo>
                  <a:lnTo>
                    <a:pt x="188" y="914"/>
                  </a:lnTo>
                  <a:lnTo>
                    <a:pt x="187" y="911"/>
                  </a:lnTo>
                  <a:lnTo>
                    <a:pt x="185" y="910"/>
                  </a:lnTo>
                  <a:lnTo>
                    <a:pt x="184" y="909"/>
                  </a:lnTo>
                  <a:lnTo>
                    <a:pt x="181" y="908"/>
                  </a:lnTo>
                  <a:lnTo>
                    <a:pt x="180" y="908"/>
                  </a:lnTo>
                  <a:lnTo>
                    <a:pt x="176" y="908"/>
                  </a:lnTo>
                  <a:lnTo>
                    <a:pt x="165" y="906"/>
                  </a:lnTo>
                  <a:lnTo>
                    <a:pt x="149" y="902"/>
                  </a:lnTo>
                  <a:lnTo>
                    <a:pt x="129" y="898"/>
                  </a:lnTo>
                  <a:lnTo>
                    <a:pt x="106" y="893"/>
                  </a:lnTo>
                  <a:lnTo>
                    <a:pt x="84" y="887"/>
                  </a:lnTo>
                  <a:lnTo>
                    <a:pt x="60" y="880"/>
                  </a:lnTo>
                  <a:lnTo>
                    <a:pt x="38" y="872"/>
                  </a:lnTo>
                  <a:lnTo>
                    <a:pt x="19" y="863"/>
                  </a:lnTo>
                  <a:lnTo>
                    <a:pt x="10" y="857"/>
                  </a:lnTo>
                  <a:lnTo>
                    <a:pt x="2" y="846"/>
                  </a:lnTo>
                  <a:lnTo>
                    <a:pt x="0" y="835"/>
                  </a:lnTo>
                  <a:lnTo>
                    <a:pt x="2" y="822"/>
                  </a:lnTo>
                  <a:lnTo>
                    <a:pt x="21" y="769"/>
                  </a:lnTo>
                  <a:lnTo>
                    <a:pt x="27" y="759"/>
                  </a:lnTo>
                  <a:lnTo>
                    <a:pt x="36" y="751"/>
                  </a:lnTo>
                  <a:lnTo>
                    <a:pt x="46" y="746"/>
                  </a:lnTo>
                  <a:lnTo>
                    <a:pt x="58" y="744"/>
                  </a:lnTo>
                  <a:lnTo>
                    <a:pt x="64" y="745"/>
                  </a:lnTo>
                  <a:lnTo>
                    <a:pt x="69" y="746"/>
                  </a:lnTo>
                  <a:lnTo>
                    <a:pt x="75" y="748"/>
                  </a:lnTo>
                  <a:lnTo>
                    <a:pt x="78" y="749"/>
                  </a:lnTo>
                  <a:lnTo>
                    <a:pt x="85" y="753"/>
                  </a:lnTo>
                  <a:lnTo>
                    <a:pt x="96" y="757"/>
                  </a:lnTo>
                  <a:lnTo>
                    <a:pt x="111" y="763"/>
                  </a:lnTo>
                  <a:lnTo>
                    <a:pt x="128" y="768"/>
                  </a:lnTo>
                  <a:lnTo>
                    <a:pt x="147" y="775"/>
                  </a:lnTo>
                  <a:lnTo>
                    <a:pt x="167" y="780"/>
                  </a:lnTo>
                  <a:lnTo>
                    <a:pt x="187" y="785"/>
                  </a:lnTo>
                  <a:lnTo>
                    <a:pt x="208" y="788"/>
                  </a:lnTo>
                  <a:lnTo>
                    <a:pt x="227" y="789"/>
                  </a:lnTo>
                  <a:lnTo>
                    <a:pt x="259" y="787"/>
                  </a:lnTo>
                  <a:lnTo>
                    <a:pt x="287" y="779"/>
                  </a:lnTo>
                  <a:lnTo>
                    <a:pt x="310" y="768"/>
                  </a:lnTo>
                  <a:lnTo>
                    <a:pt x="329" y="754"/>
                  </a:lnTo>
                  <a:lnTo>
                    <a:pt x="344" y="736"/>
                  </a:lnTo>
                  <a:lnTo>
                    <a:pt x="353" y="714"/>
                  </a:lnTo>
                  <a:lnTo>
                    <a:pt x="356" y="691"/>
                  </a:lnTo>
                  <a:lnTo>
                    <a:pt x="354" y="669"/>
                  </a:lnTo>
                  <a:lnTo>
                    <a:pt x="346" y="650"/>
                  </a:lnTo>
                  <a:lnTo>
                    <a:pt x="334" y="631"/>
                  </a:lnTo>
                  <a:lnTo>
                    <a:pt x="317" y="614"/>
                  </a:lnTo>
                  <a:lnTo>
                    <a:pt x="293" y="597"/>
                  </a:lnTo>
                  <a:lnTo>
                    <a:pt x="263" y="581"/>
                  </a:lnTo>
                  <a:lnTo>
                    <a:pt x="227" y="566"/>
                  </a:lnTo>
                  <a:lnTo>
                    <a:pt x="197" y="553"/>
                  </a:lnTo>
                  <a:lnTo>
                    <a:pt x="167" y="540"/>
                  </a:lnTo>
                  <a:lnTo>
                    <a:pt x="138" y="525"/>
                  </a:lnTo>
                  <a:lnTo>
                    <a:pt x="111" y="510"/>
                  </a:lnTo>
                  <a:lnTo>
                    <a:pt x="86" y="493"/>
                  </a:lnTo>
                  <a:lnTo>
                    <a:pt x="64" y="473"/>
                  </a:lnTo>
                  <a:lnTo>
                    <a:pt x="45" y="452"/>
                  </a:lnTo>
                  <a:lnTo>
                    <a:pt x="29" y="427"/>
                  </a:lnTo>
                  <a:lnTo>
                    <a:pt x="18" y="400"/>
                  </a:lnTo>
                  <a:lnTo>
                    <a:pt x="10" y="370"/>
                  </a:lnTo>
                  <a:lnTo>
                    <a:pt x="8" y="338"/>
                  </a:lnTo>
                  <a:lnTo>
                    <a:pt x="10" y="304"/>
                  </a:lnTo>
                  <a:lnTo>
                    <a:pt x="18" y="273"/>
                  </a:lnTo>
                  <a:lnTo>
                    <a:pt x="30" y="244"/>
                  </a:lnTo>
                  <a:lnTo>
                    <a:pt x="47" y="217"/>
                  </a:lnTo>
                  <a:lnTo>
                    <a:pt x="67" y="192"/>
                  </a:lnTo>
                  <a:lnTo>
                    <a:pt x="92" y="171"/>
                  </a:lnTo>
                  <a:lnTo>
                    <a:pt x="121" y="153"/>
                  </a:lnTo>
                  <a:lnTo>
                    <a:pt x="152" y="138"/>
                  </a:lnTo>
                  <a:lnTo>
                    <a:pt x="188" y="127"/>
                  </a:lnTo>
                  <a:lnTo>
                    <a:pt x="189" y="127"/>
                  </a:lnTo>
                  <a:lnTo>
                    <a:pt x="192" y="126"/>
                  </a:lnTo>
                  <a:lnTo>
                    <a:pt x="194" y="125"/>
                  </a:lnTo>
                  <a:lnTo>
                    <a:pt x="195" y="123"/>
                  </a:lnTo>
                  <a:lnTo>
                    <a:pt x="197" y="121"/>
                  </a:lnTo>
                  <a:lnTo>
                    <a:pt x="197" y="118"/>
                  </a:lnTo>
                  <a:lnTo>
                    <a:pt x="197" y="40"/>
                  </a:lnTo>
                  <a:lnTo>
                    <a:pt x="200" y="24"/>
                  </a:lnTo>
                  <a:lnTo>
                    <a:pt x="209" y="11"/>
                  </a:lnTo>
                  <a:lnTo>
                    <a:pt x="223" y="3"/>
                  </a:lnTo>
                  <a:lnTo>
                    <a:pt x="2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Freeform 54"/>
            <p:cNvSpPr>
              <a:spLocks noEditPoints="1"/>
            </p:cNvSpPr>
            <p:nvPr/>
          </p:nvSpPr>
          <p:spPr bwMode="auto">
            <a:xfrm>
              <a:off x="9696443" y="1238250"/>
              <a:ext cx="774698" cy="774701"/>
            </a:xfrm>
            <a:custGeom>
              <a:avLst/>
              <a:gdLst>
                <a:gd name="T0" fmla="*/ 835 w 1954"/>
                <a:gd name="T1" fmla="*/ 241 h 1952"/>
                <a:gd name="T2" fmla="*/ 639 w 1954"/>
                <a:gd name="T3" fmla="*/ 308 h 1952"/>
                <a:gd name="T4" fmla="*/ 471 w 1954"/>
                <a:gd name="T5" fmla="*/ 423 h 1952"/>
                <a:gd name="T6" fmla="*/ 341 w 1954"/>
                <a:gd name="T7" fmla="*/ 578 h 1952"/>
                <a:gd name="T8" fmla="*/ 257 w 1954"/>
                <a:gd name="T9" fmla="*/ 765 h 1952"/>
                <a:gd name="T10" fmla="*/ 227 w 1954"/>
                <a:gd name="T11" fmla="*/ 977 h 1952"/>
                <a:gd name="T12" fmla="*/ 257 w 1954"/>
                <a:gd name="T13" fmla="*/ 1187 h 1952"/>
                <a:gd name="T14" fmla="*/ 341 w 1954"/>
                <a:gd name="T15" fmla="*/ 1374 h 1952"/>
                <a:gd name="T16" fmla="*/ 471 w 1954"/>
                <a:gd name="T17" fmla="*/ 1529 h 1952"/>
                <a:gd name="T18" fmla="*/ 639 w 1954"/>
                <a:gd name="T19" fmla="*/ 1646 h 1952"/>
                <a:gd name="T20" fmla="*/ 835 w 1954"/>
                <a:gd name="T21" fmla="*/ 1712 h 1952"/>
                <a:gd name="T22" fmla="*/ 1050 w 1954"/>
                <a:gd name="T23" fmla="*/ 1722 h 1952"/>
                <a:gd name="T24" fmla="*/ 1254 w 1954"/>
                <a:gd name="T25" fmla="*/ 1673 h 1952"/>
                <a:gd name="T26" fmla="*/ 1431 w 1954"/>
                <a:gd name="T27" fmla="*/ 1573 h 1952"/>
                <a:gd name="T28" fmla="*/ 1574 w 1954"/>
                <a:gd name="T29" fmla="*/ 1430 h 1952"/>
                <a:gd name="T30" fmla="*/ 1675 w 1954"/>
                <a:gd name="T31" fmla="*/ 1252 h 1952"/>
                <a:gd name="T32" fmla="*/ 1724 w 1954"/>
                <a:gd name="T33" fmla="*/ 1048 h 1952"/>
                <a:gd name="T34" fmla="*/ 1714 w 1954"/>
                <a:gd name="T35" fmla="*/ 833 h 1952"/>
                <a:gd name="T36" fmla="*/ 1647 w 1954"/>
                <a:gd name="T37" fmla="*/ 638 h 1952"/>
                <a:gd name="T38" fmla="*/ 1532 w 1954"/>
                <a:gd name="T39" fmla="*/ 471 h 1952"/>
                <a:gd name="T40" fmla="*/ 1376 w 1954"/>
                <a:gd name="T41" fmla="*/ 341 h 1952"/>
                <a:gd name="T42" fmla="*/ 1188 w 1954"/>
                <a:gd name="T43" fmla="*/ 256 h 1952"/>
                <a:gd name="T44" fmla="*/ 977 w 1954"/>
                <a:gd name="T45" fmla="*/ 227 h 1952"/>
                <a:gd name="T46" fmla="*/ 1135 w 1954"/>
                <a:gd name="T47" fmla="*/ 14 h 1952"/>
                <a:gd name="T48" fmla="*/ 1357 w 1954"/>
                <a:gd name="T49" fmla="*/ 77 h 1952"/>
                <a:gd name="T50" fmla="*/ 1554 w 1954"/>
                <a:gd name="T51" fmla="*/ 189 h 1952"/>
                <a:gd name="T52" fmla="*/ 1719 w 1954"/>
                <a:gd name="T53" fmla="*/ 341 h 1952"/>
                <a:gd name="T54" fmla="*/ 1845 w 1954"/>
                <a:gd name="T55" fmla="*/ 528 h 1952"/>
                <a:gd name="T56" fmla="*/ 1926 w 1954"/>
                <a:gd name="T57" fmla="*/ 742 h 1952"/>
                <a:gd name="T58" fmla="*/ 1954 w 1954"/>
                <a:gd name="T59" fmla="*/ 977 h 1952"/>
                <a:gd name="T60" fmla="*/ 1926 w 1954"/>
                <a:gd name="T61" fmla="*/ 1210 h 1952"/>
                <a:gd name="T62" fmla="*/ 1845 w 1954"/>
                <a:gd name="T63" fmla="*/ 1424 h 1952"/>
                <a:gd name="T64" fmla="*/ 1719 w 1954"/>
                <a:gd name="T65" fmla="*/ 1611 h 1952"/>
                <a:gd name="T66" fmla="*/ 1554 w 1954"/>
                <a:gd name="T67" fmla="*/ 1763 h 1952"/>
                <a:gd name="T68" fmla="*/ 1357 w 1954"/>
                <a:gd name="T69" fmla="*/ 1875 h 1952"/>
                <a:gd name="T70" fmla="*/ 1135 w 1954"/>
                <a:gd name="T71" fmla="*/ 1939 h 1952"/>
                <a:gd name="T72" fmla="*/ 896 w 1954"/>
                <a:gd name="T73" fmla="*/ 1949 h 1952"/>
                <a:gd name="T74" fmla="*/ 668 w 1954"/>
                <a:gd name="T75" fmla="*/ 1902 h 1952"/>
                <a:gd name="T76" fmla="*/ 463 w 1954"/>
                <a:gd name="T77" fmla="*/ 1805 h 1952"/>
                <a:gd name="T78" fmla="*/ 286 w 1954"/>
                <a:gd name="T79" fmla="*/ 1666 h 1952"/>
                <a:gd name="T80" fmla="*/ 147 w 1954"/>
                <a:gd name="T81" fmla="*/ 1490 h 1952"/>
                <a:gd name="T82" fmla="*/ 50 w 1954"/>
                <a:gd name="T83" fmla="*/ 1284 h 1952"/>
                <a:gd name="T84" fmla="*/ 4 w 1954"/>
                <a:gd name="T85" fmla="*/ 1056 h 1952"/>
                <a:gd name="T86" fmla="*/ 13 w 1954"/>
                <a:gd name="T87" fmla="*/ 818 h 1952"/>
                <a:gd name="T88" fmla="*/ 77 w 1954"/>
                <a:gd name="T89" fmla="*/ 596 h 1952"/>
                <a:gd name="T90" fmla="*/ 189 w 1954"/>
                <a:gd name="T91" fmla="*/ 399 h 1952"/>
                <a:gd name="T92" fmla="*/ 341 w 1954"/>
                <a:gd name="T93" fmla="*/ 235 h 1952"/>
                <a:gd name="T94" fmla="*/ 528 w 1954"/>
                <a:gd name="T95" fmla="*/ 110 h 1952"/>
                <a:gd name="T96" fmla="*/ 742 w 1954"/>
                <a:gd name="T97" fmla="*/ 29 h 1952"/>
                <a:gd name="T98" fmla="*/ 977 w 1954"/>
                <a:gd name="T99" fmla="*/ 0 h 1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4" h="1952">
                  <a:moveTo>
                    <a:pt x="977" y="227"/>
                  </a:moveTo>
                  <a:lnTo>
                    <a:pt x="904" y="231"/>
                  </a:lnTo>
                  <a:lnTo>
                    <a:pt x="835" y="241"/>
                  </a:lnTo>
                  <a:lnTo>
                    <a:pt x="767" y="256"/>
                  </a:lnTo>
                  <a:lnTo>
                    <a:pt x="700" y="279"/>
                  </a:lnTo>
                  <a:lnTo>
                    <a:pt x="639" y="308"/>
                  </a:lnTo>
                  <a:lnTo>
                    <a:pt x="578" y="341"/>
                  </a:lnTo>
                  <a:lnTo>
                    <a:pt x="524" y="379"/>
                  </a:lnTo>
                  <a:lnTo>
                    <a:pt x="471" y="423"/>
                  </a:lnTo>
                  <a:lnTo>
                    <a:pt x="423" y="471"/>
                  </a:lnTo>
                  <a:lnTo>
                    <a:pt x="380" y="522"/>
                  </a:lnTo>
                  <a:lnTo>
                    <a:pt x="341" y="578"/>
                  </a:lnTo>
                  <a:lnTo>
                    <a:pt x="307" y="638"/>
                  </a:lnTo>
                  <a:lnTo>
                    <a:pt x="279" y="700"/>
                  </a:lnTo>
                  <a:lnTo>
                    <a:pt x="257" y="765"/>
                  </a:lnTo>
                  <a:lnTo>
                    <a:pt x="240" y="833"/>
                  </a:lnTo>
                  <a:lnTo>
                    <a:pt x="230" y="904"/>
                  </a:lnTo>
                  <a:lnTo>
                    <a:pt x="227" y="977"/>
                  </a:lnTo>
                  <a:lnTo>
                    <a:pt x="230" y="1048"/>
                  </a:lnTo>
                  <a:lnTo>
                    <a:pt x="240" y="1119"/>
                  </a:lnTo>
                  <a:lnTo>
                    <a:pt x="257" y="1187"/>
                  </a:lnTo>
                  <a:lnTo>
                    <a:pt x="279" y="1252"/>
                  </a:lnTo>
                  <a:lnTo>
                    <a:pt x="307" y="1314"/>
                  </a:lnTo>
                  <a:lnTo>
                    <a:pt x="341" y="1374"/>
                  </a:lnTo>
                  <a:lnTo>
                    <a:pt x="380" y="1430"/>
                  </a:lnTo>
                  <a:lnTo>
                    <a:pt x="423" y="1481"/>
                  </a:lnTo>
                  <a:lnTo>
                    <a:pt x="471" y="1529"/>
                  </a:lnTo>
                  <a:lnTo>
                    <a:pt x="524" y="1573"/>
                  </a:lnTo>
                  <a:lnTo>
                    <a:pt x="578" y="1612"/>
                  </a:lnTo>
                  <a:lnTo>
                    <a:pt x="639" y="1646"/>
                  </a:lnTo>
                  <a:lnTo>
                    <a:pt x="700" y="1673"/>
                  </a:lnTo>
                  <a:lnTo>
                    <a:pt x="767" y="1696"/>
                  </a:lnTo>
                  <a:lnTo>
                    <a:pt x="835" y="1712"/>
                  </a:lnTo>
                  <a:lnTo>
                    <a:pt x="904" y="1722"/>
                  </a:lnTo>
                  <a:lnTo>
                    <a:pt x="977" y="1726"/>
                  </a:lnTo>
                  <a:lnTo>
                    <a:pt x="1050" y="1722"/>
                  </a:lnTo>
                  <a:lnTo>
                    <a:pt x="1119" y="1712"/>
                  </a:lnTo>
                  <a:lnTo>
                    <a:pt x="1188" y="1696"/>
                  </a:lnTo>
                  <a:lnTo>
                    <a:pt x="1254" y="1673"/>
                  </a:lnTo>
                  <a:lnTo>
                    <a:pt x="1315" y="1646"/>
                  </a:lnTo>
                  <a:lnTo>
                    <a:pt x="1376" y="1612"/>
                  </a:lnTo>
                  <a:lnTo>
                    <a:pt x="1431" y="1573"/>
                  </a:lnTo>
                  <a:lnTo>
                    <a:pt x="1483" y="1529"/>
                  </a:lnTo>
                  <a:lnTo>
                    <a:pt x="1532" y="1481"/>
                  </a:lnTo>
                  <a:lnTo>
                    <a:pt x="1574" y="1430"/>
                  </a:lnTo>
                  <a:lnTo>
                    <a:pt x="1613" y="1374"/>
                  </a:lnTo>
                  <a:lnTo>
                    <a:pt x="1647" y="1314"/>
                  </a:lnTo>
                  <a:lnTo>
                    <a:pt x="1675" y="1252"/>
                  </a:lnTo>
                  <a:lnTo>
                    <a:pt x="1697" y="1187"/>
                  </a:lnTo>
                  <a:lnTo>
                    <a:pt x="1714" y="1119"/>
                  </a:lnTo>
                  <a:lnTo>
                    <a:pt x="1724" y="1048"/>
                  </a:lnTo>
                  <a:lnTo>
                    <a:pt x="1728" y="977"/>
                  </a:lnTo>
                  <a:lnTo>
                    <a:pt x="1724" y="904"/>
                  </a:lnTo>
                  <a:lnTo>
                    <a:pt x="1714" y="833"/>
                  </a:lnTo>
                  <a:lnTo>
                    <a:pt x="1697" y="765"/>
                  </a:lnTo>
                  <a:lnTo>
                    <a:pt x="1675" y="700"/>
                  </a:lnTo>
                  <a:lnTo>
                    <a:pt x="1647" y="638"/>
                  </a:lnTo>
                  <a:lnTo>
                    <a:pt x="1613" y="578"/>
                  </a:lnTo>
                  <a:lnTo>
                    <a:pt x="1574" y="522"/>
                  </a:lnTo>
                  <a:lnTo>
                    <a:pt x="1532" y="471"/>
                  </a:lnTo>
                  <a:lnTo>
                    <a:pt x="1483" y="423"/>
                  </a:lnTo>
                  <a:lnTo>
                    <a:pt x="1431" y="379"/>
                  </a:lnTo>
                  <a:lnTo>
                    <a:pt x="1376" y="341"/>
                  </a:lnTo>
                  <a:lnTo>
                    <a:pt x="1315" y="308"/>
                  </a:lnTo>
                  <a:lnTo>
                    <a:pt x="1254" y="279"/>
                  </a:lnTo>
                  <a:lnTo>
                    <a:pt x="1188" y="256"/>
                  </a:lnTo>
                  <a:lnTo>
                    <a:pt x="1119" y="241"/>
                  </a:lnTo>
                  <a:lnTo>
                    <a:pt x="1050" y="231"/>
                  </a:lnTo>
                  <a:lnTo>
                    <a:pt x="977" y="227"/>
                  </a:lnTo>
                  <a:close/>
                  <a:moveTo>
                    <a:pt x="977" y="0"/>
                  </a:moveTo>
                  <a:lnTo>
                    <a:pt x="1058" y="3"/>
                  </a:lnTo>
                  <a:lnTo>
                    <a:pt x="1135" y="14"/>
                  </a:lnTo>
                  <a:lnTo>
                    <a:pt x="1212" y="29"/>
                  </a:lnTo>
                  <a:lnTo>
                    <a:pt x="1286" y="50"/>
                  </a:lnTo>
                  <a:lnTo>
                    <a:pt x="1357" y="77"/>
                  </a:lnTo>
                  <a:lnTo>
                    <a:pt x="1426" y="110"/>
                  </a:lnTo>
                  <a:lnTo>
                    <a:pt x="1491" y="147"/>
                  </a:lnTo>
                  <a:lnTo>
                    <a:pt x="1554" y="189"/>
                  </a:lnTo>
                  <a:lnTo>
                    <a:pt x="1613" y="235"/>
                  </a:lnTo>
                  <a:lnTo>
                    <a:pt x="1668" y="286"/>
                  </a:lnTo>
                  <a:lnTo>
                    <a:pt x="1719" y="341"/>
                  </a:lnTo>
                  <a:lnTo>
                    <a:pt x="1766" y="399"/>
                  </a:lnTo>
                  <a:lnTo>
                    <a:pt x="1807" y="462"/>
                  </a:lnTo>
                  <a:lnTo>
                    <a:pt x="1845" y="528"/>
                  </a:lnTo>
                  <a:lnTo>
                    <a:pt x="1878" y="596"/>
                  </a:lnTo>
                  <a:lnTo>
                    <a:pt x="1904" y="668"/>
                  </a:lnTo>
                  <a:lnTo>
                    <a:pt x="1926" y="742"/>
                  </a:lnTo>
                  <a:lnTo>
                    <a:pt x="1941" y="818"/>
                  </a:lnTo>
                  <a:lnTo>
                    <a:pt x="1950" y="896"/>
                  </a:lnTo>
                  <a:lnTo>
                    <a:pt x="1954" y="977"/>
                  </a:lnTo>
                  <a:lnTo>
                    <a:pt x="1950" y="1056"/>
                  </a:lnTo>
                  <a:lnTo>
                    <a:pt x="1941" y="1134"/>
                  </a:lnTo>
                  <a:lnTo>
                    <a:pt x="1926" y="1210"/>
                  </a:lnTo>
                  <a:lnTo>
                    <a:pt x="1904" y="1284"/>
                  </a:lnTo>
                  <a:lnTo>
                    <a:pt x="1878" y="1356"/>
                  </a:lnTo>
                  <a:lnTo>
                    <a:pt x="1845" y="1424"/>
                  </a:lnTo>
                  <a:lnTo>
                    <a:pt x="1807" y="1490"/>
                  </a:lnTo>
                  <a:lnTo>
                    <a:pt x="1766" y="1553"/>
                  </a:lnTo>
                  <a:lnTo>
                    <a:pt x="1719" y="1611"/>
                  </a:lnTo>
                  <a:lnTo>
                    <a:pt x="1668" y="1666"/>
                  </a:lnTo>
                  <a:lnTo>
                    <a:pt x="1613" y="1717"/>
                  </a:lnTo>
                  <a:lnTo>
                    <a:pt x="1554" y="1763"/>
                  </a:lnTo>
                  <a:lnTo>
                    <a:pt x="1491" y="1805"/>
                  </a:lnTo>
                  <a:lnTo>
                    <a:pt x="1426" y="1842"/>
                  </a:lnTo>
                  <a:lnTo>
                    <a:pt x="1357" y="1875"/>
                  </a:lnTo>
                  <a:lnTo>
                    <a:pt x="1286" y="1902"/>
                  </a:lnTo>
                  <a:lnTo>
                    <a:pt x="1212" y="1923"/>
                  </a:lnTo>
                  <a:lnTo>
                    <a:pt x="1135" y="1939"/>
                  </a:lnTo>
                  <a:lnTo>
                    <a:pt x="1058" y="1949"/>
                  </a:lnTo>
                  <a:lnTo>
                    <a:pt x="977" y="1952"/>
                  </a:lnTo>
                  <a:lnTo>
                    <a:pt x="896" y="1949"/>
                  </a:lnTo>
                  <a:lnTo>
                    <a:pt x="819" y="1939"/>
                  </a:lnTo>
                  <a:lnTo>
                    <a:pt x="742" y="1923"/>
                  </a:lnTo>
                  <a:lnTo>
                    <a:pt x="668" y="1902"/>
                  </a:lnTo>
                  <a:lnTo>
                    <a:pt x="597" y="1875"/>
                  </a:lnTo>
                  <a:lnTo>
                    <a:pt x="528" y="1842"/>
                  </a:lnTo>
                  <a:lnTo>
                    <a:pt x="463" y="1805"/>
                  </a:lnTo>
                  <a:lnTo>
                    <a:pt x="400" y="1763"/>
                  </a:lnTo>
                  <a:lnTo>
                    <a:pt x="341" y="1717"/>
                  </a:lnTo>
                  <a:lnTo>
                    <a:pt x="286" y="1666"/>
                  </a:lnTo>
                  <a:lnTo>
                    <a:pt x="236" y="1611"/>
                  </a:lnTo>
                  <a:lnTo>
                    <a:pt x="189" y="1553"/>
                  </a:lnTo>
                  <a:lnTo>
                    <a:pt x="147" y="1490"/>
                  </a:lnTo>
                  <a:lnTo>
                    <a:pt x="109" y="1424"/>
                  </a:lnTo>
                  <a:lnTo>
                    <a:pt x="77" y="1356"/>
                  </a:lnTo>
                  <a:lnTo>
                    <a:pt x="50" y="1284"/>
                  </a:lnTo>
                  <a:lnTo>
                    <a:pt x="28" y="1210"/>
                  </a:lnTo>
                  <a:lnTo>
                    <a:pt x="13" y="1134"/>
                  </a:lnTo>
                  <a:lnTo>
                    <a:pt x="4" y="1056"/>
                  </a:lnTo>
                  <a:lnTo>
                    <a:pt x="0" y="977"/>
                  </a:lnTo>
                  <a:lnTo>
                    <a:pt x="4" y="896"/>
                  </a:lnTo>
                  <a:lnTo>
                    <a:pt x="13" y="818"/>
                  </a:lnTo>
                  <a:lnTo>
                    <a:pt x="28" y="742"/>
                  </a:lnTo>
                  <a:lnTo>
                    <a:pt x="50" y="668"/>
                  </a:lnTo>
                  <a:lnTo>
                    <a:pt x="77" y="596"/>
                  </a:lnTo>
                  <a:lnTo>
                    <a:pt x="109" y="528"/>
                  </a:lnTo>
                  <a:lnTo>
                    <a:pt x="147" y="462"/>
                  </a:lnTo>
                  <a:lnTo>
                    <a:pt x="189" y="399"/>
                  </a:lnTo>
                  <a:lnTo>
                    <a:pt x="236" y="341"/>
                  </a:lnTo>
                  <a:lnTo>
                    <a:pt x="286" y="286"/>
                  </a:lnTo>
                  <a:lnTo>
                    <a:pt x="341" y="235"/>
                  </a:lnTo>
                  <a:lnTo>
                    <a:pt x="400" y="189"/>
                  </a:lnTo>
                  <a:lnTo>
                    <a:pt x="463" y="147"/>
                  </a:lnTo>
                  <a:lnTo>
                    <a:pt x="528" y="110"/>
                  </a:lnTo>
                  <a:lnTo>
                    <a:pt x="597" y="77"/>
                  </a:lnTo>
                  <a:lnTo>
                    <a:pt x="668" y="50"/>
                  </a:lnTo>
                  <a:lnTo>
                    <a:pt x="742" y="29"/>
                  </a:lnTo>
                  <a:lnTo>
                    <a:pt x="819" y="14"/>
                  </a:lnTo>
                  <a:lnTo>
                    <a:pt x="896" y="3"/>
                  </a:lnTo>
                  <a:lnTo>
                    <a:pt x="9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9409104" y="2049464"/>
              <a:ext cx="1062037" cy="468313"/>
            </a:xfrm>
            <a:custGeom>
              <a:avLst/>
              <a:gdLst>
                <a:gd name="T0" fmla="*/ 846 w 2677"/>
                <a:gd name="T1" fmla="*/ 14 h 1177"/>
                <a:gd name="T2" fmla="*/ 1051 w 2677"/>
                <a:gd name="T3" fmla="*/ 60 h 1177"/>
                <a:gd name="T4" fmla="*/ 1272 w 2677"/>
                <a:gd name="T5" fmla="*/ 122 h 1177"/>
                <a:gd name="T6" fmla="*/ 1477 w 2677"/>
                <a:gd name="T7" fmla="*/ 187 h 1177"/>
                <a:gd name="T8" fmla="*/ 1635 w 2677"/>
                <a:gd name="T9" fmla="*/ 237 h 1177"/>
                <a:gd name="T10" fmla="*/ 1722 w 2677"/>
                <a:gd name="T11" fmla="*/ 263 h 1177"/>
                <a:gd name="T12" fmla="*/ 1776 w 2677"/>
                <a:gd name="T13" fmla="*/ 316 h 1177"/>
                <a:gd name="T14" fmla="*/ 1783 w 2677"/>
                <a:gd name="T15" fmla="*/ 395 h 1177"/>
                <a:gd name="T16" fmla="*/ 1730 w 2677"/>
                <a:gd name="T17" fmla="*/ 473 h 1177"/>
                <a:gd name="T18" fmla="*/ 1606 w 2677"/>
                <a:gd name="T19" fmla="*/ 521 h 1177"/>
                <a:gd name="T20" fmla="*/ 1442 w 2677"/>
                <a:gd name="T21" fmla="*/ 530 h 1177"/>
                <a:gd name="T22" fmla="*/ 1273 w 2677"/>
                <a:gd name="T23" fmla="*/ 513 h 1177"/>
                <a:gd name="T24" fmla="*/ 1122 w 2677"/>
                <a:gd name="T25" fmla="*/ 488 h 1177"/>
                <a:gd name="T26" fmla="*/ 1013 w 2677"/>
                <a:gd name="T27" fmla="*/ 469 h 1177"/>
                <a:gd name="T28" fmla="*/ 972 w 2677"/>
                <a:gd name="T29" fmla="*/ 475 h 1177"/>
                <a:gd name="T30" fmla="*/ 1029 w 2677"/>
                <a:gd name="T31" fmla="*/ 543 h 1177"/>
                <a:gd name="T32" fmla="*/ 1173 w 2677"/>
                <a:gd name="T33" fmla="*/ 601 h 1177"/>
                <a:gd name="T34" fmla="*/ 1366 w 2677"/>
                <a:gd name="T35" fmla="*/ 639 h 1177"/>
                <a:gd name="T36" fmla="*/ 1568 w 2677"/>
                <a:gd name="T37" fmla="*/ 653 h 1177"/>
                <a:gd name="T38" fmla="*/ 1809 w 2677"/>
                <a:gd name="T39" fmla="*/ 625 h 1177"/>
                <a:gd name="T40" fmla="*/ 2218 w 2677"/>
                <a:gd name="T41" fmla="*/ 502 h 1177"/>
                <a:gd name="T42" fmla="*/ 2511 w 2677"/>
                <a:gd name="T43" fmla="*/ 366 h 1177"/>
                <a:gd name="T44" fmla="*/ 2616 w 2677"/>
                <a:gd name="T45" fmla="*/ 375 h 1177"/>
                <a:gd name="T46" fmla="*/ 2673 w 2677"/>
                <a:gd name="T47" fmla="*/ 457 h 1177"/>
                <a:gd name="T48" fmla="*/ 2647 w 2677"/>
                <a:gd name="T49" fmla="*/ 583 h 1177"/>
                <a:gd name="T50" fmla="*/ 2550 w 2677"/>
                <a:gd name="T51" fmla="*/ 687 h 1177"/>
                <a:gd name="T52" fmla="*/ 2416 w 2677"/>
                <a:gd name="T53" fmla="*/ 779 h 1177"/>
                <a:gd name="T54" fmla="*/ 2234 w 2677"/>
                <a:gd name="T55" fmla="*/ 892 h 1177"/>
                <a:gd name="T56" fmla="*/ 2033 w 2677"/>
                <a:gd name="T57" fmla="*/ 1005 h 1177"/>
                <a:gd name="T58" fmla="*/ 1840 w 2677"/>
                <a:gd name="T59" fmla="*/ 1102 h 1177"/>
                <a:gd name="T60" fmla="*/ 1684 w 2677"/>
                <a:gd name="T61" fmla="*/ 1164 h 1177"/>
                <a:gd name="T62" fmla="*/ 1576 w 2677"/>
                <a:gd name="T63" fmla="*/ 1177 h 1177"/>
                <a:gd name="T64" fmla="*/ 1395 w 2677"/>
                <a:gd name="T65" fmla="*/ 1161 h 1177"/>
                <a:gd name="T66" fmla="*/ 1159 w 2677"/>
                <a:gd name="T67" fmla="*/ 1130 h 1177"/>
                <a:gd name="T68" fmla="*/ 898 w 2677"/>
                <a:gd name="T69" fmla="*/ 1089 h 1177"/>
                <a:gd name="T70" fmla="*/ 647 w 2677"/>
                <a:gd name="T71" fmla="*/ 1047 h 1177"/>
                <a:gd name="T72" fmla="*/ 440 w 2677"/>
                <a:gd name="T73" fmla="*/ 1009 h 1177"/>
                <a:gd name="T74" fmla="*/ 309 w 2677"/>
                <a:gd name="T75" fmla="*/ 984 h 1177"/>
                <a:gd name="T76" fmla="*/ 200 w 2677"/>
                <a:gd name="T77" fmla="*/ 988 h 1177"/>
                <a:gd name="T78" fmla="*/ 87 w 2677"/>
                <a:gd name="T79" fmla="*/ 1052 h 1177"/>
                <a:gd name="T80" fmla="*/ 28 w 2677"/>
                <a:gd name="T81" fmla="*/ 1089 h 1177"/>
                <a:gd name="T82" fmla="*/ 5 w 2677"/>
                <a:gd name="T83" fmla="*/ 1069 h 1177"/>
                <a:gd name="T84" fmla="*/ 0 w 2677"/>
                <a:gd name="T85" fmla="*/ 1048 h 1177"/>
                <a:gd name="T86" fmla="*/ 18 w 2677"/>
                <a:gd name="T87" fmla="*/ 776 h 1177"/>
                <a:gd name="T88" fmla="*/ 38 w 2677"/>
                <a:gd name="T89" fmla="*/ 461 h 1177"/>
                <a:gd name="T90" fmla="*/ 56 w 2677"/>
                <a:gd name="T91" fmla="*/ 179 h 1177"/>
                <a:gd name="T92" fmla="*/ 75 w 2677"/>
                <a:gd name="T93" fmla="*/ 86 h 1177"/>
                <a:gd name="T94" fmla="*/ 127 w 2677"/>
                <a:gd name="T95" fmla="*/ 70 h 1177"/>
                <a:gd name="T96" fmla="*/ 269 w 2677"/>
                <a:gd name="T97" fmla="*/ 48 h 1177"/>
                <a:gd name="T98" fmla="*/ 468 w 2677"/>
                <a:gd name="T99" fmla="*/ 20 h 1177"/>
                <a:gd name="T100" fmla="*/ 653 w 2677"/>
                <a:gd name="T101" fmla="*/ 2 h 1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77" h="1177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4"/>
                  </a:lnTo>
                  <a:lnTo>
                    <a:pt x="895" y="23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0"/>
                  </a:lnTo>
                  <a:lnTo>
                    <a:pt x="1106" y="75"/>
                  </a:lnTo>
                  <a:lnTo>
                    <a:pt x="1162" y="90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5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1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7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6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5"/>
                  </a:lnTo>
                  <a:lnTo>
                    <a:pt x="1766" y="300"/>
                  </a:lnTo>
                  <a:lnTo>
                    <a:pt x="1776" y="316"/>
                  </a:lnTo>
                  <a:lnTo>
                    <a:pt x="1782" y="334"/>
                  </a:lnTo>
                  <a:lnTo>
                    <a:pt x="1786" y="354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6"/>
                  </a:lnTo>
                  <a:lnTo>
                    <a:pt x="1765" y="436"/>
                  </a:lnTo>
                  <a:lnTo>
                    <a:pt x="1749" y="455"/>
                  </a:lnTo>
                  <a:lnTo>
                    <a:pt x="1730" y="473"/>
                  </a:lnTo>
                  <a:lnTo>
                    <a:pt x="1705" y="489"/>
                  </a:lnTo>
                  <a:lnTo>
                    <a:pt x="1676" y="502"/>
                  </a:lnTo>
                  <a:lnTo>
                    <a:pt x="1643" y="513"/>
                  </a:lnTo>
                  <a:lnTo>
                    <a:pt x="1606" y="521"/>
                  </a:lnTo>
                  <a:lnTo>
                    <a:pt x="1567" y="527"/>
                  </a:lnTo>
                  <a:lnTo>
                    <a:pt x="1526" y="530"/>
                  </a:lnTo>
                  <a:lnTo>
                    <a:pt x="1485" y="531"/>
                  </a:lnTo>
                  <a:lnTo>
                    <a:pt x="1442" y="530"/>
                  </a:lnTo>
                  <a:lnTo>
                    <a:pt x="1400" y="528"/>
                  </a:lnTo>
                  <a:lnTo>
                    <a:pt x="1356" y="524"/>
                  </a:lnTo>
                  <a:lnTo>
                    <a:pt x="1315" y="519"/>
                  </a:lnTo>
                  <a:lnTo>
                    <a:pt x="1273" y="513"/>
                  </a:lnTo>
                  <a:lnTo>
                    <a:pt x="1232" y="507"/>
                  </a:lnTo>
                  <a:lnTo>
                    <a:pt x="1194" y="500"/>
                  </a:lnTo>
                  <a:lnTo>
                    <a:pt x="1157" y="493"/>
                  </a:lnTo>
                  <a:lnTo>
                    <a:pt x="1122" y="488"/>
                  </a:lnTo>
                  <a:lnTo>
                    <a:pt x="1089" y="481"/>
                  </a:lnTo>
                  <a:lnTo>
                    <a:pt x="1060" y="476"/>
                  </a:lnTo>
                  <a:lnTo>
                    <a:pt x="1035" y="472"/>
                  </a:lnTo>
                  <a:lnTo>
                    <a:pt x="1013" y="469"/>
                  </a:lnTo>
                  <a:lnTo>
                    <a:pt x="995" y="467"/>
                  </a:lnTo>
                  <a:lnTo>
                    <a:pt x="983" y="467"/>
                  </a:lnTo>
                  <a:lnTo>
                    <a:pt x="974" y="471"/>
                  </a:lnTo>
                  <a:lnTo>
                    <a:pt x="972" y="475"/>
                  </a:lnTo>
                  <a:lnTo>
                    <a:pt x="975" y="493"/>
                  </a:lnTo>
                  <a:lnTo>
                    <a:pt x="986" y="510"/>
                  </a:lnTo>
                  <a:lnTo>
                    <a:pt x="1004" y="527"/>
                  </a:lnTo>
                  <a:lnTo>
                    <a:pt x="1029" y="543"/>
                  </a:lnTo>
                  <a:lnTo>
                    <a:pt x="1058" y="559"/>
                  </a:lnTo>
                  <a:lnTo>
                    <a:pt x="1093" y="574"/>
                  </a:lnTo>
                  <a:lnTo>
                    <a:pt x="1131" y="587"/>
                  </a:lnTo>
                  <a:lnTo>
                    <a:pt x="1173" y="601"/>
                  </a:lnTo>
                  <a:lnTo>
                    <a:pt x="1218" y="612"/>
                  </a:lnTo>
                  <a:lnTo>
                    <a:pt x="1266" y="622"/>
                  </a:lnTo>
                  <a:lnTo>
                    <a:pt x="1316" y="631"/>
                  </a:lnTo>
                  <a:lnTo>
                    <a:pt x="1366" y="639"/>
                  </a:lnTo>
                  <a:lnTo>
                    <a:pt x="1418" y="645"/>
                  </a:lnTo>
                  <a:lnTo>
                    <a:pt x="1468" y="650"/>
                  </a:lnTo>
                  <a:lnTo>
                    <a:pt x="1518" y="652"/>
                  </a:lnTo>
                  <a:lnTo>
                    <a:pt x="1568" y="653"/>
                  </a:lnTo>
                  <a:lnTo>
                    <a:pt x="1616" y="652"/>
                  </a:lnTo>
                  <a:lnTo>
                    <a:pt x="1661" y="650"/>
                  </a:lnTo>
                  <a:lnTo>
                    <a:pt x="1702" y="644"/>
                  </a:lnTo>
                  <a:lnTo>
                    <a:pt x="1809" y="625"/>
                  </a:lnTo>
                  <a:lnTo>
                    <a:pt x="1915" y="601"/>
                  </a:lnTo>
                  <a:lnTo>
                    <a:pt x="2019" y="571"/>
                  </a:lnTo>
                  <a:lnTo>
                    <a:pt x="2120" y="538"/>
                  </a:lnTo>
                  <a:lnTo>
                    <a:pt x="2218" y="502"/>
                  </a:lnTo>
                  <a:lnTo>
                    <a:pt x="2311" y="463"/>
                  </a:lnTo>
                  <a:lnTo>
                    <a:pt x="2399" y="422"/>
                  </a:lnTo>
                  <a:lnTo>
                    <a:pt x="2481" y="379"/>
                  </a:lnTo>
                  <a:lnTo>
                    <a:pt x="2511" y="366"/>
                  </a:lnTo>
                  <a:lnTo>
                    <a:pt x="2540" y="360"/>
                  </a:lnTo>
                  <a:lnTo>
                    <a:pt x="2567" y="359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89"/>
                  </a:lnTo>
                  <a:lnTo>
                    <a:pt x="2653" y="408"/>
                  </a:lnTo>
                  <a:lnTo>
                    <a:pt x="2665" y="432"/>
                  </a:lnTo>
                  <a:lnTo>
                    <a:pt x="2673" y="457"/>
                  </a:lnTo>
                  <a:lnTo>
                    <a:pt x="2677" y="485"/>
                  </a:lnTo>
                  <a:lnTo>
                    <a:pt x="2673" y="517"/>
                  </a:lnTo>
                  <a:lnTo>
                    <a:pt x="2663" y="549"/>
                  </a:lnTo>
                  <a:lnTo>
                    <a:pt x="2647" y="583"/>
                  </a:lnTo>
                  <a:lnTo>
                    <a:pt x="2623" y="617"/>
                  </a:lnTo>
                  <a:lnTo>
                    <a:pt x="2591" y="652"/>
                  </a:lnTo>
                  <a:lnTo>
                    <a:pt x="2573" y="668"/>
                  </a:lnTo>
                  <a:lnTo>
                    <a:pt x="2550" y="687"/>
                  </a:lnTo>
                  <a:lnTo>
                    <a:pt x="2523" y="707"/>
                  </a:lnTo>
                  <a:lnTo>
                    <a:pt x="2491" y="729"/>
                  </a:lnTo>
                  <a:lnTo>
                    <a:pt x="2455" y="754"/>
                  </a:lnTo>
                  <a:lnTo>
                    <a:pt x="2416" y="779"/>
                  </a:lnTo>
                  <a:lnTo>
                    <a:pt x="2374" y="807"/>
                  </a:lnTo>
                  <a:lnTo>
                    <a:pt x="2329" y="834"/>
                  </a:lnTo>
                  <a:lnTo>
                    <a:pt x="2282" y="863"/>
                  </a:lnTo>
                  <a:lnTo>
                    <a:pt x="2234" y="892"/>
                  </a:lnTo>
                  <a:lnTo>
                    <a:pt x="2185" y="922"/>
                  </a:lnTo>
                  <a:lnTo>
                    <a:pt x="2134" y="950"/>
                  </a:lnTo>
                  <a:lnTo>
                    <a:pt x="2083" y="977"/>
                  </a:lnTo>
                  <a:lnTo>
                    <a:pt x="2033" y="1005"/>
                  </a:lnTo>
                  <a:lnTo>
                    <a:pt x="1982" y="1032"/>
                  </a:lnTo>
                  <a:lnTo>
                    <a:pt x="1934" y="1057"/>
                  </a:lnTo>
                  <a:lnTo>
                    <a:pt x="1886" y="1080"/>
                  </a:lnTo>
                  <a:lnTo>
                    <a:pt x="1840" y="1102"/>
                  </a:lnTo>
                  <a:lnTo>
                    <a:pt x="1796" y="1122"/>
                  </a:lnTo>
                  <a:lnTo>
                    <a:pt x="1756" y="1139"/>
                  </a:lnTo>
                  <a:lnTo>
                    <a:pt x="1718" y="1153"/>
                  </a:lnTo>
                  <a:lnTo>
                    <a:pt x="1684" y="1164"/>
                  </a:lnTo>
                  <a:lnTo>
                    <a:pt x="1654" y="1172"/>
                  </a:lnTo>
                  <a:lnTo>
                    <a:pt x="1634" y="1175"/>
                  </a:lnTo>
                  <a:lnTo>
                    <a:pt x="1608" y="1177"/>
                  </a:lnTo>
                  <a:lnTo>
                    <a:pt x="1576" y="1177"/>
                  </a:lnTo>
                  <a:lnTo>
                    <a:pt x="1537" y="1174"/>
                  </a:lnTo>
                  <a:lnTo>
                    <a:pt x="1495" y="1171"/>
                  </a:lnTo>
                  <a:lnTo>
                    <a:pt x="1447" y="1167"/>
                  </a:lnTo>
                  <a:lnTo>
                    <a:pt x="1395" y="1161"/>
                  </a:lnTo>
                  <a:lnTo>
                    <a:pt x="1340" y="1154"/>
                  </a:lnTo>
                  <a:lnTo>
                    <a:pt x="1282" y="1147"/>
                  </a:lnTo>
                  <a:lnTo>
                    <a:pt x="1222" y="1139"/>
                  </a:lnTo>
                  <a:lnTo>
                    <a:pt x="1159" y="1130"/>
                  </a:lnTo>
                  <a:lnTo>
                    <a:pt x="1094" y="1121"/>
                  </a:lnTo>
                  <a:lnTo>
                    <a:pt x="1029" y="1111"/>
                  </a:lnTo>
                  <a:lnTo>
                    <a:pt x="964" y="1101"/>
                  </a:lnTo>
                  <a:lnTo>
                    <a:pt x="898" y="1089"/>
                  </a:lnTo>
                  <a:lnTo>
                    <a:pt x="833" y="1079"/>
                  </a:lnTo>
                  <a:lnTo>
                    <a:pt x="769" y="1068"/>
                  </a:lnTo>
                  <a:lnTo>
                    <a:pt x="708" y="1057"/>
                  </a:lnTo>
                  <a:lnTo>
                    <a:pt x="647" y="1047"/>
                  </a:lnTo>
                  <a:lnTo>
                    <a:pt x="590" y="1037"/>
                  </a:lnTo>
                  <a:lnTo>
                    <a:pt x="536" y="1027"/>
                  </a:lnTo>
                  <a:lnTo>
                    <a:pt x="486" y="1018"/>
                  </a:lnTo>
                  <a:lnTo>
                    <a:pt x="440" y="1009"/>
                  </a:lnTo>
                  <a:lnTo>
                    <a:pt x="398" y="1001"/>
                  </a:lnTo>
                  <a:lnTo>
                    <a:pt x="363" y="994"/>
                  </a:lnTo>
                  <a:lnTo>
                    <a:pt x="332" y="989"/>
                  </a:lnTo>
                  <a:lnTo>
                    <a:pt x="309" y="984"/>
                  </a:lnTo>
                  <a:lnTo>
                    <a:pt x="292" y="980"/>
                  </a:lnTo>
                  <a:lnTo>
                    <a:pt x="262" y="976"/>
                  </a:lnTo>
                  <a:lnTo>
                    <a:pt x="230" y="980"/>
                  </a:lnTo>
                  <a:lnTo>
                    <a:pt x="200" y="988"/>
                  </a:lnTo>
                  <a:lnTo>
                    <a:pt x="171" y="1000"/>
                  </a:lnTo>
                  <a:lnTo>
                    <a:pt x="142" y="1016"/>
                  </a:lnTo>
                  <a:lnTo>
                    <a:pt x="114" y="1033"/>
                  </a:lnTo>
                  <a:lnTo>
                    <a:pt x="87" y="1052"/>
                  </a:lnTo>
                  <a:lnTo>
                    <a:pt x="64" y="1073"/>
                  </a:lnTo>
                  <a:lnTo>
                    <a:pt x="49" y="1083"/>
                  </a:lnTo>
                  <a:lnTo>
                    <a:pt x="37" y="1088"/>
                  </a:lnTo>
                  <a:lnTo>
                    <a:pt x="28" y="1089"/>
                  </a:lnTo>
                  <a:lnTo>
                    <a:pt x="20" y="1087"/>
                  </a:lnTo>
                  <a:lnTo>
                    <a:pt x="13" y="1083"/>
                  </a:lnTo>
                  <a:lnTo>
                    <a:pt x="9" y="1077"/>
                  </a:lnTo>
                  <a:lnTo>
                    <a:pt x="5" y="1069"/>
                  </a:lnTo>
                  <a:lnTo>
                    <a:pt x="2" y="1062"/>
                  </a:lnTo>
                  <a:lnTo>
                    <a:pt x="1" y="1056"/>
                  </a:lnTo>
                  <a:lnTo>
                    <a:pt x="1" y="1050"/>
                  </a:lnTo>
                  <a:lnTo>
                    <a:pt x="0" y="1048"/>
                  </a:lnTo>
                  <a:lnTo>
                    <a:pt x="4" y="989"/>
                  </a:lnTo>
                  <a:lnTo>
                    <a:pt x="9" y="923"/>
                  </a:lnTo>
                  <a:lnTo>
                    <a:pt x="13" y="852"/>
                  </a:lnTo>
                  <a:lnTo>
                    <a:pt x="18" y="776"/>
                  </a:lnTo>
                  <a:lnTo>
                    <a:pt x="23" y="699"/>
                  </a:lnTo>
                  <a:lnTo>
                    <a:pt x="28" y="620"/>
                  </a:lnTo>
                  <a:lnTo>
                    <a:pt x="33" y="539"/>
                  </a:lnTo>
                  <a:lnTo>
                    <a:pt x="38" y="461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1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7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0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0"/>
                  </a:lnTo>
                  <a:lnTo>
                    <a:pt x="145" y="67"/>
                  </a:lnTo>
                  <a:lnTo>
                    <a:pt x="182" y="61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3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4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Freeform 56"/>
            <p:cNvSpPr>
              <a:spLocks noEditPoints="1"/>
            </p:cNvSpPr>
            <p:nvPr/>
          </p:nvSpPr>
          <p:spPr bwMode="auto">
            <a:xfrm>
              <a:off x="9005888" y="2062162"/>
              <a:ext cx="336550" cy="433389"/>
            </a:xfrm>
            <a:custGeom>
              <a:avLst/>
              <a:gdLst>
                <a:gd name="T0" fmla="*/ 440 w 849"/>
                <a:gd name="T1" fmla="*/ 654 h 1093"/>
                <a:gd name="T2" fmla="*/ 408 w 849"/>
                <a:gd name="T3" fmla="*/ 658 h 1093"/>
                <a:gd name="T4" fmla="*/ 379 w 849"/>
                <a:gd name="T5" fmla="*/ 667 h 1093"/>
                <a:gd name="T6" fmla="*/ 352 w 849"/>
                <a:gd name="T7" fmla="*/ 681 h 1093"/>
                <a:gd name="T8" fmla="*/ 328 w 849"/>
                <a:gd name="T9" fmla="*/ 700 h 1093"/>
                <a:gd name="T10" fmla="*/ 309 w 849"/>
                <a:gd name="T11" fmla="*/ 724 h 1093"/>
                <a:gd name="T12" fmla="*/ 295 w 849"/>
                <a:gd name="T13" fmla="*/ 749 h 1093"/>
                <a:gd name="T14" fmla="*/ 286 w 849"/>
                <a:gd name="T15" fmla="*/ 780 h 1093"/>
                <a:gd name="T16" fmla="*/ 282 w 849"/>
                <a:gd name="T17" fmla="*/ 811 h 1093"/>
                <a:gd name="T18" fmla="*/ 286 w 849"/>
                <a:gd name="T19" fmla="*/ 842 h 1093"/>
                <a:gd name="T20" fmla="*/ 295 w 849"/>
                <a:gd name="T21" fmla="*/ 873 h 1093"/>
                <a:gd name="T22" fmla="*/ 309 w 849"/>
                <a:gd name="T23" fmla="*/ 899 h 1093"/>
                <a:gd name="T24" fmla="*/ 328 w 849"/>
                <a:gd name="T25" fmla="*/ 923 h 1093"/>
                <a:gd name="T26" fmla="*/ 352 w 849"/>
                <a:gd name="T27" fmla="*/ 942 h 1093"/>
                <a:gd name="T28" fmla="*/ 379 w 849"/>
                <a:gd name="T29" fmla="*/ 956 h 1093"/>
                <a:gd name="T30" fmla="*/ 408 w 849"/>
                <a:gd name="T31" fmla="*/ 965 h 1093"/>
                <a:gd name="T32" fmla="*/ 440 w 849"/>
                <a:gd name="T33" fmla="*/ 969 h 1093"/>
                <a:gd name="T34" fmla="*/ 472 w 849"/>
                <a:gd name="T35" fmla="*/ 965 h 1093"/>
                <a:gd name="T36" fmla="*/ 501 w 849"/>
                <a:gd name="T37" fmla="*/ 956 h 1093"/>
                <a:gd name="T38" fmla="*/ 528 w 849"/>
                <a:gd name="T39" fmla="*/ 942 h 1093"/>
                <a:gd name="T40" fmla="*/ 551 w 849"/>
                <a:gd name="T41" fmla="*/ 923 h 1093"/>
                <a:gd name="T42" fmla="*/ 570 w 849"/>
                <a:gd name="T43" fmla="*/ 899 h 1093"/>
                <a:gd name="T44" fmla="*/ 585 w 849"/>
                <a:gd name="T45" fmla="*/ 873 h 1093"/>
                <a:gd name="T46" fmla="*/ 594 w 849"/>
                <a:gd name="T47" fmla="*/ 842 h 1093"/>
                <a:gd name="T48" fmla="*/ 597 w 849"/>
                <a:gd name="T49" fmla="*/ 811 h 1093"/>
                <a:gd name="T50" fmla="*/ 594 w 849"/>
                <a:gd name="T51" fmla="*/ 780 h 1093"/>
                <a:gd name="T52" fmla="*/ 585 w 849"/>
                <a:gd name="T53" fmla="*/ 749 h 1093"/>
                <a:gd name="T54" fmla="*/ 570 w 849"/>
                <a:gd name="T55" fmla="*/ 724 h 1093"/>
                <a:gd name="T56" fmla="*/ 551 w 849"/>
                <a:gd name="T57" fmla="*/ 700 h 1093"/>
                <a:gd name="T58" fmla="*/ 528 w 849"/>
                <a:gd name="T59" fmla="*/ 681 h 1093"/>
                <a:gd name="T60" fmla="*/ 501 w 849"/>
                <a:gd name="T61" fmla="*/ 667 h 1093"/>
                <a:gd name="T62" fmla="*/ 472 w 849"/>
                <a:gd name="T63" fmla="*/ 658 h 1093"/>
                <a:gd name="T64" fmla="*/ 440 w 849"/>
                <a:gd name="T65" fmla="*/ 654 h 1093"/>
                <a:gd name="T66" fmla="*/ 206 w 849"/>
                <a:gd name="T67" fmla="*/ 0 h 1093"/>
                <a:gd name="T68" fmla="*/ 775 w 849"/>
                <a:gd name="T69" fmla="*/ 28 h 1093"/>
                <a:gd name="T70" fmla="*/ 796 w 849"/>
                <a:gd name="T71" fmla="*/ 32 h 1093"/>
                <a:gd name="T72" fmla="*/ 814 w 849"/>
                <a:gd name="T73" fmla="*/ 41 h 1093"/>
                <a:gd name="T74" fmla="*/ 830 w 849"/>
                <a:gd name="T75" fmla="*/ 55 h 1093"/>
                <a:gd name="T76" fmla="*/ 841 w 849"/>
                <a:gd name="T77" fmla="*/ 72 h 1093"/>
                <a:gd name="T78" fmla="*/ 848 w 849"/>
                <a:gd name="T79" fmla="*/ 91 h 1093"/>
                <a:gd name="T80" fmla="*/ 849 w 849"/>
                <a:gd name="T81" fmla="*/ 112 h 1093"/>
                <a:gd name="T82" fmla="*/ 780 w 849"/>
                <a:gd name="T83" fmla="*/ 1016 h 1093"/>
                <a:gd name="T84" fmla="*/ 775 w 849"/>
                <a:gd name="T85" fmla="*/ 1037 h 1093"/>
                <a:gd name="T86" fmla="*/ 765 w 849"/>
                <a:gd name="T87" fmla="*/ 1056 h 1093"/>
                <a:gd name="T88" fmla="*/ 752 w 849"/>
                <a:gd name="T89" fmla="*/ 1072 h 1093"/>
                <a:gd name="T90" fmla="*/ 735 w 849"/>
                <a:gd name="T91" fmla="*/ 1083 h 1093"/>
                <a:gd name="T92" fmla="*/ 715 w 849"/>
                <a:gd name="T93" fmla="*/ 1091 h 1093"/>
                <a:gd name="T94" fmla="*/ 693 w 849"/>
                <a:gd name="T95" fmla="*/ 1093 h 1093"/>
                <a:gd name="T96" fmla="*/ 63 w 849"/>
                <a:gd name="T97" fmla="*/ 1093 h 1093"/>
                <a:gd name="T98" fmla="*/ 43 w 849"/>
                <a:gd name="T99" fmla="*/ 1090 h 1093"/>
                <a:gd name="T100" fmla="*/ 25 w 849"/>
                <a:gd name="T101" fmla="*/ 1081 h 1093"/>
                <a:gd name="T102" fmla="*/ 12 w 849"/>
                <a:gd name="T103" fmla="*/ 1068 h 1093"/>
                <a:gd name="T104" fmla="*/ 3 w 849"/>
                <a:gd name="T105" fmla="*/ 1051 h 1093"/>
                <a:gd name="T106" fmla="*/ 0 w 849"/>
                <a:gd name="T107" fmla="*/ 1032 h 1093"/>
                <a:gd name="T108" fmla="*/ 2 w 849"/>
                <a:gd name="T109" fmla="*/ 1012 h 1093"/>
                <a:gd name="T110" fmla="*/ 106 w 849"/>
                <a:gd name="T111" fmla="*/ 74 h 1093"/>
                <a:gd name="T112" fmla="*/ 114 w 849"/>
                <a:gd name="T113" fmla="*/ 54 h 1093"/>
                <a:gd name="T114" fmla="*/ 127 w 849"/>
                <a:gd name="T115" fmla="*/ 36 h 1093"/>
                <a:gd name="T116" fmla="*/ 143 w 849"/>
                <a:gd name="T117" fmla="*/ 20 h 1093"/>
                <a:gd name="T118" fmla="*/ 162 w 849"/>
                <a:gd name="T119" fmla="*/ 9 h 1093"/>
                <a:gd name="T120" fmla="*/ 184 w 849"/>
                <a:gd name="T121" fmla="*/ 2 h 1093"/>
                <a:gd name="T122" fmla="*/ 206 w 849"/>
                <a:gd name="T123" fmla="*/ 0 h 10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9" h="1093">
                  <a:moveTo>
                    <a:pt x="440" y="654"/>
                  </a:moveTo>
                  <a:lnTo>
                    <a:pt x="408" y="658"/>
                  </a:lnTo>
                  <a:lnTo>
                    <a:pt x="379" y="667"/>
                  </a:lnTo>
                  <a:lnTo>
                    <a:pt x="352" y="681"/>
                  </a:lnTo>
                  <a:lnTo>
                    <a:pt x="328" y="700"/>
                  </a:lnTo>
                  <a:lnTo>
                    <a:pt x="309" y="724"/>
                  </a:lnTo>
                  <a:lnTo>
                    <a:pt x="295" y="749"/>
                  </a:lnTo>
                  <a:lnTo>
                    <a:pt x="286" y="780"/>
                  </a:lnTo>
                  <a:lnTo>
                    <a:pt x="282" y="811"/>
                  </a:lnTo>
                  <a:lnTo>
                    <a:pt x="286" y="842"/>
                  </a:lnTo>
                  <a:lnTo>
                    <a:pt x="295" y="873"/>
                  </a:lnTo>
                  <a:lnTo>
                    <a:pt x="309" y="899"/>
                  </a:lnTo>
                  <a:lnTo>
                    <a:pt x="328" y="923"/>
                  </a:lnTo>
                  <a:lnTo>
                    <a:pt x="352" y="942"/>
                  </a:lnTo>
                  <a:lnTo>
                    <a:pt x="379" y="956"/>
                  </a:lnTo>
                  <a:lnTo>
                    <a:pt x="408" y="965"/>
                  </a:lnTo>
                  <a:lnTo>
                    <a:pt x="440" y="969"/>
                  </a:lnTo>
                  <a:lnTo>
                    <a:pt x="472" y="965"/>
                  </a:lnTo>
                  <a:lnTo>
                    <a:pt x="501" y="956"/>
                  </a:lnTo>
                  <a:lnTo>
                    <a:pt x="528" y="942"/>
                  </a:lnTo>
                  <a:lnTo>
                    <a:pt x="551" y="923"/>
                  </a:lnTo>
                  <a:lnTo>
                    <a:pt x="570" y="899"/>
                  </a:lnTo>
                  <a:lnTo>
                    <a:pt x="585" y="873"/>
                  </a:lnTo>
                  <a:lnTo>
                    <a:pt x="594" y="842"/>
                  </a:lnTo>
                  <a:lnTo>
                    <a:pt x="597" y="811"/>
                  </a:lnTo>
                  <a:lnTo>
                    <a:pt x="594" y="780"/>
                  </a:lnTo>
                  <a:lnTo>
                    <a:pt x="585" y="749"/>
                  </a:lnTo>
                  <a:lnTo>
                    <a:pt x="570" y="724"/>
                  </a:lnTo>
                  <a:lnTo>
                    <a:pt x="551" y="700"/>
                  </a:lnTo>
                  <a:lnTo>
                    <a:pt x="528" y="681"/>
                  </a:lnTo>
                  <a:lnTo>
                    <a:pt x="501" y="667"/>
                  </a:lnTo>
                  <a:lnTo>
                    <a:pt x="472" y="658"/>
                  </a:lnTo>
                  <a:lnTo>
                    <a:pt x="440" y="654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2"/>
                  </a:lnTo>
                  <a:lnTo>
                    <a:pt x="814" y="41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6"/>
                  </a:lnTo>
                  <a:lnTo>
                    <a:pt x="775" y="1037"/>
                  </a:lnTo>
                  <a:lnTo>
                    <a:pt x="765" y="1056"/>
                  </a:lnTo>
                  <a:lnTo>
                    <a:pt x="752" y="1072"/>
                  </a:lnTo>
                  <a:lnTo>
                    <a:pt x="735" y="1083"/>
                  </a:lnTo>
                  <a:lnTo>
                    <a:pt x="715" y="1091"/>
                  </a:lnTo>
                  <a:lnTo>
                    <a:pt x="693" y="1093"/>
                  </a:lnTo>
                  <a:lnTo>
                    <a:pt x="63" y="1093"/>
                  </a:lnTo>
                  <a:lnTo>
                    <a:pt x="43" y="1090"/>
                  </a:lnTo>
                  <a:lnTo>
                    <a:pt x="25" y="1081"/>
                  </a:lnTo>
                  <a:lnTo>
                    <a:pt x="12" y="1068"/>
                  </a:lnTo>
                  <a:lnTo>
                    <a:pt x="3" y="1051"/>
                  </a:lnTo>
                  <a:lnTo>
                    <a:pt x="0" y="1032"/>
                  </a:lnTo>
                  <a:lnTo>
                    <a:pt x="2" y="1012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33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84677" y="2930199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05420" y="4912294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043172" y="1562574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155985" y="1568492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019308" y="2453108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7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729284" y="3741419"/>
            <a:ext cx="2169584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7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12000" y="4947347"/>
            <a:ext cx="2080000" cy="697397"/>
          </a:xfrm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pPr lvl="0"/>
            <a:r>
              <a:rPr lang="en-US" dirty="0"/>
              <a:t>Insert your desired text here.</a:t>
            </a:r>
            <a:endParaRPr lang="en-IN" dirty="0"/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728292" y="5818769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825079" y="4466205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724547" y="3289084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068448" y="2771317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518935" y="3404819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64713" y="4252468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8324335" y="5620664"/>
            <a:ext cx="1063195" cy="84385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350769" y="5850003"/>
            <a:ext cx="1556625" cy="843851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284618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5" name="Freeform 5"/>
          <p:cNvSpPr>
            <a:spLocks/>
          </p:cNvSpPr>
          <p:nvPr/>
        </p:nvSpPr>
        <p:spPr bwMode="auto">
          <a:xfrm>
            <a:off x="4416021" y="1083901"/>
            <a:ext cx="3634203" cy="1451776"/>
          </a:xfrm>
          <a:custGeom>
            <a:avLst/>
            <a:gdLst>
              <a:gd name="T0" fmla="*/ 1514 w 1514"/>
              <a:gd name="T1" fmla="*/ 315 h 571"/>
              <a:gd name="T2" fmla="*/ 1258 w 1514"/>
              <a:gd name="T3" fmla="*/ 571 h 571"/>
              <a:gd name="T4" fmla="*/ 256 w 1514"/>
              <a:gd name="T5" fmla="*/ 570 h 571"/>
              <a:gd name="T6" fmla="*/ 0 w 1514"/>
              <a:gd name="T7" fmla="*/ 314 h 571"/>
              <a:gd name="T8" fmla="*/ 757 w 1514"/>
              <a:gd name="T9" fmla="*/ 0 h 571"/>
              <a:gd name="T10" fmla="*/ 1514 w 1514"/>
              <a:gd name="T11" fmla="*/ 315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14" h="571">
                <a:moveTo>
                  <a:pt x="1514" y="315"/>
                </a:moveTo>
                <a:cubicBezTo>
                  <a:pt x="1258" y="571"/>
                  <a:pt x="1258" y="571"/>
                  <a:pt x="1258" y="571"/>
                </a:cubicBezTo>
                <a:cubicBezTo>
                  <a:pt x="981" y="294"/>
                  <a:pt x="530" y="296"/>
                  <a:pt x="256" y="570"/>
                </a:cubicBezTo>
                <a:cubicBezTo>
                  <a:pt x="0" y="314"/>
                  <a:pt x="0" y="314"/>
                  <a:pt x="0" y="314"/>
                </a:cubicBezTo>
                <a:cubicBezTo>
                  <a:pt x="202" y="111"/>
                  <a:pt x="471" y="0"/>
                  <a:pt x="757" y="0"/>
                </a:cubicBezTo>
                <a:cubicBezTo>
                  <a:pt x="1043" y="0"/>
                  <a:pt x="1312" y="112"/>
                  <a:pt x="1514" y="31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Freeform 6"/>
          <p:cNvSpPr>
            <a:spLocks/>
          </p:cNvSpPr>
          <p:nvPr/>
        </p:nvSpPr>
        <p:spPr bwMode="auto">
          <a:xfrm>
            <a:off x="3660636" y="1881953"/>
            <a:ext cx="1369641" cy="3854420"/>
          </a:xfrm>
          <a:custGeom>
            <a:avLst/>
            <a:gdLst>
              <a:gd name="T0" fmla="*/ 570 w 571"/>
              <a:gd name="T1" fmla="*/ 1261 h 1517"/>
              <a:gd name="T2" fmla="*/ 313 w 571"/>
              <a:gd name="T3" fmla="*/ 1517 h 1517"/>
              <a:gd name="T4" fmla="*/ 0 w 571"/>
              <a:gd name="T5" fmla="*/ 758 h 1517"/>
              <a:gd name="T6" fmla="*/ 315 w 571"/>
              <a:gd name="T7" fmla="*/ 0 h 1517"/>
              <a:gd name="T8" fmla="*/ 571 w 571"/>
              <a:gd name="T9" fmla="*/ 256 h 1517"/>
              <a:gd name="T10" fmla="*/ 570 w 571"/>
              <a:gd name="T11" fmla="*/ 1261 h 1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1517">
                <a:moveTo>
                  <a:pt x="570" y="1261"/>
                </a:moveTo>
                <a:cubicBezTo>
                  <a:pt x="313" y="1517"/>
                  <a:pt x="313" y="1517"/>
                  <a:pt x="313" y="1517"/>
                </a:cubicBezTo>
                <a:cubicBezTo>
                  <a:pt x="111" y="1315"/>
                  <a:pt x="0" y="1045"/>
                  <a:pt x="0" y="758"/>
                </a:cubicBezTo>
                <a:cubicBezTo>
                  <a:pt x="0" y="472"/>
                  <a:pt x="112" y="202"/>
                  <a:pt x="315" y="0"/>
                </a:cubicBezTo>
                <a:cubicBezTo>
                  <a:pt x="571" y="256"/>
                  <a:pt x="571" y="256"/>
                  <a:pt x="571" y="256"/>
                </a:cubicBezTo>
                <a:cubicBezTo>
                  <a:pt x="294" y="533"/>
                  <a:pt x="293" y="984"/>
                  <a:pt x="570" y="1261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Freeform 7"/>
          <p:cNvSpPr>
            <a:spLocks/>
          </p:cNvSpPr>
          <p:nvPr/>
        </p:nvSpPr>
        <p:spPr bwMode="auto">
          <a:xfrm>
            <a:off x="4411212" y="5084348"/>
            <a:ext cx="3643825" cy="1448379"/>
          </a:xfrm>
          <a:custGeom>
            <a:avLst/>
            <a:gdLst>
              <a:gd name="T0" fmla="*/ 1518 w 1518"/>
              <a:gd name="T1" fmla="*/ 256 h 570"/>
              <a:gd name="T2" fmla="*/ 759 w 1518"/>
              <a:gd name="T3" fmla="*/ 570 h 570"/>
              <a:gd name="T4" fmla="*/ 0 w 1518"/>
              <a:gd name="T5" fmla="*/ 257 h 570"/>
              <a:gd name="T6" fmla="*/ 257 w 1518"/>
              <a:gd name="T7" fmla="*/ 1 h 570"/>
              <a:gd name="T8" fmla="*/ 1261 w 1518"/>
              <a:gd name="T9" fmla="*/ 0 h 570"/>
              <a:gd name="T10" fmla="*/ 1518 w 1518"/>
              <a:gd name="T11" fmla="*/ 256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18" h="570">
                <a:moveTo>
                  <a:pt x="1518" y="256"/>
                </a:moveTo>
                <a:cubicBezTo>
                  <a:pt x="1315" y="458"/>
                  <a:pt x="1045" y="570"/>
                  <a:pt x="759" y="570"/>
                </a:cubicBezTo>
                <a:cubicBezTo>
                  <a:pt x="473" y="570"/>
                  <a:pt x="203" y="459"/>
                  <a:pt x="0" y="257"/>
                </a:cubicBezTo>
                <a:cubicBezTo>
                  <a:pt x="257" y="1"/>
                  <a:pt x="257" y="1"/>
                  <a:pt x="257" y="1"/>
                </a:cubicBezTo>
                <a:cubicBezTo>
                  <a:pt x="533" y="278"/>
                  <a:pt x="985" y="276"/>
                  <a:pt x="1261" y="0"/>
                </a:cubicBezTo>
                <a:lnTo>
                  <a:pt x="1518" y="25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Freeform 8"/>
          <p:cNvSpPr>
            <a:spLocks/>
          </p:cNvSpPr>
          <p:nvPr/>
        </p:nvSpPr>
        <p:spPr bwMode="auto">
          <a:xfrm>
            <a:off x="7435971" y="1883651"/>
            <a:ext cx="1371247" cy="3851024"/>
          </a:xfrm>
          <a:custGeom>
            <a:avLst/>
            <a:gdLst>
              <a:gd name="T0" fmla="*/ 258 w 571"/>
              <a:gd name="T1" fmla="*/ 1515 h 1515"/>
              <a:gd name="T2" fmla="*/ 1 w 571"/>
              <a:gd name="T3" fmla="*/ 1259 h 1515"/>
              <a:gd name="T4" fmla="*/ 0 w 571"/>
              <a:gd name="T5" fmla="*/ 256 h 1515"/>
              <a:gd name="T6" fmla="*/ 256 w 571"/>
              <a:gd name="T7" fmla="*/ 0 h 1515"/>
              <a:gd name="T8" fmla="*/ 571 w 571"/>
              <a:gd name="T9" fmla="*/ 757 h 1515"/>
              <a:gd name="T10" fmla="*/ 258 w 571"/>
              <a:gd name="T11" fmla="*/ 1515 h 15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1" h="1515">
                <a:moveTo>
                  <a:pt x="258" y="1515"/>
                </a:moveTo>
                <a:cubicBezTo>
                  <a:pt x="1" y="1259"/>
                  <a:pt x="1" y="1259"/>
                  <a:pt x="1" y="1259"/>
                </a:cubicBezTo>
                <a:cubicBezTo>
                  <a:pt x="276" y="984"/>
                  <a:pt x="277" y="533"/>
                  <a:pt x="0" y="256"/>
                </a:cubicBezTo>
                <a:cubicBezTo>
                  <a:pt x="256" y="0"/>
                  <a:pt x="256" y="0"/>
                  <a:pt x="256" y="0"/>
                </a:cubicBezTo>
                <a:cubicBezTo>
                  <a:pt x="459" y="202"/>
                  <a:pt x="571" y="471"/>
                  <a:pt x="571" y="757"/>
                </a:cubicBezTo>
                <a:cubicBezTo>
                  <a:pt x="571" y="1044"/>
                  <a:pt x="460" y="1312"/>
                  <a:pt x="258" y="1515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Freeform 9"/>
          <p:cNvSpPr>
            <a:spLocks/>
          </p:cNvSpPr>
          <p:nvPr userDrawn="1"/>
        </p:nvSpPr>
        <p:spPr bwMode="auto">
          <a:xfrm>
            <a:off x="6656525" y="1404820"/>
            <a:ext cx="2157107" cy="1971357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0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0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0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0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 w="9525">
            <a:noFill/>
            <a:round/>
            <a:headEnd/>
            <a:tailEnd/>
          </a:ln>
          <a:effectLst>
            <a:outerShdw sx="102000" sy="102000" algn="ctr" rotWithShape="0">
              <a:prstClr val="black">
                <a:alpha val="64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Freeform 10"/>
          <p:cNvSpPr>
            <a:spLocks/>
          </p:cNvSpPr>
          <p:nvPr userDrawn="1"/>
        </p:nvSpPr>
        <p:spPr bwMode="auto">
          <a:xfrm>
            <a:off x="3575632" y="4255732"/>
            <a:ext cx="2158709" cy="1971357"/>
          </a:xfrm>
          <a:custGeom>
            <a:avLst/>
            <a:gdLst>
              <a:gd name="T0" fmla="*/ 1006 w 1346"/>
              <a:gd name="T1" fmla="*/ 0 h 1161"/>
              <a:gd name="T2" fmla="*/ 333 w 1346"/>
              <a:gd name="T3" fmla="*/ 0 h 1161"/>
              <a:gd name="T4" fmla="*/ 0 w 1346"/>
              <a:gd name="T5" fmla="*/ 580 h 1161"/>
              <a:gd name="T6" fmla="*/ 342 w 1346"/>
              <a:gd name="T7" fmla="*/ 1159 h 1161"/>
              <a:gd name="T8" fmla="*/ 1014 w 1346"/>
              <a:gd name="T9" fmla="*/ 1161 h 1161"/>
              <a:gd name="T10" fmla="*/ 1346 w 1346"/>
              <a:gd name="T11" fmla="*/ 580 h 1161"/>
              <a:gd name="T12" fmla="*/ 1006 w 1346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6" h="1161">
                <a:moveTo>
                  <a:pt x="1006" y="0"/>
                </a:moveTo>
                <a:lnTo>
                  <a:pt x="333" y="0"/>
                </a:lnTo>
                <a:lnTo>
                  <a:pt x="0" y="580"/>
                </a:lnTo>
                <a:lnTo>
                  <a:pt x="342" y="1159"/>
                </a:lnTo>
                <a:lnTo>
                  <a:pt x="1014" y="1161"/>
                </a:lnTo>
                <a:lnTo>
                  <a:pt x="1346" y="580"/>
                </a:lnTo>
                <a:lnTo>
                  <a:pt x="1006" y="0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 w="9525">
            <a:noFill/>
            <a:round/>
            <a:headEnd/>
            <a:tailEnd/>
          </a:ln>
          <a:effectLst>
            <a:outerShdw sx="102000" sy="102000" algn="ctr" rotWithShape="0">
              <a:prstClr val="black">
                <a:alpha val="64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Freeform 11"/>
          <p:cNvSpPr>
            <a:spLocks/>
          </p:cNvSpPr>
          <p:nvPr userDrawn="1"/>
        </p:nvSpPr>
        <p:spPr bwMode="auto">
          <a:xfrm>
            <a:off x="3575632" y="1404820"/>
            <a:ext cx="2158709" cy="1971357"/>
          </a:xfrm>
          <a:custGeom>
            <a:avLst/>
            <a:gdLst>
              <a:gd name="T0" fmla="*/ 1006 w 1346"/>
              <a:gd name="T1" fmla="*/ 0 h 1161"/>
              <a:gd name="T2" fmla="*/ 333 w 1346"/>
              <a:gd name="T3" fmla="*/ 0 h 1161"/>
              <a:gd name="T4" fmla="*/ 0 w 1346"/>
              <a:gd name="T5" fmla="*/ 580 h 1161"/>
              <a:gd name="T6" fmla="*/ 342 w 1346"/>
              <a:gd name="T7" fmla="*/ 1161 h 1161"/>
              <a:gd name="T8" fmla="*/ 1014 w 1346"/>
              <a:gd name="T9" fmla="*/ 1161 h 1161"/>
              <a:gd name="T10" fmla="*/ 1346 w 1346"/>
              <a:gd name="T11" fmla="*/ 580 h 1161"/>
              <a:gd name="T12" fmla="*/ 1006 w 1346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6" h="1161">
                <a:moveTo>
                  <a:pt x="1006" y="0"/>
                </a:moveTo>
                <a:lnTo>
                  <a:pt x="333" y="0"/>
                </a:lnTo>
                <a:lnTo>
                  <a:pt x="0" y="580"/>
                </a:lnTo>
                <a:lnTo>
                  <a:pt x="342" y="1161"/>
                </a:lnTo>
                <a:lnTo>
                  <a:pt x="1014" y="1161"/>
                </a:lnTo>
                <a:lnTo>
                  <a:pt x="1346" y="580"/>
                </a:lnTo>
                <a:lnTo>
                  <a:pt x="1006" y="0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 w="9525">
            <a:noFill/>
            <a:round/>
            <a:headEnd/>
            <a:tailEnd/>
          </a:ln>
          <a:effectLst>
            <a:outerShdw sx="102000" sy="102000" algn="ctr" rotWithShape="0">
              <a:prstClr val="black">
                <a:alpha val="64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Freeform 12"/>
          <p:cNvSpPr>
            <a:spLocks/>
          </p:cNvSpPr>
          <p:nvPr userDrawn="1"/>
        </p:nvSpPr>
        <p:spPr bwMode="auto">
          <a:xfrm>
            <a:off x="6656525" y="4298183"/>
            <a:ext cx="2157107" cy="1971357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1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1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1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1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 w="9525">
            <a:noFill/>
            <a:round/>
            <a:headEnd/>
            <a:tailEnd/>
          </a:ln>
          <a:effectLst>
            <a:outerShdw sx="102000" sy="102000" algn="ctr" rotWithShape="0">
              <a:prstClr val="black">
                <a:alpha val="64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Freeform 9"/>
          <p:cNvSpPr>
            <a:spLocks/>
          </p:cNvSpPr>
          <p:nvPr userDrawn="1"/>
        </p:nvSpPr>
        <p:spPr bwMode="auto">
          <a:xfrm>
            <a:off x="6939750" y="1663655"/>
            <a:ext cx="1590660" cy="1453688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0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0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0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0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Freeform 9"/>
          <p:cNvSpPr>
            <a:spLocks/>
          </p:cNvSpPr>
          <p:nvPr userDrawn="1"/>
        </p:nvSpPr>
        <p:spPr bwMode="auto">
          <a:xfrm>
            <a:off x="3859657" y="1663655"/>
            <a:ext cx="1590660" cy="1453688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0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0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0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0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Freeform 9"/>
          <p:cNvSpPr>
            <a:spLocks/>
          </p:cNvSpPr>
          <p:nvPr userDrawn="1"/>
        </p:nvSpPr>
        <p:spPr bwMode="auto">
          <a:xfrm>
            <a:off x="6939750" y="4557017"/>
            <a:ext cx="1590660" cy="1453688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0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0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0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0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Freeform 9"/>
          <p:cNvSpPr>
            <a:spLocks/>
          </p:cNvSpPr>
          <p:nvPr userDrawn="1"/>
        </p:nvSpPr>
        <p:spPr bwMode="auto">
          <a:xfrm>
            <a:off x="3859657" y="4557017"/>
            <a:ext cx="1590660" cy="1453688"/>
          </a:xfrm>
          <a:custGeom>
            <a:avLst/>
            <a:gdLst>
              <a:gd name="T0" fmla="*/ 1004 w 1345"/>
              <a:gd name="T1" fmla="*/ 0 h 1161"/>
              <a:gd name="T2" fmla="*/ 332 w 1345"/>
              <a:gd name="T3" fmla="*/ 0 h 1161"/>
              <a:gd name="T4" fmla="*/ 0 w 1345"/>
              <a:gd name="T5" fmla="*/ 580 h 1161"/>
              <a:gd name="T6" fmla="*/ 339 w 1345"/>
              <a:gd name="T7" fmla="*/ 1161 h 1161"/>
              <a:gd name="T8" fmla="*/ 1013 w 1345"/>
              <a:gd name="T9" fmla="*/ 1161 h 1161"/>
              <a:gd name="T10" fmla="*/ 1345 w 1345"/>
              <a:gd name="T11" fmla="*/ 580 h 1161"/>
              <a:gd name="T12" fmla="*/ 1004 w 1345"/>
              <a:gd name="T13" fmla="*/ 0 h 1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45" h="1161">
                <a:moveTo>
                  <a:pt x="1004" y="0"/>
                </a:moveTo>
                <a:lnTo>
                  <a:pt x="332" y="0"/>
                </a:lnTo>
                <a:lnTo>
                  <a:pt x="0" y="580"/>
                </a:lnTo>
                <a:lnTo>
                  <a:pt x="339" y="1161"/>
                </a:lnTo>
                <a:lnTo>
                  <a:pt x="1013" y="1161"/>
                </a:lnTo>
                <a:lnTo>
                  <a:pt x="1345" y="580"/>
                </a:lnTo>
                <a:lnTo>
                  <a:pt x="1004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7" name="Group 76"/>
          <p:cNvGrpSpPr/>
          <p:nvPr userDrawn="1"/>
        </p:nvGrpSpPr>
        <p:grpSpPr>
          <a:xfrm>
            <a:off x="7384697" y="2085652"/>
            <a:ext cx="700763" cy="609693"/>
            <a:chOff x="6964363" y="1689101"/>
            <a:chExt cx="481013" cy="395288"/>
          </a:xfrm>
          <a:solidFill>
            <a:schemeClr val="bg2"/>
          </a:solidFill>
        </p:grpSpPr>
        <p:sp>
          <p:nvSpPr>
            <p:cNvPr id="78" name="Freeform 6"/>
            <p:cNvSpPr>
              <a:spLocks/>
            </p:cNvSpPr>
            <p:nvPr/>
          </p:nvSpPr>
          <p:spPr bwMode="auto">
            <a:xfrm>
              <a:off x="6964363" y="1717676"/>
              <a:ext cx="419100" cy="366713"/>
            </a:xfrm>
            <a:custGeom>
              <a:avLst/>
              <a:gdLst>
                <a:gd name="T0" fmla="*/ 2249 w 2905"/>
                <a:gd name="T1" fmla="*/ 239 h 2540"/>
                <a:gd name="T2" fmla="*/ 2885 w 2905"/>
                <a:gd name="T3" fmla="*/ 968 h 2540"/>
                <a:gd name="T4" fmla="*/ 2609 w 2905"/>
                <a:gd name="T5" fmla="*/ 1645 h 2540"/>
                <a:gd name="T6" fmla="*/ 2513 w 2905"/>
                <a:gd name="T7" fmla="*/ 1837 h 2540"/>
                <a:gd name="T8" fmla="*/ 2362 w 2905"/>
                <a:gd name="T9" fmla="*/ 1977 h 2540"/>
                <a:gd name="T10" fmla="*/ 2169 w 2905"/>
                <a:gd name="T11" fmla="*/ 2102 h 2540"/>
                <a:gd name="T12" fmla="*/ 2044 w 2905"/>
                <a:gd name="T13" fmla="*/ 2294 h 2540"/>
                <a:gd name="T14" fmla="*/ 1903 w 2905"/>
                <a:gd name="T15" fmla="*/ 2444 h 2540"/>
                <a:gd name="T16" fmla="*/ 1710 w 2905"/>
                <a:gd name="T17" fmla="*/ 2540 h 2540"/>
                <a:gd name="T18" fmla="*/ 1191 w 2905"/>
                <a:gd name="T19" fmla="*/ 2359 h 2540"/>
                <a:gd name="T20" fmla="*/ 1027 w 2905"/>
                <a:gd name="T21" fmla="*/ 2380 h 2540"/>
                <a:gd name="T22" fmla="*/ 934 w 2905"/>
                <a:gd name="T23" fmla="*/ 2229 h 2540"/>
                <a:gd name="T24" fmla="*/ 907 w 2905"/>
                <a:gd name="T25" fmla="*/ 2175 h 2540"/>
                <a:gd name="T26" fmla="*/ 745 w 2905"/>
                <a:gd name="T27" fmla="*/ 2107 h 2540"/>
                <a:gd name="T28" fmla="*/ 735 w 2905"/>
                <a:gd name="T29" fmla="*/ 1941 h 2540"/>
                <a:gd name="T30" fmla="*/ 612 w 2905"/>
                <a:gd name="T31" fmla="*/ 1952 h 2540"/>
                <a:gd name="T32" fmla="*/ 495 w 2905"/>
                <a:gd name="T33" fmla="*/ 1816 h 2540"/>
                <a:gd name="T34" fmla="*/ 490 w 2905"/>
                <a:gd name="T35" fmla="*/ 1730 h 2540"/>
                <a:gd name="T36" fmla="*/ 323 w 2905"/>
                <a:gd name="T37" fmla="*/ 1690 h 2540"/>
                <a:gd name="T38" fmla="*/ 284 w 2905"/>
                <a:gd name="T39" fmla="*/ 1525 h 2540"/>
                <a:gd name="T40" fmla="*/ 0 w 2905"/>
                <a:gd name="T41" fmla="*/ 904 h 2540"/>
                <a:gd name="T42" fmla="*/ 87 w 2905"/>
                <a:gd name="T43" fmla="*/ 837 h 2540"/>
                <a:gd name="T44" fmla="*/ 629 w 2905"/>
                <a:gd name="T45" fmla="*/ 1240 h 2540"/>
                <a:gd name="T46" fmla="*/ 771 w 2905"/>
                <a:gd name="T47" fmla="*/ 1357 h 2540"/>
                <a:gd name="T48" fmla="*/ 760 w 2905"/>
                <a:gd name="T49" fmla="*/ 1479 h 2540"/>
                <a:gd name="T50" fmla="*/ 927 w 2905"/>
                <a:gd name="T51" fmla="*/ 1489 h 2540"/>
                <a:gd name="T52" fmla="*/ 996 w 2905"/>
                <a:gd name="T53" fmla="*/ 1649 h 2540"/>
                <a:gd name="T54" fmla="*/ 1050 w 2905"/>
                <a:gd name="T55" fmla="*/ 1676 h 2540"/>
                <a:gd name="T56" fmla="*/ 1201 w 2905"/>
                <a:gd name="T57" fmla="*/ 1769 h 2540"/>
                <a:gd name="T58" fmla="*/ 1181 w 2905"/>
                <a:gd name="T59" fmla="*/ 1932 h 2540"/>
                <a:gd name="T60" fmla="*/ 1344 w 2905"/>
                <a:gd name="T61" fmla="*/ 1912 h 2540"/>
                <a:gd name="T62" fmla="*/ 1438 w 2905"/>
                <a:gd name="T63" fmla="*/ 2062 h 2540"/>
                <a:gd name="T64" fmla="*/ 1716 w 2905"/>
                <a:gd name="T65" fmla="*/ 2402 h 2540"/>
                <a:gd name="T66" fmla="*/ 1809 w 2905"/>
                <a:gd name="T67" fmla="*/ 2325 h 2540"/>
                <a:gd name="T68" fmla="*/ 1567 w 2905"/>
                <a:gd name="T69" fmla="*/ 2025 h 2540"/>
                <a:gd name="T70" fmla="*/ 1633 w 2905"/>
                <a:gd name="T71" fmla="*/ 1939 h 2540"/>
                <a:gd name="T72" fmla="*/ 1936 w 2905"/>
                <a:gd name="T73" fmla="*/ 2183 h 2540"/>
                <a:gd name="T74" fmla="*/ 2029 w 2905"/>
                <a:gd name="T75" fmla="*/ 2106 h 2540"/>
                <a:gd name="T76" fmla="*/ 1786 w 2905"/>
                <a:gd name="T77" fmla="*/ 1806 h 2540"/>
                <a:gd name="T78" fmla="*/ 1853 w 2905"/>
                <a:gd name="T79" fmla="*/ 1720 h 2540"/>
                <a:gd name="T80" fmla="*/ 2156 w 2905"/>
                <a:gd name="T81" fmla="*/ 1965 h 2540"/>
                <a:gd name="T82" fmla="*/ 2249 w 2905"/>
                <a:gd name="T83" fmla="*/ 1887 h 2540"/>
                <a:gd name="T84" fmla="*/ 2006 w 2905"/>
                <a:gd name="T85" fmla="*/ 1587 h 2540"/>
                <a:gd name="T86" fmla="*/ 2074 w 2905"/>
                <a:gd name="T87" fmla="*/ 1501 h 2540"/>
                <a:gd name="T88" fmla="*/ 2377 w 2905"/>
                <a:gd name="T89" fmla="*/ 1746 h 2540"/>
                <a:gd name="T90" fmla="*/ 2469 w 2905"/>
                <a:gd name="T91" fmla="*/ 1669 h 2540"/>
                <a:gd name="T92" fmla="*/ 2438 w 2905"/>
                <a:gd name="T93" fmla="*/ 1591 h 2540"/>
                <a:gd name="T94" fmla="*/ 2295 w 2905"/>
                <a:gd name="T95" fmla="*/ 1449 h 2540"/>
                <a:gd name="T96" fmla="*/ 2062 w 2905"/>
                <a:gd name="T97" fmla="*/ 1218 h 2540"/>
                <a:gd name="T98" fmla="*/ 1813 w 2905"/>
                <a:gd name="T99" fmla="*/ 970 h 2540"/>
                <a:gd name="T100" fmla="*/ 1616 w 2905"/>
                <a:gd name="T101" fmla="*/ 775 h 2540"/>
                <a:gd name="T102" fmla="*/ 1537 w 2905"/>
                <a:gd name="T103" fmla="*/ 706 h 2540"/>
                <a:gd name="T104" fmla="*/ 1428 w 2905"/>
                <a:gd name="T105" fmla="*/ 754 h 2540"/>
                <a:gd name="T106" fmla="*/ 1226 w 2905"/>
                <a:gd name="T107" fmla="*/ 1069 h 2540"/>
                <a:gd name="T108" fmla="*/ 976 w 2905"/>
                <a:gd name="T109" fmla="*/ 1147 h 2540"/>
                <a:gd name="T110" fmla="*/ 796 w 2905"/>
                <a:gd name="T111" fmla="*/ 1004 h 2540"/>
                <a:gd name="T112" fmla="*/ 1064 w 2905"/>
                <a:gd name="T113" fmla="*/ 203 h 2540"/>
                <a:gd name="T114" fmla="*/ 1158 w 2905"/>
                <a:gd name="T115" fmla="*/ 94 h 2540"/>
                <a:gd name="T116" fmla="*/ 1338 w 2905"/>
                <a:gd name="T117" fmla="*/ 10 h 2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5" h="2540">
                  <a:moveTo>
                    <a:pt x="1451" y="0"/>
                  </a:moveTo>
                  <a:lnTo>
                    <a:pt x="1493" y="3"/>
                  </a:lnTo>
                  <a:lnTo>
                    <a:pt x="1538" y="11"/>
                  </a:lnTo>
                  <a:lnTo>
                    <a:pt x="1585" y="23"/>
                  </a:lnTo>
                  <a:lnTo>
                    <a:pt x="2221" y="222"/>
                  </a:lnTo>
                  <a:lnTo>
                    <a:pt x="2236" y="229"/>
                  </a:lnTo>
                  <a:lnTo>
                    <a:pt x="2249" y="239"/>
                  </a:lnTo>
                  <a:lnTo>
                    <a:pt x="2885" y="870"/>
                  </a:lnTo>
                  <a:lnTo>
                    <a:pt x="2896" y="886"/>
                  </a:lnTo>
                  <a:lnTo>
                    <a:pt x="2903" y="902"/>
                  </a:lnTo>
                  <a:lnTo>
                    <a:pt x="2905" y="919"/>
                  </a:lnTo>
                  <a:lnTo>
                    <a:pt x="2903" y="936"/>
                  </a:lnTo>
                  <a:lnTo>
                    <a:pt x="2896" y="954"/>
                  </a:lnTo>
                  <a:lnTo>
                    <a:pt x="2885" y="968"/>
                  </a:lnTo>
                  <a:lnTo>
                    <a:pt x="2445" y="1405"/>
                  </a:lnTo>
                  <a:lnTo>
                    <a:pt x="2552" y="1511"/>
                  </a:lnTo>
                  <a:lnTo>
                    <a:pt x="2572" y="1534"/>
                  </a:lnTo>
                  <a:lnTo>
                    <a:pt x="2588" y="1560"/>
                  </a:lnTo>
                  <a:lnTo>
                    <a:pt x="2599" y="1587"/>
                  </a:lnTo>
                  <a:lnTo>
                    <a:pt x="2606" y="1615"/>
                  </a:lnTo>
                  <a:lnTo>
                    <a:pt x="2609" y="1645"/>
                  </a:lnTo>
                  <a:lnTo>
                    <a:pt x="2608" y="1675"/>
                  </a:lnTo>
                  <a:lnTo>
                    <a:pt x="2603" y="1705"/>
                  </a:lnTo>
                  <a:lnTo>
                    <a:pt x="2594" y="1734"/>
                  </a:lnTo>
                  <a:lnTo>
                    <a:pt x="2580" y="1762"/>
                  </a:lnTo>
                  <a:lnTo>
                    <a:pt x="2562" y="1790"/>
                  </a:lnTo>
                  <a:lnTo>
                    <a:pt x="2540" y="1815"/>
                  </a:lnTo>
                  <a:lnTo>
                    <a:pt x="2513" y="1837"/>
                  </a:lnTo>
                  <a:lnTo>
                    <a:pt x="2484" y="1857"/>
                  </a:lnTo>
                  <a:lnTo>
                    <a:pt x="2453" y="1870"/>
                  </a:lnTo>
                  <a:lnTo>
                    <a:pt x="2421" y="1879"/>
                  </a:lnTo>
                  <a:lnTo>
                    <a:pt x="2389" y="1883"/>
                  </a:lnTo>
                  <a:lnTo>
                    <a:pt x="2385" y="1915"/>
                  </a:lnTo>
                  <a:lnTo>
                    <a:pt x="2376" y="1947"/>
                  </a:lnTo>
                  <a:lnTo>
                    <a:pt x="2362" y="1977"/>
                  </a:lnTo>
                  <a:lnTo>
                    <a:pt x="2343" y="2007"/>
                  </a:lnTo>
                  <a:lnTo>
                    <a:pt x="2319" y="2033"/>
                  </a:lnTo>
                  <a:lnTo>
                    <a:pt x="2293" y="2056"/>
                  </a:lnTo>
                  <a:lnTo>
                    <a:pt x="2263" y="2075"/>
                  </a:lnTo>
                  <a:lnTo>
                    <a:pt x="2233" y="2089"/>
                  </a:lnTo>
                  <a:lnTo>
                    <a:pt x="2201" y="2098"/>
                  </a:lnTo>
                  <a:lnTo>
                    <a:pt x="2169" y="2102"/>
                  </a:lnTo>
                  <a:lnTo>
                    <a:pt x="2164" y="2134"/>
                  </a:lnTo>
                  <a:lnTo>
                    <a:pt x="2155" y="2166"/>
                  </a:lnTo>
                  <a:lnTo>
                    <a:pt x="2142" y="2196"/>
                  </a:lnTo>
                  <a:lnTo>
                    <a:pt x="2123" y="2226"/>
                  </a:lnTo>
                  <a:lnTo>
                    <a:pt x="2100" y="2252"/>
                  </a:lnTo>
                  <a:lnTo>
                    <a:pt x="2073" y="2275"/>
                  </a:lnTo>
                  <a:lnTo>
                    <a:pt x="2044" y="2294"/>
                  </a:lnTo>
                  <a:lnTo>
                    <a:pt x="2012" y="2308"/>
                  </a:lnTo>
                  <a:lnTo>
                    <a:pt x="1981" y="2316"/>
                  </a:lnTo>
                  <a:lnTo>
                    <a:pt x="1948" y="2321"/>
                  </a:lnTo>
                  <a:lnTo>
                    <a:pt x="1944" y="2352"/>
                  </a:lnTo>
                  <a:lnTo>
                    <a:pt x="1935" y="2385"/>
                  </a:lnTo>
                  <a:lnTo>
                    <a:pt x="1922" y="2415"/>
                  </a:lnTo>
                  <a:lnTo>
                    <a:pt x="1903" y="2444"/>
                  </a:lnTo>
                  <a:lnTo>
                    <a:pt x="1880" y="2471"/>
                  </a:lnTo>
                  <a:lnTo>
                    <a:pt x="1854" y="2492"/>
                  </a:lnTo>
                  <a:lnTo>
                    <a:pt x="1828" y="2510"/>
                  </a:lnTo>
                  <a:lnTo>
                    <a:pt x="1799" y="2524"/>
                  </a:lnTo>
                  <a:lnTo>
                    <a:pt x="1770" y="2533"/>
                  </a:lnTo>
                  <a:lnTo>
                    <a:pt x="1739" y="2539"/>
                  </a:lnTo>
                  <a:lnTo>
                    <a:pt x="1710" y="2540"/>
                  </a:lnTo>
                  <a:lnTo>
                    <a:pt x="1680" y="2537"/>
                  </a:lnTo>
                  <a:lnTo>
                    <a:pt x="1650" y="2530"/>
                  </a:lnTo>
                  <a:lnTo>
                    <a:pt x="1623" y="2519"/>
                  </a:lnTo>
                  <a:lnTo>
                    <a:pt x="1597" y="2503"/>
                  </a:lnTo>
                  <a:lnTo>
                    <a:pt x="1574" y="2483"/>
                  </a:lnTo>
                  <a:lnTo>
                    <a:pt x="1320" y="2231"/>
                  </a:lnTo>
                  <a:lnTo>
                    <a:pt x="1191" y="2359"/>
                  </a:lnTo>
                  <a:lnTo>
                    <a:pt x="1172" y="2375"/>
                  </a:lnTo>
                  <a:lnTo>
                    <a:pt x="1150" y="2387"/>
                  </a:lnTo>
                  <a:lnTo>
                    <a:pt x="1127" y="2394"/>
                  </a:lnTo>
                  <a:lnTo>
                    <a:pt x="1102" y="2396"/>
                  </a:lnTo>
                  <a:lnTo>
                    <a:pt x="1077" y="2395"/>
                  </a:lnTo>
                  <a:lnTo>
                    <a:pt x="1052" y="2389"/>
                  </a:lnTo>
                  <a:lnTo>
                    <a:pt x="1027" y="2380"/>
                  </a:lnTo>
                  <a:lnTo>
                    <a:pt x="1005" y="2365"/>
                  </a:lnTo>
                  <a:lnTo>
                    <a:pt x="983" y="2347"/>
                  </a:lnTo>
                  <a:lnTo>
                    <a:pt x="965" y="2326"/>
                  </a:lnTo>
                  <a:lnTo>
                    <a:pt x="951" y="2303"/>
                  </a:lnTo>
                  <a:lnTo>
                    <a:pt x="941" y="2278"/>
                  </a:lnTo>
                  <a:lnTo>
                    <a:pt x="935" y="2254"/>
                  </a:lnTo>
                  <a:lnTo>
                    <a:pt x="934" y="2229"/>
                  </a:lnTo>
                  <a:lnTo>
                    <a:pt x="936" y="2204"/>
                  </a:lnTo>
                  <a:lnTo>
                    <a:pt x="944" y="2181"/>
                  </a:lnTo>
                  <a:lnTo>
                    <a:pt x="955" y="2160"/>
                  </a:lnTo>
                  <a:lnTo>
                    <a:pt x="971" y="2140"/>
                  </a:lnTo>
                  <a:lnTo>
                    <a:pt x="952" y="2157"/>
                  </a:lnTo>
                  <a:lnTo>
                    <a:pt x="930" y="2168"/>
                  </a:lnTo>
                  <a:lnTo>
                    <a:pt x="907" y="2175"/>
                  </a:lnTo>
                  <a:lnTo>
                    <a:pt x="882" y="2178"/>
                  </a:lnTo>
                  <a:lnTo>
                    <a:pt x="857" y="2176"/>
                  </a:lnTo>
                  <a:lnTo>
                    <a:pt x="832" y="2170"/>
                  </a:lnTo>
                  <a:lnTo>
                    <a:pt x="808" y="2161"/>
                  </a:lnTo>
                  <a:lnTo>
                    <a:pt x="784" y="2147"/>
                  </a:lnTo>
                  <a:lnTo>
                    <a:pt x="763" y="2128"/>
                  </a:lnTo>
                  <a:lnTo>
                    <a:pt x="745" y="2107"/>
                  </a:lnTo>
                  <a:lnTo>
                    <a:pt x="730" y="2084"/>
                  </a:lnTo>
                  <a:lnTo>
                    <a:pt x="721" y="2060"/>
                  </a:lnTo>
                  <a:lnTo>
                    <a:pt x="715" y="2035"/>
                  </a:lnTo>
                  <a:lnTo>
                    <a:pt x="714" y="2011"/>
                  </a:lnTo>
                  <a:lnTo>
                    <a:pt x="716" y="1986"/>
                  </a:lnTo>
                  <a:lnTo>
                    <a:pt x="723" y="1963"/>
                  </a:lnTo>
                  <a:lnTo>
                    <a:pt x="735" y="1941"/>
                  </a:lnTo>
                  <a:lnTo>
                    <a:pt x="751" y="1922"/>
                  </a:lnTo>
                  <a:lnTo>
                    <a:pt x="731" y="1938"/>
                  </a:lnTo>
                  <a:lnTo>
                    <a:pt x="710" y="1949"/>
                  </a:lnTo>
                  <a:lnTo>
                    <a:pt x="686" y="1956"/>
                  </a:lnTo>
                  <a:lnTo>
                    <a:pt x="662" y="1959"/>
                  </a:lnTo>
                  <a:lnTo>
                    <a:pt x="636" y="1957"/>
                  </a:lnTo>
                  <a:lnTo>
                    <a:pt x="612" y="1952"/>
                  </a:lnTo>
                  <a:lnTo>
                    <a:pt x="588" y="1942"/>
                  </a:lnTo>
                  <a:lnTo>
                    <a:pt x="564" y="1928"/>
                  </a:lnTo>
                  <a:lnTo>
                    <a:pt x="543" y="1909"/>
                  </a:lnTo>
                  <a:lnTo>
                    <a:pt x="524" y="1888"/>
                  </a:lnTo>
                  <a:lnTo>
                    <a:pt x="511" y="1866"/>
                  </a:lnTo>
                  <a:lnTo>
                    <a:pt x="501" y="1841"/>
                  </a:lnTo>
                  <a:lnTo>
                    <a:pt x="495" y="1816"/>
                  </a:lnTo>
                  <a:lnTo>
                    <a:pt x="494" y="1792"/>
                  </a:lnTo>
                  <a:lnTo>
                    <a:pt x="497" y="1767"/>
                  </a:lnTo>
                  <a:lnTo>
                    <a:pt x="504" y="1744"/>
                  </a:lnTo>
                  <a:lnTo>
                    <a:pt x="515" y="1722"/>
                  </a:lnTo>
                  <a:lnTo>
                    <a:pt x="530" y="1703"/>
                  </a:lnTo>
                  <a:lnTo>
                    <a:pt x="511" y="1719"/>
                  </a:lnTo>
                  <a:lnTo>
                    <a:pt x="490" y="1730"/>
                  </a:lnTo>
                  <a:lnTo>
                    <a:pt x="466" y="1737"/>
                  </a:lnTo>
                  <a:lnTo>
                    <a:pt x="442" y="1740"/>
                  </a:lnTo>
                  <a:lnTo>
                    <a:pt x="417" y="1738"/>
                  </a:lnTo>
                  <a:lnTo>
                    <a:pt x="392" y="1733"/>
                  </a:lnTo>
                  <a:lnTo>
                    <a:pt x="367" y="1723"/>
                  </a:lnTo>
                  <a:lnTo>
                    <a:pt x="344" y="1709"/>
                  </a:lnTo>
                  <a:lnTo>
                    <a:pt x="323" y="1690"/>
                  </a:lnTo>
                  <a:lnTo>
                    <a:pt x="305" y="1670"/>
                  </a:lnTo>
                  <a:lnTo>
                    <a:pt x="291" y="1647"/>
                  </a:lnTo>
                  <a:lnTo>
                    <a:pt x="281" y="1622"/>
                  </a:lnTo>
                  <a:lnTo>
                    <a:pt x="275" y="1597"/>
                  </a:lnTo>
                  <a:lnTo>
                    <a:pt x="273" y="1573"/>
                  </a:lnTo>
                  <a:lnTo>
                    <a:pt x="276" y="1549"/>
                  </a:lnTo>
                  <a:lnTo>
                    <a:pt x="284" y="1525"/>
                  </a:lnTo>
                  <a:lnTo>
                    <a:pt x="295" y="1504"/>
                  </a:lnTo>
                  <a:lnTo>
                    <a:pt x="311" y="1485"/>
                  </a:lnTo>
                  <a:lnTo>
                    <a:pt x="432" y="1363"/>
                  </a:lnTo>
                  <a:lnTo>
                    <a:pt x="20" y="952"/>
                  </a:lnTo>
                  <a:lnTo>
                    <a:pt x="9" y="938"/>
                  </a:lnTo>
                  <a:lnTo>
                    <a:pt x="2" y="921"/>
                  </a:lnTo>
                  <a:lnTo>
                    <a:pt x="0" y="904"/>
                  </a:lnTo>
                  <a:lnTo>
                    <a:pt x="2" y="887"/>
                  </a:lnTo>
                  <a:lnTo>
                    <a:pt x="9" y="870"/>
                  </a:lnTo>
                  <a:lnTo>
                    <a:pt x="20" y="855"/>
                  </a:lnTo>
                  <a:lnTo>
                    <a:pt x="35" y="844"/>
                  </a:lnTo>
                  <a:lnTo>
                    <a:pt x="51" y="837"/>
                  </a:lnTo>
                  <a:lnTo>
                    <a:pt x="69" y="835"/>
                  </a:lnTo>
                  <a:lnTo>
                    <a:pt x="87" y="837"/>
                  </a:lnTo>
                  <a:lnTo>
                    <a:pt x="103" y="844"/>
                  </a:lnTo>
                  <a:lnTo>
                    <a:pt x="118" y="855"/>
                  </a:lnTo>
                  <a:lnTo>
                    <a:pt x="531" y="1267"/>
                  </a:lnTo>
                  <a:lnTo>
                    <a:pt x="554" y="1253"/>
                  </a:lnTo>
                  <a:lnTo>
                    <a:pt x="577" y="1243"/>
                  </a:lnTo>
                  <a:lnTo>
                    <a:pt x="603" y="1239"/>
                  </a:lnTo>
                  <a:lnTo>
                    <a:pt x="629" y="1240"/>
                  </a:lnTo>
                  <a:lnTo>
                    <a:pt x="656" y="1245"/>
                  </a:lnTo>
                  <a:lnTo>
                    <a:pt x="681" y="1255"/>
                  </a:lnTo>
                  <a:lnTo>
                    <a:pt x="706" y="1269"/>
                  </a:lnTo>
                  <a:lnTo>
                    <a:pt x="728" y="1288"/>
                  </a:lnTo>
                  <a:lnTo>
                    <a:pt x="747" y="1309"/>
                  </a:lnTo>
                  <a:lnTo>
                    <a:pt x="761" y="1333"/>
                  </a:lnTo>
                  <a:lnTo>
                    <a:pt x="771" y="1357"/>
                  </a:lnTo>
                  <a:lnTo>
                    <a:pt x="776" y="1381"/>
                  </a:lnTo>
                  <a:lnTo>
                    <a:pt x="778" y="1407"/>
                  </a:lnTo>
                  <a:lnTo>
                    <a:pt x="775" y="1431"/>
                  </a:lnTo>
                  <a:lnTo>
                    <a:pt x="768" y="1454"/>
                  </a:lnTo>
                  <a:lnTo>
                    <a:pt x="757" y="1476"/>
                  </a:lnTo>
                  <a:lnTo>
                    <a:pt x="741" y="1495"/>
                  </a:lnTo>
                  <a:lnTo>
                    <a:pt x="760" y="1479"/>
                  </a:lnTo>
                  <a:lnTo>
                    <a:pt x="781" y="1467"/>
                  </a:lnTo>
                  <a:lnTo>
                    <a:pt x="805" y="1460"/>
                  </a:lnTo>
                  <a:lnTo>
                    <a:pt x="829" y="1457"/>
                  </a:lnTo>
                  <a:lnTo>
                    <a:pt x="855" y="1459"/>
                  </a:lnTo>
                  <a:lnTo>
                    <a:pt x="879" y="1464"/>
                  </a:lnTo>
                  <a:lnTo>
                    <a:pt x="904" y="1475"/>
                  </a:lnTo>
                  <a:lnTo>
                    <a:pt x="927" y="1489"/>
                  </a:lnTo>
                  <a:lnTo>
                    <a:pt x="949" y="1507"/>
                  </a:lnTo>
                  <a:lnTo>
                    <a:pt x="967" y="1528"/>
                  </a:lnTo>
                  <a:lnTo>
                    <a:pt x="981" y="1551"/>
                  </a:lnTo>
                  <a:lnTo>
                    <a:pt x="990" y="1575"/>
                  </a:lnTo>
                  <a:lnTo>
                    <a:pt x="997" y="1600"/>
                  </a:lnTo>
                  <a:lnTo>
                    <a:pt x="998" y="1625"/>
                  </a:lnTo>
                  <a:lnTo>
                    <a:pt x="996" y="1649"/>
                  </a:lnTo>
                  <a:lnTo>
                    <a:pt x="988" y="1672"/>
                  </a:lnTo>
                  <a:lnTo>
                    <a:pt x="977" y="1694"/>
                  </a:lnTo>
                  <a:lnTo>
                    <a:pt x="961" y="1714"/>
                  </a:lnTo>
                  <a:lnTo>
                    <a:pt x="980" y="1698"/>
                  </a:lnTo>
                  <a:lnTo>
                    <a:pt x="1002" y="1686"/>
                  </a:lnTo>
                  <a:lnTo>
                    <a:pt x="1025" y="1679"/>
                  </a:lnTo>
                  <a:lnTo>
                    <a:pt x="1050" y="1676"/>
                  </a:lnTo>
                  <a:lnTo>
                    <a:pt x="1075" y="1678"/>
                  </a:lnTo>
                  <a:lnTo>
                    <a:pt x="1100" y="1683"/>
                  </a:lnTo>
                  <a:lnTo>
                    <a:pt x="1124" y="1693"/>
                  </a:lnTo>
                  <a:lnTo>
                    <a:pt x="1148" y="1708"/>
                  </a:lnTo>
                  <a:lnTo>
                    <a:pt x="1169" y="1725"/>
                  </a:lnTo>
                  <a:lnTo>
                    <a:pt x="1187" y="1746"/>
                  </a:lnTo>
                  <a:lnTo>
                    <a:pt x="1201" y="1769"/>
                  </a:lnTo>
                  <a:lnTo>
                    <a:pt x="1211" y="1794"/>
                  </a:lnTo>
                  <a:lnTo>
                    <a:pt x="1217" y="1818"/>
                  </a:lnTo>
                  <a:lnTo>
                    <a:pt x="1218" y="1843"/>
                  </a:lnTo>
                  <a:lnTo>
                    <a:pt x="1215" y="1868"/>
                  </a:lnTo>
                  <a:lnTo>
                    <a:pt x="1208" y="1891"/>
                  </a:lnTo>
                  <a:lnTo>
                    <a:pt x="1196" y="1912"/>
                  </a:lnTo>
                  <a:lnTo>
                    <a:pt x="1181" y="1932"/>
                  </a:lnTo>
                  <a:lnTo>
                    <a:pt x="1201" y="1916"/>
                  </a:lnTo>
                  <a:lnTo>
                    <a:pt x="1222" y="1905"/>
                  </a:lnTo>
                  <a:lnTo>
                    <a:pt x="1245" y="1898"/>
                  </a:lnTo>
                  <a:lnTo>
                    <a:pt x="1270" y="1895"/>
                  </a:lnTo>
                  <a:lnTo>
                    <a:pt x="1294" y="1896"/>
                  </a:lnTo>
                  <a:lnTo>
                    <a:pt x="1320" y="1902"/>
                  </a:lnTo>
                  <a:lnTo>
                    <a:pt x="1344" y="1912"/>
                  </a:lnTo>
                  <a:lnTo>
                    <a:pt x="1367" y="1926"/>
                  </a:lnTo>
                  <a:lnTo>
                    <a:pt x="1388" y="1944"/>
                  </a:lnTo>
                  <a:lnTo>
                    <a:pt x="1407" y="1965"/>
                  </a:lnTo>
                  <a:lnTo>
                    <a:pt x="1421" y="1988"/>
                  </a:lnTo>
                  <a:lnTo>
                    <a:pt x="1431" y="2013"/>
                  </a:lnTo>
                  <a:lnTo>
                    <a:pt x="1436" y="2037"/>
                  </a:lnTo>
                  <a:lnTo>
                    <a:pt x="1438" y="2062"/>
                  </a:lnTo>
                  <a:lnTo>
                    <a:pt x="1435" y="2087"/>
                  </a:lnTo>
                  <a:lnTo>
                    <a:pt x="1428" y="2110"/>
                  </a:lnTo>
                  <a:lnTo>
                    <a:pt x="1416" y="2131"/>
                  </a:lnTo>
                  <a:lnTo>
                    <a:pt x="1672" y="2386"/>
                  </a:lnTo>
                  <a:lnTo>
                    <a:pt x="1685" y="2395"/>
                  </a:lnTo>
                  <a:lnTo>
                    <a:pt x="1699" y="2401"/>
                  </a:lnTo>
                  <a:lnTo>
                    <a:pt x="1716" y="2402"/>
                  </a:lnTo>
                  <a:lnTo>
                    <a:pt x="1733" y="2400"/>
                  </a:lnTo>
                  <a:lnTo>
                    <a:pt x="1750" y="2395"/>
                  </a:lnTo>
                  <a:lnTo>
                    <a:pt x="1767" y="2386"/>
                  </a:lnTo>
                  <a:lnTo>
                    <a:pt x="1782" y="2374"/>
                  </a:lnTo>
                  <a:lnTo>
                    <a:pt x="1794" y="2358"/>
                  </a:lnTo>
                  <a:lnTo>
                    <a:pt x="1803" y="2342"/>
                  </a:lnTo>
                  <a:lnTo>
                    <a:pt x="1809" y="2325"/>
                  </a:lnTo>
                  <a:lnTo>
                    <a:pt x="1811" y="2308"/>
                  </a:lnTo>
                  <a:lnTo>
                    <a:pt x="1809" y="2291"/>
                  </a:lnTo>
                  <a:lnTo>
                    <a:pt x="1803" y="2276"/>
                  </a:lnTo>
                  <a:lnTo>
                    <a:pt x="1794" y="2264"/>
                  </a:lnTo>
                  <a:lnTo>
                    <a:pt x="1584" y="2055"/>
                  </a:lnTo>
                  <a:lnTo>
                    <a:pt x="1573" y="2041"/>
                  </a:lnTo>
                  <a:lnTo>
                    <a:pt x="1567" y="2025"/>
                  </a:lnTo>
                  <a:lnTo>
                    <a:pt x="1564" y="2007"/>
                  </a:lnTo>
                  <a:lnTo>
                    <a:pt x="1567" y="1989"/>
                  </a:lnTo>
                  <a:lnTo>
                    <a:pt x="1573" y="1973"/>
                  </a:lnTo>
                  <a:lnTo>
                    <a:pt x="1584" y="1958"/>
                  </a:lnTo>
                  <a:lnTo>
                    <a:pt x="1599" y="1947"/>
                  </a:lnTo>
                  <a:lnTo>
                    <a:pt x="1616" y="1941"/>
                  </a:lnTo>
                  <a:lnTo>
                    <a:pt x="1633" y="1939"/>
                  </a:lnTo>
                  <a:lnTo>
                    <a:pt x="1650" y="1941"/>
                  </a:lnTo>
                  <a:lnTo>
                    <a:pt x="1668" y="1947"/>
                  </a:lnTo>
                  <a:lnTo>
                    <a:pt x="1682" y="1958"/>
                  </a:lnTo>
                  <a:lnTo>
                    <a:pt x="1892" y="2167"/>
                  </a:lnTo>
                  <a:lnTo>
                    <a:pt x="1904" y="2176"/>
                  </a:lnTo>
                  <a:lnTo>
                    <a:pt x="1920" y="2182"/>
                  </a:lnTo>
                  <a:lnTo>
                    <a:pt x="1936" y="2183"/>
                  </a:lnTo>
                  <a:lnTo>
                    <a:pt x="1953" y="2182"/>
                  </a:lnTo>
                  <a:lnTo>
                    <a:pt x="1971" y="2176"/>
                  </a:lnTo>
                  <a:lnTo>
                    <a:pt x="1987" y="2167"/>
                  </a:lnTo>
                  <a:lnTo>
                    <a:pt x="2002" y="2155"/>
                  </a:lnTo>
                  <a:lnTo>
                    <a:pt x="2015" y="2139"/>
                  </a:lnTo>
                  <a:lnTo>
                    <a:pt x="2024" y="2123"/>
                  </a:lnTo>
                  <a:lnTo>
                    <a:pt x="2029" y="2106"/>
                  </a:lnTo>
                  <a:lnTo>
                    <a:pt x="2031" y="2089"/>
                  </a:lnTo>
                  <a:lnTo>
                    <a:pt x="2029" y="2073"/>
                  </a:lnTo>
                  <a:lnTo>
                    <a:pt x="2024" y="2058"/>
                  </a:lnTo>
                  <a:lnTo>
                    <a:pt x="2015" y="2045"/>
                  </a:lnTo>
                  <a:lnTo>
                    <a:pt x="1804" y="1837"/>
                  </a:lnTo>
                  <a:lnTo>
                    <a:pt x="1793" y="1822"/>
                  </a:lnTo>
                  <a:lnTo>
                    <a:pt x="1786" y="1806"/>
                  </a:lnTo>
                  <a:lnTo>
                    <a:pt x="1784" y="1788"/>
                  </a:lnTo>
                  <a:lnTo>
                    <a:pt x="1786" y="1770"/>
                  </a:lnTo>
                  <a:lnTo>
                    <a:pt x="1793" y="1754"/>
                  </a:lnTo>
                  <a:lnTo>
                    <a:pt x="1804" y="1740"/>
                  </a:lnTo>
                  <a:lnTo>
                    <a:pt x="1820" y="1729"/>
                  </a:lnTo>
                  <a:lnTo>
                    <a:pt x="1836" y="1722"/>
                  </a:lnTo>
                  <a:lnTo>
                    <a:pt x="1853" y="1720"/>
                  </a:lnTo>
                  <a:lnTo>
                    <a:pt x="1871" y="1722"/>
                  </a:lnTo>
                  <a:lnTo>
                    <a:pt x="1887" y="1729"/>
                  </a:lnTo>
                  <a:lnTo>
                    <a:pt x="1902" y="1740"/>
                  </a:lnTo>
                  <a:lnTo>
                    <a:pt x="2112" y="1948"/>
                  </a:lnTo>
                  <a:lnTo>
                    <a:pt x="2125" y="1957"/>
                  </a:lnTo>
                  <a:lnTo>
                    <a:pt x="2140" y="1963"/>
                  </a:lnTo>
                  <a:lnTo>
                    <a:pt x="2156" y="1965"/>
                  </a:lnTo>
                  <a:lnTo>
                    <a:pt x="2174" y="1963"/>
                  </a:lnTo>
                  <a:lnTo>
                    <a:pt x="2190" y="1957"/>
                  </a:lnTo>
                  <a:lnTo>
                    <a:pt x="2207" y="1949"/>
                  </a:lnTo>
                  <a:lnTo>
                    <a:pt x="2223" y="1936"/>
                  </a:lnTo>
                  <a:lnTo>
                    <a:pt x="2235" y="1920"/>
                  </a:lnTo>
                  <a:lnTo>
                    <a:pt x="2244" y="1904"/>
                  </a:lnTo>
                  <a:lnTo>
                    <a:pt x="2249" y="1887"/>
                  </a:lnTo>
                  <a:lnTo>
                    <a:pt x="2251" y="1871"/>
                  </a:lnTo>
                  <a:lnTo>
                    <a:pt x="2249" y="1855"/>
                  </a:lnTo>
                  <a:lnTo>
                    <a:pt x="2244" y="1839"/>
                  </a:lnTo>
                  <a:lnTo>
                    <a:pt x="2234" y="1826"/>
                  </a:lnTo>
                  <a:lnTo>
                    <a:pt x="2025" y="1618"/>
                  </a:lnTo>
                  <a:lnTo>
                    <a:pt x="2013" y="1603"/>
                  </a:lnTo>
                  <a:lnTo>
                    <a:pt x="2006" y="1587"/>
                  </a:lnTo>
                  <a:lnTo>
                    <a:pt x="2004" y="1570"/>
                  </a:lnTo>
                  <a:lnTo>
                    <a:pt x="2006" y="1553"/>
                  </a:lnTo>
                  <a:lnTo>
                    <a:pt x="2013" y="1535"/>
                  </a:lnTo>
                  <a:lnTo>
                    <a:pt x="2025" y="1521"/>
                  </a:lnTo>
                  <a:lnTo>
                    <a:pt x="2039" y="1510"/>
                  </a:lnTo>
                  <a:lnTo>
                    <a:pt x="2055" y="1503"/>
                  </a:lnTo>
                  <a:lnTo>
                    <a:pt x="2074" y="1501"/>
                  </a:lnTo>
                  <a:lnTo>
                    <a:pt x="2091" y="1503"/>
                  </a:lnTo>
                  <a:lnTo>
                    <a:pt x="2107" y="1510"/>
                  </a:lnTo>
                  <a:lnTo>
                    <a:pt x="2122" y="1521"/>
                  </a:lnTo>
                  <a:lnTo>
                    <a:pt x="2332" y="1729"/>
                  </a:lnTo>
                  <a:lnTo>
                    <a:pt x="2345" y="1739"/>
                  </a:lnTo>
                  <a:lnTo>
                    <a:pt x="2359" y="1744"/>
                  </a:lnTo>
                  <a:lnTo>
                    <a:pt x="2377" y="1746"/>
                  </a:lnTo>
                  <a:lnTo>
                    <a:pt x="2393" y="1744"/>
                  </a:lnTo>
                  <a:lnTo>
                    <a:pt x="2410" y="1739"/>
                  </a:lnTo>
                  <a:lnTo>
                    <a:pt x="2427" y="1730"/>
                  </a:lnTo>
                  <a:lnTo>
                    <a:pt x="2442" y="1718"/>
                  </a:lnTo>
                  <a:lnTo>
                    <a:pt x="2455" y="1703"/>
                  </a:lnTo>
                  <a:lnTo>
                    <a:pt x="2463" y="1685"/>
                  </a:lnTo>
                  <a:lnTo>
                    <a:pt x="2469" y="1669"/>
                  </a:lnTo>
                  <a:lnTo>
                    <a:pt x="2471" y="1652"/>
                  </a:lnTo>
                  <a:lnTo>
                    <a:pt x="2469" y="1636"/>
                  </a:lnTo>
                  <a:lnTo>
                    <a:pt x="2463" y="1620"/>
                  </a:lnTo>
                  <a:lnTo>
                    <a:pt x="2454" y="1608"/>
                  </a:lnTo>
                  <a:lnTo>
                    <a:pt x="2452" y="1606"/>
                  </a:lnTo>
                  <a:lnTo>
                    <a:pt x="2447" y="1600"/>
                  </a:lnTo>
                  <a:lnTo>
                    <a:pt x="2438" y="1591"/>
                  </a:lnTo>
                  <a:lnTo>
                    <a:pt x="2426" y="1579"/>
                  </a:lnTo>
                  <a:lnTo>
                    <a:pt x="2410" y="1564"/>
                  </a:lnTo>
                  <a:lnTo>
                    <a:pt x="2392" y="1545"/>
                  </a:lnTo>
                  <a:lnTo>
                    <a:pt x="2372" y="1525"/>
                  </a:lnTo>
                  <a:lnTo>
                    <a:pt x="2348" y="1502"/>
                  </a:lnTo>
                  <a:lnTo>
                    <a:pt x="2323" y="1477"/>
                  </a:lnTo>
                  <a:lnTo>
                    <a:pt x="2295" y="1449"/>
                  </a:lnTo>
                  <a:lnTo>
                    <a:pt x="2265" y="1420"/>
                  </a:lnTo>
                  <a:lnTo>
                    <a:pt x="2235" y="1389"/>
                  </a:lnTo>
                  <a:lnTo>
                    <a:pt x="2202" y="1357"/>
                  </a:lnTo>
                  <a:lnTo>
                    <a:pt x="2169" y="1323"/>
                  </a:lnTo>
                  <a:lnTo>
                    <a:pt x="2134" y="1289"/>
                  </a:lnTo>
                  <a:lnTo>
                    <a:pt x="2099" y="1254"/>
                  </a:lnTo>
                  <a:lnTo>
                    <a:pt x="2062" y="1218"/>
                  </a:lnTo>
                  <a:lnTo>
                    <a:pt x="2027" y="1182"/>
                  </a:lnTo>
                  <a:lnTo>
                    <a:pt x="1990" y="1146"/>
                  </a:lnTo>
                  <a:lnTo>
                    <a:pt x="1954" y="1110"/>
                  </a:lnTo>
                  <a:lnTo>
                    <a:pt x="1918" y="1074"/>
                  </a:lnTo>
                  <a:lnTo>
                    <a:pt x="1882" y="1039"/>
                  </a:lnTo>
                  <a:lnTo>
                    <a:pt x="1847" y="1003"/>
                  </a:lnTo>
                  <a:lnTo>
                    <a:pt x="1813" y="970"/>
                  </a:lnTo>
                  <a:lnTo>
                    <a:pt x="1780" y="937"/>
                  </a:lnTo>
                  <a:lnTo>
                    <a:pt x="1748" y="906"/>
                  </a:lnTo>
                  <a:lnTo>
                    <a:pt x="1718" y="875"/>
                  </a:lnTo>
                  <a:lnTo>
                    <a:pt x="1689" y="847"/>
                  </a:lnTo>
                  <a:lnTo>
                    <a:pt x="1663" y="821"/>
                  </a:lnTo>
                  <a:lnTo>
                    <a:pt x="1638" y="797"/>
                  </a:lnTo>
                  <a:lnTo>
                    <a:pt x="1616" y="775"/>
                  </a:lnTo>
                  <a:lnTo>
                    <a:pt x="1596" y="756"/>
                  </a:lnTo>
                  <a:lnTo>
                    <a:pt x="1579" y="740"/>
                  </a:lnTo>
                  <a:lnTo>
                    <a:pt x="1565" y="725"/>
                  </a:lnTo>
                  <a:lnTo>
                    <a:pt x="1560" y="721"/>
                  </a:lnTo>
                  <a:lnTo>
                    <a:pt x="1553" y="715"/>
                  </a:lnTo>
                  <a:lnTo>
                    <a:pt x="1546" y="711"/>
                  </a:lnTo>
                  <a:lnTo>
                    <a:pt x="1537" y="706"/>
                  </a:lnTo>
                  <a:lnTo>
                    <a:pt x="1527" y="704"/>
                  </a:lnTo>
                  <a:lnTo>
                    <a:pt x="1515" y="703"/>
                  </a:lnTo>
                  <a:lnTo>
                    <a:pt x="1501" y="705"/>
                  </a:lnTo>
                  <a:lnTo>
                    <a:pt x="1485" y="711"/>
                  </a:lnTo>
                  <a:lnTo>
                    <a:pt x="1468" y="720"/>
                  </a:lnTo>
                  <a:lnTo>
                    <a:pt x="1449" y="735"/>
                  </a:lnTo>
                  <a:lnTo>
                    <a:pt x="1428" y="754"/>
                  </a:lnTo>
                  <a:lnTo>
                    <a:pt x="1405" y="779"/>
                  </a:lnTo>
                  <a:lnTo>
                    <a:pt x="1383" y="808"/>
                  </a:lnTo>
                  <a:lnTo>
                    <a:pt x="1366" y="837"/>
                  </a:lnTo>
                  <a:lnTo>
                    <a:pt x="1270" y="1012"/>
                  </a:lnTo>
                  <a:lnTo>
                    <a:pt x="1259" y="1031"/>
                  </a:lnTo>
                  <a:lnTo>
                    <a:pt x="1244" y="1050"/>
                  </a:lnTo>
                  <a:lnTo>
                    <a:pt x="1226" y="1069"/>
                  </a:lnTo>
                  <a:lnTo>
                    <a:pt x="1194" y="1096"/>
                  </a:lnTo>
                  <a:lnTo>
                    <a:pt x="1161" y="1119"/>
                  </a:lnTo>
                  <a:lnTo>
                    <a:pt x="1125" y="1136"/>
                  </a:lnTo>
                  <a:lnTo>
                    <a:pt x="1089" y="1147"/>
                  </a:lnTo>
                  <a:lnTo>
                    <a:pt x="1052" y="1153"/>
                  </a:lnTo>
                  <a:lnTo>
                    <a:pt x="1014" y="1153"/>
                  </a:lnTo>
                  <a:lnTo>
                    <a:pt x="976" y="1147"/>
                  </a:lnTo>
                  <a:lnTo>
                    <a:pt x="944" y="1137"/>
                  </a:lnTo>
                  <a:lnTo>
                    <a:pt x="913" y="1123"/>
                  </a:lnTo>
                  <a:lnTo>
                    <a:pt x="883" y="1106"/>
                  </a:lnTo>
                  <a:lnTo>
                    <a:pt x="858" y="1085"/>
                  </a:lnTo>
                  <a:lnTo>
                    <a:pt x="833" y="1061"/>
                  </a:lnTo>
                  <a:lnTo>
                    <a:pt x="813" y="1034"/>
                  </a:lnTo>
                  <a:lnTo>
                    <a:pt x="796" y="1004"/>
                  </a:lnTo>
                  <a:lnTo>
                    <a:pt x="784" y="980"/>
                  </a:lnTo>
                  <a:lnTo>
                    <a:pt x="777" y="955"/>
                  </a:lnTo>
                  <a:lnTo>
                    <a:pt x="772" y="930"/>
                  </a:lnTo>
                  <a:lnTo>
                    <a:pt x="772" y="908"/>
                  </a:lnTo>
                  <a:lnTo>
                    <a:pt x="774" y="886"/>
                  </a:lnTo>
                  <a:lnTo>
                    <a:pt x="781" y="866"/>
                  </a:lnTo>
                  <a:lnTo>
                    <a:pt x="1064" y="203"/>
                  </a:lnTo>
                  <a:lnTo>
                    <a:pt x="1074" y="185"/>
                  </a:lnTo>
                  <a:lnTo>
                    <a:pt x="1086" y="166"/>
                  </a:lnTo>
                  <a:lnTo>
                    <a:pt x="1102" y="147"/>
                  </a:lnTo>
                  <a:lnTo>
                    <a:pt x="1120" y="126"/>
                  </a:lnTo>
                  <a:lnTo>
                    <a:pt x="1130" y="117"/>
                  </a:lnTo>
                  <a:lnTo>
                    <a:pt x="1142" y="106"/>
                  </a:lnTo>
                  <a:lnTo>
                    <a:pt x="1158" y="94"/>
                  </a:lnTo>
                  <a:lnTo>
                    <a:pt x="1176" y="81"/>
                  </a:lnTo>
                  <a:lnTo>
                    <a:pt x="1196" y="67"/>
                  </a:lnTo>
                  <a:lnTo>
                    <a:pt x="1220" y="53"/>
                  </a:lnTo>
                  <a:lnTo>
                    <a:pt x="1245" y="40"/>
                  </a:lnTo>
                  <a:lnTo>
                    <a:pt x="1274" y="28"/>
                  </a:lnTo>
                  <a:lnTo>
                    <a:pt x="1305" y="18"/>
                  </a:lnTo>
                  <a:lnTo>
                    <a:pt x="1338" y="10"/>
                  </a:lnTo>
                  <a:lnTo>
                    <a:pt x="1373" y="3"/>
                  </a:lnTo>
                  <a:lnTo>
                    <a:pt x="1412" y="0"/>
                  </a:lnTo>
                  <a:lnTo>
                    <a:pt x="14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/>
          </p:nvSpPr>
          <p:spPr bwMode="auto">
            <a:xfrm>
              <a:off x="7296151" y="1689101"/>
              <a:ext cx="149225" cy="147638"/>
            </a:xfrm>
            <a:custGeom>
              <a:avLst/>
              <a:gdLst>
                <a:gd name="T0" fmla="*/ 671 w 1031"/>
                <a:gd name="T1" fmla="*/ 657 h 1025"/>
                <a:gd name="T2" fmla="*/ 626 w 1031"/>
                <a:gd name="T3" fmla="*/ 679 h 1025"/>
                <a:gd name="T4" fmla="*/ 595 w 1031"/>
                <a:gd name="T5" fmla="*/ 718 h 1025"/>
                <a:gd name="T6" fmla="*/ 584 w 1031"/>
                <a:gd name="T7" fmla="*/ 766 h 1025"/>
                <a:gd name="T8" fmla="*/ 595 w 1031"/>
                <a:gd name="T9" fmla="*/ 817 h 1025"/>
                <a:gd name="T10" fmla="*/ 626 w 1031"/>
                <a:gd name="T11" fmla="*/ 854 h 1025"/>
                <a:gd name="T12" fmla="*/ 671 w 1031"/>
                <a:gd name="T13" fmla="*/ 877 h 1025"/>
                <a:gd name="T14" fmla="*/ 723 w 1031"/>
                <a:gd name="T15" fmla="*/ 877 h 1025"/>
                <a:gd name="T16" fmla="*/ 768 w 1031"/>
                <a:gd name="T17" fmla="*/ 854 h 1025"/>
                <a:gd name="T18" fmla="*/ 800 w 1031"/>
                <a:gd name="T19" fmla="*/ 816 h 1025"/>
                <a:gd name="T20" fmla="*/ 811 w 1031"/>
                <a:gd name="T21" fmla="*/ 766 h 1025"/>
                <a:gd name="T22" fmla="*/ 800 w 1031"/>
                <a:gd name="T23" fmla="*/ 718 h 1025"/>
                <a:gd name="T24" fmla="*/ 768 w 1031"/>
                <a:gd name="T25" fmla="*/ 679 h 1025"/>
                <a:gd name="T26" fmla="*/ 723 w 1031"/>
                <a:gd name="T27" fmla="*/ 657 h 1025"/>
                <a:gd name="T28" fmla="*/ 345 w 1031"/>
                <a:gd name="T29" fmla="*/ 0 h 1025"/>
                <a:gd name="T30" fmla="*/ 391 w 1031"/>
                <a:gd name="T31" fmla="*/ 12 h 1025"/>
                <a:gd name="T32" fmla="*/ 432 w 1031"/>
                <a:gd name="T33" fmla="*/ 39 h 1025"/>
                <a:gd name="T34" fmla="*/ 1007 w 1031"/>
                <a:gd name="T35" fmla="*/ 615 h 1025"/>
                <a:gd name="T36" fmla="*/ 1027 w 1031"/>
                <a:gd name="T37" fmla="*/ 659 h 1025"/>
                <a:gd name="T38" fmla="*/ 1031 w 1031"/>
                <a:gd name="T39" fmla="*/ 705 h 1025"/>
                <a:gd name="T40" fmla="*/ 1019 w 1031"/>
                <a:gd name="T41" fmla="*/ 751 h 1025"/>
                <a:gd name="T42" fmla="*/ 992 w 1031"/>
                <a:gd name="T43" fmla="*/ 791 h 1025"/>
                <a:gd name="T44" fmla="*/ 776 w 1031"/>
                <a:gd name="T45" fmla="*/ 1001 h 1025"/>
                <a:gd name="T46" fmla="*/ 732 w 1031"/>
                <a:gd name="T47" fmla="*/ 1021 h 1025"/>
                <a:gd name="T48" fmla="*/ 686 w 1031"/>
                <a:gd name="T49" fmla="*/ 1025 h 1025"/>
                <a:gd name="T50" fmla="*/ 640 w 1031"/>
                <a:gd name="T51" fmla="*/ 1013 h 1025"/>
                <a:gd name="T52" fmla="*/ 600 w 1031"/>
                <a:gd name="T53" fmla="*/ 985 h 1025"/>
                <a:gd name="T54" fmla="*/ 24 w 1031"/>
                <a:gd name="T55" fmla="*/ 409 h 1025"/>
                <a:gd name="T56" fmla="*/ 4 w 1031"/>
                <a:gd name="T57" fmla="*/ 367 h 1025"/>
                <a:gd name="T58" fmla="*/ 0 w 1031"/>
                <a:gd name="T59" fmla="*/ 320 h 1025"/>
                <a:gd name="T60" fmla="*/ 11 w 1031"/>
                <a:gd name="T61" fmla="*/ 275 h 1025"/>
                <a:gd name="T62" fmla="*/ 40 w 1031"/>
                <a:gd name="T63" fmla="*/ 234 h 1025"/>
                <a:gd name="T64" fmla="*/ 255 w 1031"/>
                <a:gd name="T65" fmla="*/ 24 h 1025"/>
                <a:gd name="T66" fmla="*/ 298 w 1031"/>
                <a:gd name="T67" fmla="*/ 4 h 1025"/>
                <a:gd name="T68" fmla="*/ 345 w 1031"/>
                <a:gd name="T69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31" h="1025">
                  <a:moveTo>
                    <a:pt x="698" y="654"/>
                  </a:moveTo>
                  <a:lnTo>
                    <a:pt x="671" y="657"/>
                  </a:lnTo>
                  <a:lnTo>
                    <a:pt x="648" y="665"/>
                  </a:lnTo>
                  <a:lnTo>
                    <a:pt x="626" y="679"/>
                  </a:lnTo>
                  <a:lnTo>
                    <a:pt x="609" y="696"/>
                  </a:lnTo>
                  <a:lnTo>
                    <a:pt x="595" y="718"/>
                  </a:lnTo>
                  <a:lnTo>
                    <a:pt x="587" y="741"/>
                  </a:lnTo>
                  <a:lnTo>
                    <a:pt x="584" y="766"/>
                  </a:lnTo>
                  <a:lnTo>
                    <a:pt x="587" y="793"/>
                  </a:lnTo>
                  <a:lnTo>
                    <a:pt x="595" y="817"/>
                  </a:lnTo>
                  <a:lnTo>
                    <a:pt x="609" y="837"/>
                  </a:lnTo>
                  <a:lnTo>
                    <a:pt x="626" y="854"/>
                  </a:lnTo>
                  <a:lnTo>
                    <a:pt x="648" y="868"/>
                  </a:lnTo>
                  <a:lnTo>
                    <a:pt x="671" y="877"/>
                  </a:lnTo>
                  <a:lnTo>
                    <a:pt x="698" y="880"/>
                  </a:lnTo>
                  <a:lnTo>
                    <a:pt x="723" y="877"/>
                  </a:lnTo>
                  <a:lnTo>
                    <a:pt x="748" y="868"/>
                  </a:lnTo>
                  <a:lnTo>
                    <a:pt x="768" y="854"/>
                  </a:lnTo>
                  <a:lnTo>
                    <a:pt x="785" y="837"/>
                  </a:lnTo>
                  <a:lnTo>
                    <a:pt x="800" y="816"/>
                  </a:lnTo>
                  <a:lnTo>
                    <a:pt x="808" y="793"/>
                  </a:lnTo>
                  <a:lnTo>
                    <a:pt x="811" y="766"/>
                  </a:lnTo>
                  <a:lnTo>
                    <a:pt x="808" y="741"/>
                  </a:lnTo>
                  <a:lnTo>
                    <a:pt x="800" y="718"/>
                  </a:lnTo>
                  <a:lnTo>
                    <a:pt x="785" y="696"/>
                  </a:lnTo>
                  <a:lnTo>
                    <a:pt x="768" y="679"/>
                  </a:lnTo>
                  <a:lnTo>
                    <a:pt x="748" y="665"/>
                  </a:lnTo>
                  <a:lnTo>
                    <a:pt x="723" y="657"/>
                  </a:lnTo>
                  <a:lnTo>
                    <a:pt x="698" y="654"/>
                  </a:lnTo>
                  <a:close/>
                  <a:moveTo>
                    <a:pt x="345" y="0"/>
                  </a:moveTo>
                  <a:lnTo>
                    <a:pt x="368" y="4"/>
                  </a:lnTo>
                  <a:lnTo>
                    <a:pt x="391" y="12"/>
                  </a:lnTo>
                  <a:lnTo>
                    <a:pt x="412" y="24"/>
                  </a:lnTo>
                  <a:lnTo>
                    <a:pt x="432" y="39"/>
                  </a:lnTo>
                  <a:lnTo>
                    <a:pt x="992" y="596"/>
                  </a:lnTo>
                  <a:lnTo>
                    <a:pt x="1007" y="615"/>
                  </a:lnTo>
                  <a:lnTo>
                    <a:pt x="1019" y="637"/>
                  </a:lnTo>
                  <a:lnTo>
                    <a:pt x="1027" y="659"/>
                  </a:lnTo>
                  <a:lnTo>
                    <a:pt x="1031" y="682"/>
                  </a:lnTo>
                  <a:lnTo>
                    <a:pt x="1031" y="705"/>
                  </a:lnTo>
                  <a:lnTo>
                    <a:pt x="1027" y="729"/>
                  </a:lnTo>
                  <a:lnTo>
                    <a:pt x="1019" y="751"/>
                  </a:lnTo>
                  <a:lnTo>
                    <a:pt x="1007" y="771"/>
                  </a:lnTo>
                  <a:lnTo>
                    <a:pt x="992" y="791"/>
                  </a:lnTo>
                  <a:lnTo>
                    <a:pt x="796" y="985"/>
                  </a:lnTo>
                  <a:lnTo>
                    <a:pt x="776" y="1001"/>
                  </a:lnTo>
                  <a:lnTo>
                    <a:pt x="755" y="1013"/>
                  </a:lnTo>
                  <a:lnTo>
                    <a:pt x="732" y="1021"/>
                  </a:lnTo>
                  <a:lnTo>
                    <a:pt x="709" y="1025"/>
                  </a:lnTo>
                  <a:lnTo>
                    <a:pt x="686" y="1025"/>
                  </a:lnTo>
                  <a:lnTo>
                    <a:pt x="663" y="1021"/>
                  </a:lnTo>
                  <a:lnTo>
                    <a:pt x="640" y="1013"/>
                  </a:lnTo>
                  <a:lnTo>
                    <a:pt x="619" y="1001"/>
                  </a:lnTo>
                  <a:lnTo>
                    <a:pt x="600" y="985"/>
                  </a:lnTo>
                  <a:lnTo>
                    <a:pt x="40" y="429"/>
                  </a:lnTo>
                  <a:lnTo>
                    <a:pt x="24" y="409"/>
                  </a:lnTo>
                  <a:lnTo>
                    <a:pt x="11" y="389"/>
                  </a:lnTo>
                  <a:lnTo>
                    <a:pt x="4" y="367"/>
                  </a:lnTo>
                  <a:lnTo>
                    <a:pt x="0" y="344"/>
                  </a:lnTo>
                  <a:lnTo>
                    <a:pt x="0" y="320"/>
                  </a:lnTo>
                  <a:lnTo>
                    <a:pt x="4" y="297"/>
                  </a:lnTo>
                  <a:lnTo>
                    <a:pt x="11" y="275"/>
                  </a:lnTo>
                  <a:lnTo>
                    <a:pt x="24" y="253"/>
                  </a:lnTo>
                  <a:lnTo>
                    <a:pt x="40" y="234"/>
                  </a:lnTo>
                  <a:lnTo>
                    <a:pt x="236" y="39"/>
                  </a:lnTo>
                  <a:lnTo>
                    <a:pt x="255" y="24"/>
                  </a:lnTo>
                  <a:lnTo>
                    <a:pt x="275" y="12"/>
                  </a:lnTo>
                  <a:lnTo>
                    <a:pt x="298" y="4"/>
                  </a:lnTo>
                  <a:lnTo>
                    <a:pt x="321" y="0"/>
                  </a:lnTo>
                  <a:lnTo>
                    <a:pt x="34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80" name="Group 79"/>
          <p:cNvGrpSpPr/>
          <p:nvPr userDrawn="1"/>
        </p:nvGrpSpPr>
        <p:grpSpPr>
          <a:xfrm>
            <a:off x="4309538" y="1989692"/>
            <a:ext cx="690900" cy="801617"/>
            <a:chOff x="6656388" y="1300163"/>
            <a:chExt cx="347662" cy="381000"/>
          </a:xfrm>
          <a:solidFill>
            <a:schemeClr val="accent2"/>
          </a:solidFill>
        </p:grpSpPr>
        <p:sp>
          <p:nvSpPr>
            <p:cNvPr id="81" name="Freeform 27"/>
            <p:cNvSpPr>
              <a:spLocks noEditPoints="1"/>
            </p:cNvSpPr>
            <p:nvPr/>
          </p:nvSpPr>
          <p:spPr bwMode="auto">
            <a:xfrm>
              <a:off x="6713538" y="1357313"/>
              <a:ext cx="233362" cy="323850"/>
            </a:xfrm>
            <a:custGeom>
              <a:avLst/>
              <a:gdLst>
                <a:gd name="T0" fmla="*/ 762 w 2060"/>
                <a:gd name="T1" fmla="*/ 305 h 2844"/>
                <a:gd name="T2" fmla="*/ 486 w 2060"/>
                <a:gd name="T3" fmla="*/ 474 h 2844"/>
                <a:gd name="T4" fmla="*/ 309 w 2060"/>
                <a:gd name="T5" fmla="*/ 735 h 2844"/>
                <a:gd name="T6" fmla="*/ 263 w 2060"/>
                <a:gd name="T7" fmla="*/ 1051 h 2844"/>
                <a:gd name="T8" fmla="*/ 318 w 2060"/>
                <a:gd name="T9" fmla="*/ 1304 h 2844"/>
                <a:gd name="T10" fmla="*/ 420 w 2060"/>
                <a:gd name="T11" fmla="*/ 1495 h 2844"/>
                <a:gd name="T12" fmla="*/ 538 w 2060"/>
                <a:gd name="T13" fmla="*/ 1673 h 2844"/>
                <a:gd name="T14" fmla="*/ 612 w 2060"/>
                <a:gd name="T15" fmla="*/ 1872 h 2844"/>
                <a:gd name="T16" fmla="*/ 656 w 2060"/>
                <a:gd name="T17" fmla="*/ 2010 h 2844"/>
                <a:gd name="T18" fmla="*/ 1366 w 2060"/>
                <a:gd name="T19" fmla="*/ 2043 h 2844"/>
                <a:gd name="T20" fmla="*/ 1443 w 2060"/>
                <a:gd name="T21" fmla="*/ 1943 h 2844"/>
                <a:gd name="T22" fmla="*/ 1482 w 2060"/>
                <a:gd name="T23" fmla="*/ 1749 h 2844"/>
                <a:gd name="T24" fmla="*/ 1594 w 2060"/>
                <a:gd name="T25" fmla="*/ 1563 h 2844"/>
                <a:gd name="T26" fmla="*/ 1703 w 2060"/>
                <a:gd name="T27" fmla="*/ 1386 h 2844"/>
                <a:gd name="T28" fmla="*/ 1783 w 2060"/>
                <a:gd name="T29" fmla="*/ 1161 h 2844"/>
                <a:gd name="T30" fmla="*/ 1787 w 2060"/>
                <a:gd name="T31" fmla="*/ 858 h 2844"/>
                <a:gd name="T32" fmla="*/ 1659 w 2060"/>
                <a:gd name="T33" fmla="*/ 569 h 2844"/>
                <a:gd name="T34" fmla="*/ 1418 w 2060"/>
                <a:gd name="T35" fmla="*/ 359 h 2844"/>
                <a:gd name="T36" fmla="*/ 1100 w 2060"/>
                <a:gd name="T37" fmla="*/ 262 h 2844"/>
                <a:gd name="T38" fmla="*/ 1277 w 2060"/>
                <a:gd name="T39" fmla="*/ 30 h 2844"/>
                <a:gd name="T40" fmla="*/ 1637 w 2060"/>
                <a:gd name="T41" fmla="*/ 192 h 2844"/>
                <a:gd name="T42" fmla="*/ 1905 w 2060"/>
                <a:gd name="T43" fmla="*/ 468 h 2844"/>
                <a:gd name="T44" fmla="*/ 2046 w 2060"/>
                <a:gd name="T45" fmla="*/ 829 h 2844"/>
                <a:gd name="T46" fmla="*/ 2044 w 2060"/>
                <a:gd name="T47" fmla="*/ 1185 h 2844"/>
                <a:gd name="T48" fmla="*/ 1964 w 2060"/>
                <a:gd name="T49" fmla="*/ 1447 h 2844"/>
                <a:gd name="T50" fmla="*/ 1853 w 2060"/>
                <a:gd name="T51" fmla="*/ 1643 h 2844"/>
                <a:gd name="T52" fmla="*/ 1740 w 2060"/>
                <a:gd name="T53" fmla="*/ 1813 h 2844"/>
                <a:gd name="T54" fmla="*/ 1702 w 2060"/>
                <a:gd name="T55" fmla="*/ 1965 h 2844"/>
                <a:gd name="T56" fmla="*/ 1596 w 2060"/>
                <a:gd name="T57" fmla="*/ 2184 h 2844"/>
                <a:gd name="T58" fmla="*/ 1510 w 2060"/>
                <a:gd name="T59" fmla="*/ 2331 h 2844"/>
                <a:gd name="T60" fmla="*/ 1502 w 2060"/>
                <a:gd name="T61" fmla="*/ 2468 h 2844"/>
                <a:gd name="T62" fmla="*/ 1499 w 2060"/>
                <a:gd name="T63" fmla="*/ 2532 h 2844"/>
                <a:gd name="T64" fmla="*/ 1468 w 2060"/>
                <a:gd name="T65" fmla="*/ 2616 h 2844"/>
                <a:gd name="T66" fmla="*/ 1361 w 2060"/>
                <a:gd name="T67" fmla="*/ 2709 h 2844"/>
                <a:gd name="T68" fmla="*/ 1202 w 2060"/>
                <a:gd name="T69" fmla="*/ 2823 h 2844"/>
                <a:gd name="T70" fmla="*/ 904 w 2060"/>
                <a:gd name="T71" fmla="*/ 2842 h 2844"/>
                <a:gd name="T72" fmla="*/ 773 w 2060"/>
                <a:gd name="T73" fmla="*/ 2741 h 2844"/>
                <a:gd name="T74" fmla="*/ 616 w 2060"/>
                <a:gd name="T75" fmla="*/ 2648 h 2844"/>
                <a:gd name="T76" fmla="*/ 564 w 2060"/>
                <a:gd name="T77" fmla="*/ 2549 h 2844"/>
                <a:gd name="T78" fmla="*/ 560 w 2060"/>
                <a:gd name="T79" fmla="*/ 2505 h 2844"/>
                <a:gd name="T80" fmla="*/ 553 w 2060"/>
                <a:gd name="T81" fmla="*/ 2388 h 2844"/>
                <a:gd name="T82" fmla="*/ 546 w 2060"/>
                <a:gd name="T83" fmla="*/ 2257 h 2844"/>
                <a:gd name="T84" fmla="*/ 382 w 2060"/>
                <a:gd name="T85" fmla="*/ 2057 h 2844"/>
                <a:gd name="T86" fmla="*/ 345 w 2060"/>
                <a:gd name="T87" fmla="*/ 1868 h 2844"/>
                <a:gd name="T88" fmla="*/ 251 w 2060"/>
                <a:gd name="T89" fmla="*/ 1709 h 2844"/>
                <a:gd name="T90" fmla="*/ 139 w 2060"/>
                <a:gd name="T91" fmla="*/ 1532 h 2844"/>
                <a:gd name="T92" fmla="*/ 41 w 2060"/>
                <a:gd name="T93" fmla="*/ 1299 h 2844"/>
                <a:gd name="T94" fmla="*/ 0 w 2060"/>
                <a:gd name="T95" fmla="*/ 989 h 2844"/>
                <a:gd name="T96" fmla="*/ 81 w 2060"/>
                <a:gd name="T97" fmla="*/ 605 h 2844"/>
                <a:gd name="T98" fmla="*/ 302 w 2060"/>
                <a:gd name="T99" fmla="*/ 291 h 2844"/>
                <a:gd name="T100" fmla="*/ 630 w 2060"/>
                <a:gd name="T101" fmla="*/ 79 h 2844"/>
                <a:gd name="T102" fmla="*/ 1030 w 2060"/>
                <a:gd name="T103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0" h="2844">
                  <a:moveTo>
                    <a:pt x="1030" y="259"/>
                  </a:moveTo>
                  <a:lnTo>
                    <a:pt x="960" y="262"/>
                  </a:lnTo>
                  <a:lnTo>
                    <a:pt x="891" y="271"/>
                  </a:lnTo>
                  <a:lnTo>
                    <a:pt x="826" y="286"/>
                  </a:lnTo>
                  <a:lnTo>
                    <a:pt x="762" y="305"/>
                  </a:lnTo>
                  <a:lnTo>
                    <a:pt x="700" y="330"/>
                  </a:lnTo>
                  <a:lnTo>
                    <a:pt x="641" y="360"/>
                  </a:lnTo>
                  <a:lnTo>
                    <a:pt x="586" y="393"/>
                  </a:lnTo>
                  <a:lnTo>
                    <a:pt x="535" y="431"/>
                  </a:lnTo>
                  <a:lnTo>
                    <a:pt x="486" y="474"/>
                  </a:lnTo>
                  <a:lnTo>
                    <a:pt x="441" y="519"/>
                  </a:lnTo>
                  <a:lnTo>
                    <a:pt x="402" y="569"/>
                  </a:lnTo>
                  <a:lnTo>
                    <a:pt x="366" y="622"/>
                  </a:lnTo>
                  <a:lnTo>
                    <a:pt x="335" y="677"/>
                  </a:lnTo>
                  <a:lnTo>
                    <a:pt x="309" y="735"/>
                  </a:lnTo>
                  <a:lnTo>
                    <a:pt x="288" y="796"/>
                  </a:lnTo>
                  <a:lnTo>
                    <a:pt x="273" y="858"/>
                  </a:lnTo>
                  <a:lnTo>
                    <a:pt x="264" y="923"/>
                  </a:lnTo>
                  <a:lnTo>
                    <a:pt x="261" y="989"/>
                  </a:lnTo>
                  <a:lnTo>
                    <a:pt x="263" y="1051"/>
                  </a:lnTo>
                  <a:lnTo>
                    <a:pt x="268" y="1108"/>
                  </a:lnTo>
                  <a:lnTo>
                    <a:pt x="277" y="1161"/>
                  </a:lnTo>
                  <a:lnTo>
                    <a:pt x="288" y="1212"/>
                  </a:lnTo>
                  <a:lnTo>
                    <a:pt x="302" y="1260"/>
                  </a:lnTo>
                  <a:lnTo>
                    <a:pt x="318" y="1304"/>
                  </a:lnTo>
                  <a:lnTo>
                    <a:pt x="336" y="1346"/>
                  </a:lnTo>
                  <a:lnTo>
                    <a:pt x="356" y="1386"/>
                  </a:lnTo>
                  <a:lnTo>
                    <a:pt x="377" y="1424"/>
                  </a:lnTo>
                  <a:lnTo>
                    <a:pt x="399" y="1460"/>
                  </a:lnTo>
                  <a:lnTo>
                    <a:pt x="420" y="1495"/>
                  </a:lnTo>
                  <a:lnTo>
                    <a:pt x="444" y="1529"/>
                  </a:lnTo>
                  <a:lnTo>
                    <a:pt x="465" y="1562"/>
                  </a:lnTo>
                  <a:lnTo>
                    <a:pt x="490" y="1599"/>
                  </a:lnTo>
                  <a:lnTo>
                    <a:pt x="515" y="1636"/>
                  </a:lnTo>
                  <a:lnTo>
                    <a:pt x="538" y="1673"/>
                  </a:lnTo>
                  <a:lnTo>
                    <a:pt x="560" y="1710"/>
                  </a:lnTo>
                  <a:lnTo>
                    <a:pt x="578" y="1749"/>
                  </a:lnTo>
                  <a:lnTo>
                    <a:pt x="593" y="1788"/>
                  </a:lnTo>
                  <a:lnTo>
                    <a:pt x="604" y="1829"/>
                  </a:lnTo>
                  <a:lnTo>
                    <a:pt x="612" y="1872"/>
                  </a:lnTo>
                  <a:lnTo>
                    <a:pt x="614" y="1918"/>
                  </a:lnTo>
                  <a:lnTo>
                    <a:pt x="617" y="1943"/>
                  </a:lnTo>
                  <a:lnTo>
                    <a:pt x="627" y="1967"/>
                  </a:lnTo>
                  <a:lnTo>
                    <a:pt x="639" y="1990"/>
                  </a:lnTo>
                  <a:lnTo>
                    <a:pt x="656" y="2010"/>
                  </a:lnTo>
                  <a:lnTo>
                    <a:pt x="674" y="2028"/>
                  </a:lnTo>
                  <a:lnTo>
                    <a:pt x="694" y="2043"/>
                  </a:lnTo>
                  <a:lnTo>
                    <a:pt x="712" y="2057"/>
                  </a:lnTo>
                  <a:lnTo>
                    <a:pt x="1348" y="2057"/>
                  </a:lnTo>
                  <a:lnTo>
                    <a:pt x="1366" y="2043"/>
                  </a:lnTo>
                  <a:lnTo>
                    <a:pt x="1385" y="2028"/>
                  </a:lnTo>
                  <a:lnTo>
                    <a:pt x="1404" y="2010"/>
                  </a:lnTo>
                  <a:lnTo>
                    <a:pt x="1420" y="1990"/>
                  </a:lnTo>
                  <a:lnTo>
                    <a:pt x="1433" y="1967"/>
                  </a:lnTo>
                  <a:lnTo>
                    <a:pt x="1443" y="1943"/>
                  </a:lnTo>
                  <a:lnTo>
                    <a:pt x="1446" y="1918"/>
                  </a:lnTo>
                  <a:lnTo>
                    <a:pt x="1448" y="1872"/>
                  </a:lnTo>
                  <a:lnTo>
                    <a:pt x="1455" y="1829"/>
                  </a:lnTo>
                  <a:lnTo>
                    <a:pt x="1467" y="1788"/>
                  </a:lnTo>
                  <a:lnTo>
                    <a:pt x="1482" y="1749"/>
                  </a:lnTo>
                  <a:lnTo>
                    <a:pt x="1500" y="1711"/>
                  </a:lnTo>
                  <a:lnTo>
                    <a:pt x="1521" y="1673"/>
                  </a:lnTo>
                  <a:lnTo>
                    <a:pt x="1544" y="1636"/>
                  </a:lnTo>
                  <a:lnTo>
                    <a:pt x="1568" y="1600"/>
                  </a:lnTo>
                  <a:lnTo>
                    <a:pt x="1594" y="1563"/>
                  </a:lnTo>
                  <a:lnTo>
                    <a:pt x="1616" y="1530"/>
                  </a:lnTo>
                  <a:lnTo>
                    <a:pt x="1638" y="1496"/>
                  </a:lnTo>
                  <a:lnTo>
                    <a:pt x="1661" y="1461"/>
                  </a:lnTo>
                  <a:lnTo>
                    <a:pt x="1683" y="1424"/>
                  </a:lnTo>
                  <a:lnTo>
                    <a:pt x="1703" y="1386"/>
                  </a:lnTo>
                  <a:lnTo>
                    <a:pt x="1723" y="1346"/>
                  </a:lnTo>
                  <a:lnTo>
                    <a:pt x="1741" y="1304"/>
                  </a:lnTo>
                  <a:lnTo>
                    <a:pt x="1757" y="1260"/>
                  </a:lnTo>
                  <a:lnTo>
                    <a:pt x="1771" y="1212"/>
                  </a:lnTo>
                  <a:lnTo>
                    <a:pt x="1783" y="1161"/>
                  </a:lnTo>
                  <a:lnTo>
                    <a:pt x="1791" y="1108"/>
                  </a:lnTo>
                  <a:lnTo>
                    <a:pt x="1797" y="1051"/>
                  </a:lnTo>
                  <a:lnTo>
                    <a:pt x="1799" y="989"/>
                  </a:lnTo>
                  <a:lnTo>
                    <a:pt x="1796" y="923"/>
                  </a:lnTo>
                  <a:lnTo>
                    <a:pt x="1787" y="858"/>
                  </a:lnTo>
                  <a:lnTo>
                    <a:pt x="1771" y="795"/>
                  </a:lnTo>
                  <a:lnTo>
                    <a:pt x="1751" y="735"/>
                  </a:lnTo>
                  <a:lnTo>
                    <a:pt x="1726" y="677"/>
                  </a:lnTo>
                  <a:lnTo>
                    <a:pt x="1694" y="621"/>
                  </a:lnTo>
                  <a:lnTo>
                    <a:pt x="1659" y="569"/>
                  </a:lnTo>
                  <a:lnTo>
                    <a:pt x="1618" y="519"/>
                  </a:lnTo>
                  <a:lnTo>
                    <a:pt x="1573" y="474"/>
                  </a:lnTo>
                  <a:lnTo>
                    <a:pt x="1526" y="431"/>
                  </a:lnTo>
                  <a:lnTo>
                    <a:pt x="1473" y="392"/>
                  </a:lnTo>
                  <a:lnTo>
                    <a:pt x="1418" y="359"/>
                  </a:lnTo>
                  <a:lnTo>
                    <a:pt x="1360" y="330"/>
                  </a:lnTo>
                  <a:lnTo>
                    <a:pt x="1298" y="305"/>
                  </a:lnTo>
                  <a:lnTo>
                    <a:pt x="1234" y="286"/>
                  </a:lnTo>
                  <a:lnTo>
                    <a:pt x="1168" y="271"/>
                  </a:lnTo>
                  <a:lnTo>
                    <a:pt x="1100" y="262"/>
                  </a:lnTo>
                  <a:lnTo>
                    <a:pt x="1030" y="259"/>
                  </a:lnTo>
                  <a:close/>
                  <a:moveTo>
                    <a:pt x="1030" y="0"/>
                  </a:moveTo>
                  <a:lnTo>
                    <a:pt x="1114" y="4"/>
                  </a:lnTo>
                  <a:lnTo>
                    <a:pt x="1197" y="14"/>
                  </a:lnTo>
                  <a:lnTo>
                    <a:pt x="1277" y="30"/>
                  </a:lnTo>
                  <a:lnTo>
                    <a:pt x="1355" y="51"/>
                  </a:lnTo>
                  <a:lnTo>
                    <a:pt x="1430" y="79"/>
                  </a:lnTo>
                  <a:lnTo>
                    <a:pt x="1502" y="111"/>
                  </a:lnTo>
                  <a:lnTo>
                    <a:pt x="1571" y="149"/>
                  </a:lnTo>
                  <a:lnTo>
                    <a:pt x="1637" y="192"/>
                  </a:lnTo>
                  <a:lnTo>
                    <a:pt x="1699" y="239"/>
                  </a:lnTo>
                  <a:lnTo>
                    <a:pt x="1757" y="291"/>
                  </a:lnTo>
                  <a:lnTo>
                    <a:pt x="1811" y="346"/>
                  </a:lnTo>
                  <a:lnTo>
                    <a:pt x="1861" y="406"/>
                  </a:lnTo>
                  <a:lnTo>
                    <a:pt x="1905" y="468"/>
                  </a:lnTo>
                  <a:lnTo>
                    <a:pt x="1945" y="535"/>
                  </a:lnTo>
                  <a:lnTo>
                    <a:pt x="1979" y="605"/>
                  </a:lnTo>
                  <a:lnTo>
                    <a:pt x="2006" y="678"/>
                  </a:lnTo>
                  <a:lnTo>
                    <a:pt x="2030" y="752"/>
                  </a:lnTo>
                  <a:lnTo>
                    <a:pt x="2046" y="829"/>
                  </a:lnTo>
                  <a:lnTo>
                    <a:pt x="2056" y="908"/>
                  </a:lnTo>
                  <a:lnTo>
                    <a:pt x="2060" y="989"/>
                  </a:lnTo>
                  <a:lnTo>
                    <a:pt x="2057" y="1058"/>
                  </a:lnTo>
                  <a:lnTo>
                    <a:pt x="2052" y="1123"/>
                  </a:lnTo>
                  <a:lnTo>
                    <a:pt x="2044" y="1185"/>
                  </a:lnTo>
                  <a:lnTo>
                    <a:pt x="2032" y="1244"/>
                  </a:lnTo>
                  <a:lnTo>
                    <a:pt x="2018" y="1299"/>
                  </a:lnTo>
                  <a:lnTo>
                    <a:pt x="2002" y="1351"/>
                  </a:lnTo>
                  <a:lnTo>
                    <a:pt x="1983" y="1400"/>
                  </a:lnTo>
                  <a:lnTo>
                    <a:pt x="1964" y="1447"/>
                  </a:lnTo>
                  <a:lnTo>
                    <a:pt x="1943" y="1490"/>
                  </a:lnTo>
                  <a:lnTo>
                    <a:pt x="1921" y="1531"/>
                  </a:lnTo>
                  <a:lnTo>
                    <a:pt x="1898" y="1571"/>
                  </a:lnTo>
                  <a:lnTo>
                    <a:pt x="1876" y="1608"/>
                  </a:lnTo>
                  <a:lnTo>
                    <a:pt x="1853" y="1643"/>
                  </a:lnTo>
                  <a:lnTo>
                    <a:pt x="1831" y="1676"/>
                  </a:lnTo>
                  <a:lnTo>
                    <a:pt x="1809" y="1708"/>
                  </a:lnTo>
                  <a:lnTo>
                    <a:pt x="1783" y="1747"/>
                  </a:lnTo>
                  <a:lnTo>
                    <a:pt x="1760" y="1782"/>
                  </a:lnTo>
                  <a:lnTo>
                    <a:pt x="1740" y="1813"/>
                  </a:lnTo>
                  <a:lnTo>
                    <a:pt x="1726" y="1842"/>
                  </a:lnTo>
                  <a:lnTo>
                    <a:pt x="1715" y="1868"/>
                  </a:lnTo>
                  <a:lnTo>
                    <a:pt x="1707" y="1893"/>
                  </a:lnTo>
                  <a:lnTo>
                    <a:pt x="1705" y="1918"/>
                  </a:lnTo>
                  <a:lnTo>
                    <a:pt x="1702" y="1965"/>
                  </a:lnTo>
                  <a:lnTo>
                    <a:pt x="1693" y="2012"/>
                  </a:lnTo>
                  <a:lnTo>
                    <a:pt x="1678" y="2057"/>
                  </a:lnTo>
                  <a:lnTo>
                    <a:pt x="1655" y="2102"/>
                  </a:lnTo>
                  <a:lnTo>
                    <a:pt x="1629" y="2144"/>
                  </a:lnTo>
                  <a:lnTo>
                    <a:pt x="1596" y="2184"/>
                  </a:lnTo>
                  <a:lnTo>
                    <a:pt x="1557" y="2222"/>
                  </a:lnTo>
                  <a:lnTo>
                    <a:pt x="1514" y="2257"/>
                  </a:lnTo>
                  <a:lnTo>
                    <a:pt x="1513" y="2278"/>
                  </a:lnTo>
                  <a:lnTo>
                    <a:pt x="1512" y="2303"/>
                  </a:lnTo>
                  <a:lnTo>
                    <a:pt x="1510" y="2331"/>
                  </a:lnTo>
                  <a:lnTo>
                    <a:pt x="1509" y="2359"/>
                  </a:lnTo>
                  <a:lnTo>
                    <a:pt x="1506" y="2388"/>
                  </a:lnTo>
                  <a:lnTo>
                    <a:pt x="1505" y="2416"/>
                  </a:lnTo>
                  <a:lnTo>
                    <a:pt x="1503" y="2444"/>
                  </a:lnTo>
                  <a:lnTo>
                    <a:pt x="1502" y="2468"/>
                  </a:lnTo>
                  <a:lnTo>
                    <a:pt x="1501" y="2488"/>
                  </a:lnTo>
                  <a:lnTo>
                    <a:pt x="1500" y="2505"/>
                  </a:lnTo>
                  <a:lnTo>
                    <a:pt x="1500" y="2516"/>
                  </a:lnTo>
                  <a:lnTo>
                    <a:pt x="1499" y="2519"/>
                  </a:lnTo>
                  <a:lnTo>
                    <a:pt x="1499" y="2532"/>
                  </a:lnTo>
                  <a:lnTo>
                    <a:pt x="1497" y="2546"/>
                  </a:lnTo>
                  <a:lnTo>
                    <a:pt x="1493" y="2562"/>
                  </a:lnTo>
                  <a:lnTo>
                    <a:pt x="1487" y="2579"/>
                  </a:lnTo>
                  <a:lnTo>
                    <a:pt x="1479" y="2598"/>
                  </a:lnTo>
                  <a:lnTo>
                    <a:pt x="1468" y="2616"/>
                  </a:lnTo>
                  <a:lnTo>
                    <a:pt x="1454" y="2635"/>
                  </a:lnTo>
                  <a:lnTo>
                    <a:pt x="1437" y="2655"/>
                  </a:lnTo>
                  <a:lnTo>
                    <a:pt x="1416" y="2673"/>
                  </a:lnTo>
                  <a:lnTo>
                    <a:pt x="1390" y="2692"/>
                  </a:lnTo>
                  <a:lnTo>
                    <a:pt x="1361" y="2709"/>
                  </a:lnTo>
                  <a:lnTo>
                    <a:pt x="1327" y="2726"/>
                  </a:lnTo>
                  <a:lnTo>
                    <a:pt x="1286" y="2741"/>
                  </a:lnTo>
                  <a:lnTo>
                    <a:pt x="1263" y="2770"/>
                  </a:lnTo>
                  <a:lnTo>
                    <a:pt x="1234" y="2798"/>
                  </a:lnTo>
                  <a:lnTo>
                    <a:pt x="1202" y="2823"/>
                  </a:lnTo>
                  <a:lnTo>
                    <a:pt x="1180" y="2835"/>
                  </a:lnTo>
                  <a:lnTo>
                    <a:pt x="1155" y="2842"/>
                  </a:lnTo>
                  <a:lnTo>
                    <a:pt x="1130" y="2844"/>
                  </a:lnTo>
                  <a:lnTo>
                    <a:pt x="930" y="2844"/>
                  </a:lnTo>
                  <a:lnTo>
                    <a:pt x="904" y="2842"/>
                  </a:lnTo>
                  <a:lnTo>
                    <a:pt x="880" y="2835"/>
                  </a:lnTo>
                  <a:lnTo>
                    <a:pt x="857" y="2823"/>
                  </a:lnTo>
                  <a:lnTo>
                    <a:pt x="826" y="2798"/>
                  </a:lnTo>
                  <a:lnTo>
                    <a:pt x="797" y="2770"/>
                  </a:lnTo>
                  <a:lnTo>
                    <a:pt x="773" y="2741"/>
                  </a:lnTo>
                  <a:lnTo>
                    <a:pt x="731" y="2724"/>
                  </a:lnTo>
                  <a:lnTo>
                    <a:pt x="695" y="2707"/>
                  </a:lnTo>
                  <a:lnTo>
                    <a:pt x="663" y="2688"/>
                  </a:lnTo>
                  <a:lnTo>
                    <a:pt x="637" y="2668"/>
                  </a:lnTo>
                  <a:lnTo>
                    <a:pt x="616" y="2648"/>
                  </a:lnTo>
                  <a:lnTo>
                    <a:pt x="599" y="2627"/>
                  </a:lnTo>
                  <a:lnTo>
                    <a:pt x="586" y="2607"/>
                  </a:lnTo>
                  <a:lnTo>
                    <a:pt x="576" y="2586"/>
                  </a:lnTo>
                  <a:lnTo>
                    <a:pt x="569" y="2567"/>
                  </a:lnTo>
                  <a:lnTo>
                    <a:pt x="564" y="2549"/>
                  </a:lnTo>
                  <a:lnTo>
                    <a:pt x="562" y="2534"/>
                  </a:lnTo>
                  <a:lnTo>
                    <a:pt x="561" y="2519"/>
                  </a:lnTo>
                  <a:lnTo>
                    <a:pt x="561" y="2519"/>
                  </a:lnTo>
                  <a:lnTo>
                    <a:pt x="561" y="2516"/>
                  </a:lnTo>
                  <a:lnTo>
                    <a:pt x="560" y="2505"/>
                  </a:lnTo>
                  <a:lnTo>
                    <a:pt x="559" y="2488"/>
                  </a:lnTo>
                  <a:lnTo>
                    <a:pt x="557" y="2468"/>
                  </a:lnTo>
                  <a:lnTo>
                    <a:pt x="556" y="2444"/>
                  </a:lnTo>
                  <a:lnTo>
                    <a:pt x="554" y="2416"/>
                  </a:lnTo>
                  <a:lnTo>
                    <a:pt x="553" y="2388"/>
                  </a:lnTo>
                  <a:lnTo>
                    <a:pt x="551" y="2359"/>
                  </a:lnTo>
                  <a:lnTo>
                    <a:pt x="550" y="2331"/>
                  </a:lnTo>
                  <a:lnTo>
                    <a:pt x="548" y="2303"/>
                  </a:lnTo>
                  <a:lnTo>
                    <a:pt x="547" y="2278"/>
                  </a:lnTo>
                  <a:lnTo>
                    <a:pt x="546" y="2257"/>
                  </a:lnTo>
                  <a:lnTo>
                    <a:pt x="502" y="2222"/>
                  </a:lnTo>
                  <a:lnTo>
                    <a:pt x="464" y="2184"/>
                  </a:lnTo>
                  <a:lnTo>
                    <a:pt x="431" y="2144"/>
                  </a:lnTo>
                  <a:lnTo>
                    <a:pt x="404" y="2102"/>
                  </a:lnTo>
                  <a:lnTo>
                    <a:pt x="382" y="2057"/>
                  </a:lnTo>
                  <a:lnTo>
                    <a:pt x="367" y="2012"/>
                  </a:lnTo>
                  <a:lnTo>
                    <a:pt x="357" y="1965"/>
                  </a:lnTo>
                  <a:lnTo>
                    <a:pt x="354" y="1918"/>
                  </a:lnTo>
                  <a:lnTo>
                    <a:pt x="352" y="1893"/>
                  </a:lnTo>
                  <a:lnTo>
                    <a:pt x="345" y="1868"/>
                  </a:lnTo>
                  <a:lnTo>
                    <a:pt x="334" y="1842"/>
                  </a:lnTo>
                  <a:lnTo>
                    <a:pt x="319" y="1813"/>
                  </a:lnTo>
                  <a:lnTo>
                    <a:pt x="300" y="1782"/>
                  </a:lnTo>
                  <a:lnTo>
                    <a:pt x="278" y="1747"/>
                  </a:lnTo>
                  <a:lnTo>
                    <a:pt x="251" y="1709"/>
                  </a:lnTo>
                  <a:lnTo>
                    <a:pt x="230" y="1677"/>
                  </a:lnTo>
                  <a:lnTo>
                    <a:pt x="207" y="1643"/>
                  </a:lnTo>
                  <a:lnTo>
                    <a:pt x="184" y="1608"/>
                  </a:lnTo>
                  <a:lnTo>
                    <a:pt x="162" y="1571"/>
                  </a:lnTo>
                  <a:lnTo>
                    <a:pt x="139" y="1532"/>
                  </a:lnTo>
                  <a:lnTo>
                    <a:pt x="117" y="1490"/>
                  </a:lnTo>
                  <a:lnTo>
                    <a:pt x="96" y="1447"/>
                  </a:lnTo>
                  <a:lnTo>
                    <a:pt x="77" y="1400"/>
                  </a:lnTo>
                  <a:lnTo>
                    <a:pt x="57" y="1351"/>
                  </a:lnTo>
                  <a:lnTo>
                    <a:pt x="41" y="1299"/>
                  </a:lnTo>
                  <a:lnTo>
                    <a:pt x="28" y="1244"/>
                  </a:lnTo>
                  <a:lnTo>
                    <a:pt x="16" y="1185"/>
                  </a:lnTo>
                  <a:lnTo>
                    <a:pt x="7" y="1123"/>
                  </a:lnTo>
                  <a:lnTo>
                    <a:pt x="2" y="1058"/>
                  </a:lnTo>
                  <a:lnTo>
                    <a:pt x="0" y="989"/>
                  </a:lnTo>
                  <a:lnTo>
                    <a:pt x="3" y="908"/>
                  </a:lnTo>
                  <a:lnTo>
                    <a:pt x="14" y="829"/>
                  </a:lnTo>
                  <a:lnTo>
                    <a:pt x="30" y="752"/>
                  </a:lnTo>
                  <a:lnTo>
                    <a:pt x="53" y="678"/>
                  </a:lnTo>
                  <a:lnTo>
                    <a:pt x="81" y="605"/>
                  </a:lnTo>
                  <a:lnTo>
                    <a:pt x="115" y="535"/>
                  </a:lnTo>
                  <a:lnTo>
                    <a:pt x="154" y="468"/>
                  </a:lnTo>
                  <a:lnTo>
                    <a:pt x="199" y="406"/>
                  </a:lnTo>
                  <a:lnTo>
                    <a:pt x="249" y="346"/>
                  </a:lnTo>
                  <a:lnTo>
                    <a:pt x="302" y="291"/>
                  </a:lnTo>
                  <a:lnTo>
                    <a:pt x="361" y="239"/>
                  </a:lnTo>
                  <a:lnTo>
                    <a:pt x="422" y="192"/>
                  </a:lnTo>
                  <a:lnTo>
                    <a:pt x="488" y="149"/>
                  </a:lnTo>
                  <a:lnTo>
                    <a:pt x="557" y="111"/>
                  </a:lnTo>
                  <a:lnTo>
                    <a:pt x="630" y="79"/>
                  </a:lnTo>
                  <a:lnTo>
                    <a:pt x="705" y="51"/>
                  </a:lnTo>
                  <a:lnTo>
                    <a:pt x="783" y="30"/>
                  </a:lnTo>
                  <a:lnTo>
                    <a:pt x="863" y="14"/>
                  </a:lnTo>
                  <a:lnTo>
                    <a:pt x="946" y="4"/>
                  </a:lnTo>
                  <a:lnTo>
                    <a:pt x="10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2" name="Freeform 28"/>
            <p:cNvSpPr>
              <a:spLocks/>
            </p:cNvSpPr>
            <p:nvPr/>
          </p:nvSpPr>
          <p:spPr bwMode="auto">
            <a:xfrm>
              <a:off x="6823075" y="1300163"/>
              <a:ext cx="14287" cy="36513"/>
            </a:xfrm>
            <a:custGeom>
              <a:avLst/>
              <a:gdLst>
                <a:gd name="T0" fmla="*/ 65 w 130"/>
                <a:gd name="T1" fmla="*/ 0 h 322"/>
                <a:gd name="T2" fmla="*/ 65 w 130"/>
                <a:gd name="T3" fmla="*/ 0 h 322"/>
                <a:gd name="T4" fmla="*/ 82 w 130"/>
                <a:gd name="T5" fmla="*/ 2 h 322"/>
                <a:gd name="T6" fmla="*/ 98 w 130"/>
                <a:gd name="T7" fmla="*/ 8 h 322"/>
                <a:gd name="T8" fmla="*/ 111 w 130"/>
                <a:gd name="T9" fmla="*/ 19 h 322"/>
                <a:gd name="T10" fmla="*/ 121 w 130"/>
                <a:gd name="T11" fmla="*/ 32 h 322"/>
                <a:gd name="T12" fmla="*/ 128 w 130"/>
                <a:gd name="T13" fmla="*/ 47 h 322"/>
                <a:gd name="T14" fmla="*/ 130 w 130"/>
                <a:gd name="T15" fmla="*/ 64 h 322"/>
                <a:gd name="T16" fmla="*/ 130 w 130"/>
                <a:gd name="T17" fmla="*/ 258 h 322"/>
                <a:gd name="T18" fmla="*/ 128 w 130"/>
                <a:gd name="T19" fmla="*/ 276 h 322"/>
                <a:gd name="T20" fmla="*/ 121 w 130"/>
                <a:gd name="T21" fmla="*/ 290 h 322"/>
                <a:gd name="T22" fmla="*/ 111 w 130"/>
                <a:gd name="T23" fmla="*/ 304 h 322"/>
                <a:gd name="T24" fmla="*/ 98 w 130"/>
                <a:gd name="T25" fmla="*/ 314 h 322"/>
                <a:gd name="T26" fmla="*/ 82 w 130"/>
                <a:gd name="T27" fmla="*/ 320 h 322"/>
                <a:gd name="T28" fmla="*/ 65 w 130"/>
                <a:gd name="T29" fmla="*/ 322 h 322"/>
                <a:gd name="T30" fmla="*/ 48 w 130"/>
                <a:gd name="T31" fmla="*/ 320 h 322"/>
                <a:gd name="T32" fmla="*/ 32 w 130"/>
                <a:gd name="T33" fmla="*/ 314 h 322"/>
                <a:gd name="T34" fmla="*/ 19 w 130"/>
                <a:gd name="T35" fmla="*/ 304 h 322"/>
                <a:gd name="T36" fmla="*/ 8 w 130"/>
                <a:gd name="T37" fmla="*/ 290 h 322"/>
                <a:gd name="T38" fmla="*/ 2 w 130"/>
                <a:gd name="T39" fmla="*/ 276 h 322"/>
                <a:gd name="T40" fmla="*/ 0 w 130"/>
                <a:gd name="T41" fmla="*/ 258 h 322"/>
                <a:gd name="T42" fmla="*/ 0 w 130"/>
                <a:gd name="T43" fmla="*/ 64 h 322"/>
                <a:gd name="T44" fmla="*/ 2 w 130"/>
                <a:gd name="T45" fmla="*/ 47 h 322"/>
                <a:gd name="T46" fmla="*/ 8 w 130"/>
                <a:gd name="T47" fmla="*/ 32 h 322"/>
                <a:gd name="T48" fmla="*/ 19 w 130"/>
                <a:gd name="T49" fmla="*/ 19 h 322"/>
                <a:gd name="T50" fmla="*/ 32 w 130"/>
                <a:gd name="T51" fmla="*/ 8 h 322"/>
                <a:gd name="T52" fmla="*/ 48 w 130"/>
                <a:gd name="T53" fmla="*/ 2 h 322"/>
                <a:gd name="T54" fmla="*/ 65 w 130"/>
                <a:gd name="T5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0" h="322">
                  <a:moveTo>
                    <a:pt x="65" y="0"/>
                  </a:moveTo>
                  <a:lnTo>
                    <a:pt x="65" y="0"/>
                  </a:lnTo>
                  <a:lnTo>
                    <a:pt x="82" y="2"/>
                  </a:lnTo>
                  <a:lnTo>
                    <a:pt x="98" y="8"/>
                  </a:lnTo>
                  <a:lnTo>
                    <a:pt x="111" y="19"/>
                  </a:lnTo>
                  <a:lnTo>
                    <a:pt x="121" y="32"/>
                  </a:lnTo>
                  <a:lnTo>
                    <a:pt x="128" y="47"/>
                  </a:lnTo>
                  <a:lnTo>
                    <a:pt x="130" y="64"/>
                  </a:lnTo>
                  <a:lnTo>
                    <a:pt x="130" y="258"/>
                  </a:lnTo>
                  <a:lnTo>
                    <a:pt x="128" y="276"/>
                  </a:lnTo>
                  <a:lnTo>
                    <a:pt x="121" y="290"/>
                  </a:lnTo>
                  <a:lnTo>
                    <a:pt x="111" y="304"/>
                  </a:lnTo>
                  <a:lnTo>
                    <a:pt x="98" y="314"/>
                  </a:lnTo>
                  <a:lnTo>
                    <a:pt x="82" y="320"/>
                  </a:lnTo>
                  <a:lnTo>
                    <a:pt x="65" y="322"/>
                  </a:lnTo>
                  <a:lnTo>
                    <a:pt x="48" y="320"/>
                  </a:lnTo>
                  <a:lnTo>
                    <a:pt x="32" y="314"/>
                  </a:lnTo>
                  <a:lnTo>
                    <a:pt x="19" y="304"/>
                  </a:lnTo>
                  <a:lnTo>
                    <a:pt x="8" y="290"/>
                  </a:lnTo>
                  <a:lnTo>
                    <a:pt x="2" y="276"/>
                  </a:lnTo>
                  <a:lnTo>
                    <a:pt x="0" y="258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2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3" name="Freeform 29"/>
            <p:cNvSpPr>
              <a:spLocks/>
            </p:cNvSpPr>
            <p:nvPr/>
          </p:nvSpPr>
          <p:spPr bwMode="auto">
            <a:xfrm>
              <a:off x="6738938" y="1320800"/>
              <a:ext cx="26987" cy="34925"/>
            </a:xfrm>
            <a:custGeom>
              <a:avLst/>
              <a:gdLst>
                <a:gd name="T0" fmla="*/ 65 w 228"/>
                <a:gd name="T1" fmla="*/ 0 h 298"/>
                <a:gd name="T2" fmla="*/ 82 w 228"/>
                <a:gd name="T3" fmla="*/ 2 h 298"/>
                <a:gd name="T4" fmla="*/ 97 w 228"/>
                <a:gd name="T5" fmla="*/ 9 h 298"/>
                <a:gd name="T6" fmla="*/ 111 w 228"/>
                <a:gd name="T7" fmla="*/ 19 h 298"/>
                <a:gd name="T8" fmla="*/ 121 w 228"/>
                <a:gd name="T9" fmla="*/ 33 h 298"/>
                <a:gd name="T10" fmla="*/ 219 w 228"/>
                <a:gd name="T11" fmla="*/ 201 h 298"/>
                <a:gd name="T12" fmla="*/ 225 w 228"/>
                <a:gd name="T13" fmla="*/ 217 h 298"/>
                <a:gd name="T14" fmla="*/ 228 w 228"/>
                <a:gd name="T15" fmla="*/ 234 h 298"/>
                <a:gd name="T16" fmla="*/ 225 w 228"/>
                <a:gd name="T17" fmla="*/ 250 h 298"/>
                <a:gd name="T18" fmla="*/ 219 w 228"/>
                <a:gd name="T19" fmla="*/ 265 h 298"/>
                <a:gd name="T20" fmla="*/ 209 w 228"/>
                <a:gd name="T21" fmla="*/ 279 h 298"/>
                <a:gd name="T22" fmla="*/ 196 w 228"/>
                <a:gd name="T23" fmla="*/ 290 h 298"/>
                <a:gd name="T24" fmla="*/ 180 w 228"/>
                <a:gd name="T25" fmla="*/ 296 h 298"/>
                <a:gd name="T26" fmla="*/ 163 w 228"/>
                <a:gd name="T27" fmla="*/ 298 h 298"/>
                <a:gd name="T28" fmla="*/ 146 w 228"/>
                <a:gd name="T29" fmla="*/ 296 h 298"/>
                <a:gd name="T30" fmla="*/ 131 w 228"/>
                <a:gd name="T31" fmla="*/ 290 h 298"/>
                <a:gd name="T32" fmla="*/ 117 w 228"/>
                <a:gd name="T33" fmla="*/ 279 h 298"/>
                <a:gd name="T34" fmla="*/ 106 w 228"/>
                <a:gd name="T35" fmla="*/ 265 h 298"/>
                <a:gd name="T36" fmla="*/ 8 w 228"/>
                <a:gd name="T37" fmla="*/ 97 h 298"/>
                <a:gd name="T38" fmla="*/ 2 w 228"/>
                <a:gd name="T39" fmla="*/ 82 h 298"/>
                <a:gd name="T40" fmla="*/ 0 w 228"/>
                <a:gd name="T41" fmla="*/ 65 h 298"/>
                <a:gd name="T42" fmla="*/ 2 w 228"/>
                <a:gd name="T43" fmla="*/ 49 h 298"/>
                <a:gd name="T44" fmla="*/ 8 w 228"/>
                <a:gd name="T45" fmla="*/ 33 h 298"/>
                <a:gd name="T46" fmla="*/ 19 w 228"/>
                <a:gd name="T47" fmla="*/ 20 h 298"/>
                <a:gd name="T48" fmla="*/ 32 w 228"/>
                <a:gd name="T49" fmla="*/ 10 h 298"/>
                <a:gd name="T50" fmla="*/ 49 w 228"/>
                <a:gd name="T51" fmla="*/ 2 h 298"/>
                <a:gd name="T52" fmla="*/ 65 w 228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8">
                  <a:moveTo>
                    <a:pt x="65" y="0"/>
                  </a:moveTo>
                  <a:lnTo>
                    <a:pt x="82" y="2"/>
                  </a:lnTo>
                  <a:lnTo>
                    <a:pt x="97" y="9"/>
                  </a:lnTo>
                  <a:lnTo>
                    <a:pt x="111" y="19"/>
                  </a:lnTo>
                  <a:lnTo>
                    <a:pt x="121" y="33"/>
                  </a:lnTo>
                  <a:lnTo>
                    <a:pt x="219" y="201"/>
                  </a:lnTo>
                  <a:lnTo>
                    <a:pt x="225" y="217"/>
                  </a:lnTo>
                  <a:lnTo>
                    <a:pt x="228" y="234"/>
                  </a:lnTo>
                  <a:lnTo>
                    <a:pt x="225" y="250"/>
                  </a:lnTo>
                  <a:lnTo>
                    <a:pt x="219" y="265"/>
                  </a:lnTo>
                  <a:lnTo>
                    <a:pt x="209" y="279"/>
                  </a:lnTo>
                  <a:lnTo>
                    <a:pt x="196" y="290"/>
                  </a:lnTo>
                  <a:lnTo>
                    <a:pt x="180" y="296"/>
                  </a:lnTo>
                  <a:lnTo>
                    <a:pt x="163" y="298"/>
                  </a:lnTo>
                  <a:lnTo>
                    <a:pt x="146" y="296"/>
                  </a:lnTo>
                  <a:lnTo>
                    <a:pt x="131" y="290"/>
                  </a:lnTo>
                  <a:lnTo>
                    <a:pt x="117" y="279"/>
                  </a:lnTo>
                  <a:lnTo>
                    <a:pt x="106" y="265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20"/>
                  </a:lnTo>
                  <a:lnTo>
                    <a:pt x="32" y="10"/>
                  </a:lnTo>
                  <a:lnTo>
                    <a:pt x="49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4" name="Freeform 30"/>
            <p:cNvSpPr>
              <a:spLocks/>
            </p:cNvSpPr>
            <p:nvPr/>
          </p:nvSpPr>
          <p:spPr bwMode="auto">
            <a:xfrm>
              <a:off x="6678613" y="1382713"/>
              <a:ext cx="33337" cy="25400"/>
            </a:xfrm>
            <a:custGeom>
              <a:avLst/>
              <a:gdLst>
                <a:gd name="T0" fmla="*/ 65 w 299"/>
                <a:gd name="T1" fmla="*/ 0 h 226"/>
                <a:gd name="T2" fmla="*/ 81 w 299"/>
                <a:gd name="T3" fmla="*/ 2 h 226"/>
                <a:gd name="T4" fmla="*/ 98 w 299"/>
                <a:gd name="T5" fmla="*/ 8 h 226"/>
                <a:gd name="T6" fmla="*/ 267 w 299"/>
                <a:gd name="T7" fmla="*/ 104 h 226"/>
                <a:gd name="T8" fmla="*/ 281 w 299"/>
                <a:gd name="T9" fmla="*/ 116 h 226"/>
                <a:gd name="T10" fmla="*/ 290 w 299"/>
                <a:gd name="T11" fmla="*/ 129 h 226"/>
                <a:gd name="T12" fmla="*/ 297 w 299"/>
                <a:gd name="T13" fmla="*/ 144 h 226"/>
                <a:gd name="T14" fmla="*/ 299 w 299"/>
                <a:gd name="T15" fmla="*/ 160 h 226"/>
                <a:gd name="T16" fmla="*/ 297 w 299"/>
                <a:gd name="T17" fmla="*/ 177 h 226"/>
                <a:gd name="T18" fmla="*/ 290 w 299"/>
                <a:gd name="T19" fmla="*/ 193 h 226"/>
                <a:gd name="T20" fmla="*/ 280 w 299"/>
                <a:gd name="T21" fmla="*/ 207 h 226"/>
                <a:gd name="T22" fmla="*/ 266 w 299"/>
                <a:gd name="T23" fmla="*/ 217 h 226"/>
                <a:gd name="T24" fmla="*/ 250 w 299"/>
                <a:gd name="T25" fmla="*/ 224 h 226"/>
                <a:gd name="T26" fmla="*/ 234 w 299"/>
                <a:gd name="T27" fmla="*/ 226 h 226"/>
                <a:gd name="T28" fmla="*/ 217 w 299"/>
                <a:gd name="T29" fmla="*/ 224 h 226"/>
                <a:gd name="T30" fmla="*/ 201 w 299"/>
                <a:gd name="T31" fmla="*/ 216 h 226"/>
                <a:gd name="T32" fmla="*/ 32 w 299"/>
                <a:gd name="T33" fmla="*/ 120 h 226"/>
                <a:gd name="T34" fmla="*/ 18 w 299"/>
                <a:gd name="T35" fmla="*/ 110 h 226"/>
                <a:gd name="T36" fmla="*/ 8 w 299"/>
                <a:gd name="T37" fmla="*/ 96 h 226"/>
                <a:gd name="T38" fmla="*/ 2 w 299"/>
                <a:gd name="T39" fmla="*/ 81 h 226"/>
                <a:gd name="T40" fmla="*/ 0 w 299"/>
                <a:gd name="T41" fmla="*/ 64 h 226"/>
                <a:gd name="T42" fmla="*/ 2 w 299"/>
                <a:gd name="T43" fmla="*/ 47 h 226"/>
                <a:gd name="T44" fmla="*/ 8 w 299"/>
                <a:gd name="T45" fmla="*/ 31 h 226"/>
                <a:gd name="T46" fmla="*/ 19 w 299"/>
                <a:gd name="T47" fmla="*/ 18 h 226"/>
                <a:gd name="T48" fmla="*/ 33 w 299"/>
                <a:gd name="T49" fmla="*/ 8 h 226"/>
                <a:gd name="T50" fmla="*/ 48 w 299"/>
                <a:gd name="T51" fmla="*/ 2 h 226"/>
                <a:gd name="T52" fmla="*/ 65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65" y="0"/>
                  </a:moveTo>
                  <a:lnTo>
                    <a:pt x="81" y="2"/>
                  </a:lnTo>
                  <a:lnTo>
                    <a:pt x="98" y="8"/>
                  </a:lnTo>
                  <a:lnTo>
                    <a:pt x="267" y="104"/>
                  </a:lnTo>
                  <a:lnTo>
                    <a:pt x="281" y="116"/>
                  </a:lnTo>
                  <a:lnTo>
                    <a:pt x="290" y="129"/>
                  </a:lnTo>
                  <a:lnTo>
                    <a:pt x="297" y="144"/>
                  </a:lnTo>
                  <a:lnTo>
                    <a:pt x="299" y="160"/>
                  </a:lnTo>
                  <a:lnTo>
                    <a:pt x="297" y="177"/>
                  </a:lnTo>
                  <a:lnTo>
                    <a:pt x="290" y="193"/>
                  </a:lnTo>
                  <a:lnTo>
                    <a:pt x="280" y="207"/>
                  </a:lnTo>
                  <a:lnTo>
                    <a:pt x="266" y="217"/>
                  </a:lnTo>
                  <a:lnTo>
                    <a:pt x="250" y="224"/>
                  </a:lnTo>
                  <a:lnTo>
                    <a:pt x="234" y="226"/>
                  </a:lnTo>
                  <a:lnTo>
                    <a:pt x="217" y="224"/>
                  </a:lnTo>
                  <a:lnTo>
                    <a:pt x="201" y="216"/>
                  </a:lnTo>
                  <a:lnTo>
                    <a:pt x="32" y="120"/>
                  </a:lnTo>
                  <a:lnTo>
                    <a:pt x="18" y="110"/>
                  </a:lnTo>
                  <a:lnTo>
                    <a:pt x="8" y="96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3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Freeform 31"/>
            <p:cNvSpPr>
              <a:spLocks/>
            </p:cNvSpPr>
            <p:nvPr/>
          </p:nvSpPr>
          <p:spPr bwMode="auto">
            <a:xfrm>
              <a:off x="6656388" y="1463675"/>
              <a:ext cx="36512" cy="15875"/>
            </a:xfrm>
            <a:custGeom>
              <a:avLst/>
              <a:gdLst>
                <a:gd name="T0" fmla="*/ 65 w 325"/>
                <a:gd name="T1" fmla="*/ 0 h 129"/>
                <a:gd name="T2" fmla="*/ 261 w 325"/>
                <a:gd name="T3" fmla="*/ 0 h 129"/>
                <a:gd name="T4" fmla="*/ 278 w 325"/>
                <a:gd name="T5" fmla="*/ 3 h 129"/>
                <a:gd name="T6" fmla="*/ 294 w 325"/>
                <a:gd name="T7" fmla="*/ 9 h 129"/>
                <a:gd name="T8" fmla="*/ 306 w 325"/>
                <a:gd name="T9" fmla="*/ 19 h 129"/>
                <a:gd name="T10" fmla="*/ 317 w 325"/>
                <a:gd name="T11" fmla="*/ 32 h 129"/>
                <a:gd name="T12" fmla="*/ 323 w 325"/>
                <a:gd name="T13" fmla="*/ 47 h 129"/>
                <a:gd name="T14" fmla="*/ 325 w 325"/>
                <a:gd name="T15" fmla="*/ 65 h 129"/>
                <a:gd name="T16" fmla="*/ 323 w 325"/>
                <a:gd name="T17" fmla="*/ 82 h 129"/>
                <a:gd name="T18" fmla="*/ 317 w 325"/>
                <a:gd name="T19" fmla="*/ 97 h 129"/>
                <a:gd name="T20" fmla="*/ 306 w 325"/>
                <a:gd name="T21" fmla="*/ 110 h 129"/>
                <a:gd name="T22" fmla="*/ 294 w 325"/>
                <a:gd name="T23" fmla="*/ 120 h 129"/>
                <a:gd name="T24" fmla="*/ 278 w 325"/>
                <a:gd name="T25" fmla="*/ 127 h 129"/>
                <a:gd name="T26" fmla="*/ 261 w 325"/>
                <a:gd name="T27" fmla="*/ 129 h 129"/>
                <a:gd name="T28" fmla="*/ 65 w 325"/>
                <a:gd name="T29" fmla="*/ 129 h 129"/>
                <a:gd name="T30" fmla="*/ 48 w 325"/>
                <a:gd name="T31" fmla="*/ 127 h 129"/>
                <a:gd name="T32" fmla="*/ 33 w 325"/>
                <a:gd name="T33" fmla="*/ 120 h 129"/>
                <a:gd name="T34" fmla="*/ 19 w 325"/>
                <a:gd name="T35" fmla="*/ 110 h 129"/>
                <a:gd name="T36" fmla="*/ 10 w 325"/>
                <a:gd name="T37" fmla="*/ 97 h 129"/>
                <a:gd name="T38" fmla="*/ 2 w 325"/>
                <a:gd name="T39" fmla="*/ 82 h 129"/>
                <a:gd name="T40" fmla="*/ 0 w 325"/>
                <a:gd name="T41" fmla="*/ 65 h 129"/>
                <a:gd name="T42" fmla="*/ 2 w 325"/>
                <a:gd name="T43" fmla="*/ 47 h 129"/>
                <a:gd name="T44" fmla="*/ 10 w 325"/>
                <a:gd name="T45" fmla="*/ 32 h 129"/>
                <a:gd name="T46" fmla="*/ 19 w 325"/>
                <a:gd name="T47" fmla="*/ 19 h 129"/>
                <a:gd name="T48" fmla="*/ 33 w 325"/>
                <a:gd name="T49" fmla="*/ 9 h 129"/>
                <a:gd name="T50" fmla="*/ 48 w 325"/>
                <a:gd name="T51" fmla="*/ 3 h 129"/>
                <a:gd name="T52" fmla="*/ 65 w 325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5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7" y="32"/>
                  </a:lnTo>
                  <a:lnTo>
                    <a:pt x="323" y="47"/>
                  </a:lnTo>
                  <a:lnTo>
                    <a:pt x="325" y="65"/>
                  </a:lnTo>
                  <a:lnTo>
                    <a:pt x="323" y="82"/>
                  </a:lnTo>
                  <a:lnTo>
                    <a:pt x="317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3" y="120"/>
                  </a:lnTo>
                  <a:lnTo>
                    <a:pt x="19" y="110"/>
                  </a:lnTo>
                  <a:lnTo>
                    <a:pt x="10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10" y="32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Freeform 32"/>
            <p:cNvSpPr>
              <a:spLocks/>
            </p:cNvSpPr>
            <p:nvPr/>
          </p:nvSpPr>
          <p:spPr bwMode="auto">
            <a:xfrm>
              <a:off x="6678613" y="1536700"/>
              <a:ext cx="33337" cy="25400"/>
            </a:xfrm>
            <a:custGeom>
              <a:avLst/>
              <a:gdLst>
                <a:gd name="T0" fmla="*/ 234 w 299"/>
                <a:gd name="T1" fmla="*/ 0 h 227"/>
                <a:gd name="T2" fmla="*/ 251 w 299"/>
                <a:gd name="T3" fmla="*/ 3 h 227"/>
                <a:gd name="T4" fmla="*/ 266 w 299"/>
                <a:gd name="T5" fmla="*/ 9 h 227"/>
                <a:gd name="T6" fmla="*/ 280 w 299"/>
                <a:gd name="T7" fmla="*/ 19 h 227"/>
                <a:gd name="T8" fmla="*/ 290 w 299"/>
                <a:gd name="T9" fmla="*/ 33 h 227"/>
                <a:gd name="T10" fmla="*/ 297 w 299"/>
                <a:gd name="T11" fmla="*/ 49 h 227"/>
                <a:gd name="T12" fmla="*/ 299 w 299"/>
                <a:gd name="T13" fmla="*/ 66 h 227"/>
                <a:gd name="T14" fmla="*/ 297 w 299"/>
                <a:gd name="T15" fmla="*/ 82 h 227"/>
                <a:gd name="T16" fmla="*/ 290 w 299"/>
                <a:gd name="T17" fmla="*/ 97 h 227"/>
                <a:gd name="T18" fmla="*/ 280 w 299"/>
                <a:gd name="T19" fmla="*/ 111 h 227"/>
                <a:gd name="T20" fmla="*/ 267 w 299"/>
                <a:gd name="T21" fmla="*/ 122 h 227"/>
                <a:gd name="T22" fmla="*/ 98 w 299"/>
                <a:gd name="T23" fmla="*/ 218 h 227"/>
                <a:gd name="T24" fmla="*/ 82 w 299"/>
                <a:gd name="T25" fmla="*/ 224 h 227"/>
                <a:gd name="T26" fmla="*/ 65 w 299"/>
                <a:gd name="T27" fmla="*/ 227 h 227"/>
                <a:gd name="T28" fmla="*/ 48 w 299"/>
                <a:gd name="T29" fmla="*/ 224 h 227"/>
                <a:gd name="T30" fmla="*/ 33 w 299"/>
                <a:gd name="T31" fmla="*/ 219 h 227"/>
                <a:gd name="T32" fmla="*/ 19 w 299"/>
                <a:gd name="T33" fmla="*/ 208 h 227"/>
                <a:gd name="T34" fmla="*/ 8 w 299"/>
                <a:gd name="T35" fmla="*/ 195 h 227"/>
                <a:gd name="T36" fmla="*/ 2 w 299"/>
                <a:gd name="T37" fmla="*/ 179 h 227"/>
                <a:gd name="T38" fmla="*/ 0 w 299"/>
                <a:gd name="T39" fmla="*/ 162 h 227"/>
                <a:gd name="T40" fmla="*/ 2 w 299"/>
                <a:gd name="T41" fmla="*/ 146 h 227"/>
                <a:gd name="T42" fmla="*/ 8 w 299"/>
                <a:gd name="T43" fmla="*/ 130 h 227"/>
                <a:gd name="T44" fmla="*/ 18 w 299"/>
                <a:gd name="T45" fmla="*/ 117 h 227"/>
                <a:gd name="T46" fmla="*/ 32 w 299"/>
                <a:gd name="T47" fmla="*/ 107 h 227"/>
                <a:gd name="T48" fmla="*/ 201 w 299"/>
                <a:gd name="T49" fmla="*/ 10 h 227"/>
                <a:gd name="T50" fmla="*/ 218 w 299"/>
                <a:gd name="T51" fmla="*/ 2 h 227"/>
                <a:gd name="T52" fmla="*/ 234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234" y="0"/>
                  </a:moveTo>
                  <a:lnTo>
                    <a:pt x="251" y="3"/>
                  </a:lnTo>
                  <a:lnTo>
                    <a:pt x="266" y="9"/>
                  </a:lnTo>
                  <a:lnTo>
                    <a:pt x="280" y="19"/>
                  </a:lnTo>
                  <a:lnTo>
                    <a:pt x="290" y="33"/>
                  </a:lnTo>
                  <a:lnTo>
                    <a:pt x="297" y="49"/>
                  </a:lnTo>
                  <a:lnTo>
                    <a:pt x="299" y="66"/>
                  </a:lnTo>
                  <a:lnTo>
                    <a:pt x="297" y="82"/>
                  </a:lnTo>
                  <a:lnTo>
                    <a:pt x="290" y="97"/>
                  </a:lnTo>
                  <a:lnTo>
                    <a:pt x="280" y="111"/>
                  </a:lnTo>
                  <a:lnTo>
                    <a:pt x="267" y="122"/>
                  </a:lnTo>
                  <a:lnTo>
                    <a:pt x="98" y="218"/>
                  </a:lnTo>
                  <a:lnTo>
                    <a:pt x="82" y="224"/>
                  </a:lnTo>
                  <a:lnTo>
                    <a:pt x="65" y="227"/>
                  </a:lnTo>
                  <a:lnTo>
                    <a:pt x="48" y="224"/>
                  </a:lnTo>
                  <a:lnTo>
                    <a:pt x="33" y="219"/>
                  </a:lnTo>
                  <a:lnTo>
                    <a:pt x="19" y="208"/>
                  </a:lnTo>
                  <a:lnTo>
                    <a:pt x="8" y="195"/>
                  </a:lnTo>
                  <a:lnTo>
                    <a:pt x="2" y="179"/>
                  </a:lnTo>
                  <a:lnTo>
                    <a:pt x="0" y="162"/>
                  </a:lnTo>
                  <a:lnTo>
                    <a:pt x="2" y="146"/>
                  </a:lnTo>
                  <a:lnTo>
                    <a:pt x="8" y="130"/>
                  </a:lnTo>
                  <a:lnTo>
                    <a:pt x="18" y="117"/>
                  </a:lnTo>
                  <a:lnTo>
                    <a:pt x="32" y="107"/>
                  </a:lnTo>
                  <a:lnTo>
                    <a:pt x="201" y="10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7" name="Freeform 33"/>
            <p:cNvSpPr>
              <a:spLocks/>
            </p:cNvSpPr>
            <p:nvPr/>
          </p:nvSpPr>
          <p:spPr bwMode="auto">
            <a:xfrm>
              <a:off x="6946900" y="1536700"/>
              <a:ext cx="34925" cy="25400"/>
            </a:xfrm>
            <a:custGeom>
              <a:avLst/>
              <a:gdLst>
                <a:gd name="T0" fmla="*/ 65 w 299"/>
                <a:gd name="T1" fmla="*/ 0 h 227"/>
                <a:gd name="T2" fmla="*/ 82 w 299"/>
                <a:gd name="T3" fmla="*/ 2 h 227"/>
                <a:gd name="T4" fmla="*/ 98 w 299"/>
                <a:gd name="T5" fmla="*/ 10 h 227"/>
                <a:gd name="T6" fmla="*/ 267 w 299"/>
                <a:gd name="T7" fmla="*/ 107 h 227"/>
                <a:gd name="T8" fmla="*/ 281 w 299"/>
                <a:gd name="T9" fmla="*/ 117 h 227"/>
                <a:gd name="T10" fmla="*/ 290 w 299"/>
                <a:gd name="T11" fmla="*/ 130 h 227"/>
                <a:gd name="T12" fmla="*/ 297 w 299"/>
                <a:gd name="T13" fmla="*/ 146 h 227"/>
                <a:gd name="T14" fmla="*/ 299 w 299"/>
                <a:gd name="T15" fmla="*/ 162 h 227"/>
                <a:gd name="T16" fmla="*/ 297 w 299"/>
                <a:gd name="T17" fmla="*/ 179 h 227"/>
                <a:gd name="T18" fmla="*/ 290 w 299"/>
                <a:gd name="T19" fmla="*/ 195 h 227"/>
                <a:gd name="T20" fmla="*/ 280 w 299"/>
                <a:gd name="T21" fmla="*/ 208 h 227"/>
                <a:gd name="T22" fmla="*/ 266 w 299"/>
                <a:gd name="T23" fmla="*/ 219 h 227"/>
                <a:gd name="T24" fmla="*/ 251 w 299"/>
                <a:gd name="T25" fmla="*/ 224 h 227"/>
                <a:gd name="T26" fmla="*/ 234 w 299"/>
                <a:gd name="T27" fmla="*/ 227 h 227"/>
                <a:gd name="T28" fmla="*/ 217 w 299"/>
                <a:gd name="T29" fmla="*/ 224 h 227"/>
                <a:gd name="T30" fmla="*/ 201 w 299"/>
                <a:gd name="T31" fmla="*/ 218 h 227"/>
                <a:gd name="T32" fmla="*/ 32 w 299"/>
                <a:gd name="T33" fmla="*/ 122 h 227"/>
                <a:gd name="T34" fmla="*/ 19 w 299"/>
                <a:gd name="T35" fmla="*/ 111 h 227"/>
                <a:gd name="T36" fmla="*/ 8 w 299"/>
                <a:gd name="T37" fmla="*/ 97 h 227"/>
                <a:gd name="T38" fmla="*/ 2 w 299"/>
                <a:gd name="T39" fmla="*/ 82 h 227"/>
                <a:gd name="T40" fmla="*/ 0 w 299"/>
                <a:gd name="T41" fmla="*/ 66 h 227"/>
                <a:gd name="T42" fmla="*/ 2 w 299"/>
                <a:gd name="T43" fmla="*/ 49 h 227"/>
                <a:gd name="T44" fmla="*/ 8 w 299"/>
                <a:gd name="T45" fmla="*/ 33 h 227"/>
                <a:gd name="T46" fmla="*/ 19 w 299"/>
                <a:gd name="T47" fmla="*/ 19 h 227"/>
                <a:gd name="T48" fmla="*/ 33 w 299"/>
                <a:gd name="T49" fmla="*/ 9 h 227"/>
                <a:gd name="T50" fmla="*/ 48 w 299"/>
                <a:gd name="T51" fmla="*/ 3 h 227"/>
                <a:gd name="T52" fmla="*/ 65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65" y="0"/>
                  </a:moveTo>
                  <a:lnTo>
                    <a:pt x="82" y="2"/>
                  </a:lnTo>
                  <a:lnTo>
                    <a:pt x="98" y="10"/>
                  </a:lnTo>
                  <a:lnTo>
                    <a:pt x="267" y="107"/>
                  </a:lnTo>
                  <a:lnTo>
                    <a:pt x="281" y="117"/>
                  </a:lnTo>
                  <a:lnTo>
                    <a:pt x="290" y="130"/>
                  </a:lnTo>
                  <a:lnTo>
                    <a:pt x="297" y="146"/>
                  </a:lnTo>
                  <a:lnTo>
                    <a:pt x="299" y="162"/>
                  </a:lnTo>
                  <a:lnTo>
                    <a:pt x="297" y="179"/>
                  </a:lnTo>
                  <a:lnTo>
                    <a:pt x="290" y="195"/>
                  </a:lnTo>
                  <a:lnTo>
                    <a:pt x="280" y="208"/>
                  </a:lnTo>
                  <a:lnTo>
                    <a:pt x="266" y="219"/>
                  </a:lnTo>
                  <a:lnTo>
                    <a:pt x="251" y="224"/>
                  </a:lnTo>
                  <a:lnTo>
                    <a:pt x="234" y="227"/>
                  </a:lnTo>
                  <a:lnTo>
                    <a:pt x="217" y="224"/>
                  </a:lnTo>
                  <a:lnTo>
                    <a:pt x="201" y="218"/>
                  </a:lnTo>
                  <a:lnTo>
                    <a:pt x="32" y="122"/>
                  </a:lnTo>
                  <a:lnTo>
                    <a:pt x="19" y="111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6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8" name="Freeform 34"/>
            <p:cNvSpPr>
              <a:spLocks/>
            </p:cNvSpPr>
            <p:nvPr/>
          </p:nvSpPr>
          <p:spPr bwMode="auto">
            <a:xfrm>
              <a:off x="6965950" y="1463675"/>
              <a:ext cx="38100" cy="15875"/>
            </a:xfrm>
            <a:custGeom>
              <a:avLst/>
              <a:gdLst>
                <a:gd name="T0" fmla="*/ 65 w 326"/>
                <a:gd name="T1" fmla="*/ 0 h 129"/>
                <a:gd name="T2" fmla="*/ 261 w 326"/>
                <a:gd name="T3" fmla="*/ 0 h 129"/>
                <a:gd name="T4" fmla="*/ 278 w 326"/>
                <a:gd name="T5" fmla="*/ 3 h 129"/>
                <a:gd name="T6" fmla="*/ 294 w 326"/>
                <a:gd name="T7" fmla="*/ 9 h 129"/>
                <a:gd name="T8" fmla="*/ 306 w 326"/>
                <a:gd name="T9" fmla="*/ 19 h 129"/>
                <a:gd name="T10" fmla="*/ 316 w 326"/>
                <a:gd name="T11" fmla="*/ 32 h 129"/>
                <a:gd name="T12" fmla="*/ 324 w 326"/>
                <a:gd name="T13" fmla="*/ 47 h 129"/>
                <a:gd name="T14" fmla="*/ 326 w 326"/>
                <a:gd name="T15" fmla="*/ 65 h 129"/>
                <a:gd name="T16" fmla="*/ 324 w 326"/>
                <a:gd name="T17" fmla="*/ 82 h 129"/>
                <a:gd name="T18" fmla="*/ 316 w 326"/>
                <a:gd name="T19" fmla="*/ 97 h 129"/>
                <a:gd name="T20" fmla="*/ 306 w 326"/>
                <a:gd name="T21" fmla="*/ 110 h 129"/>
                <a:gd name="T22" fmla="*/ 294 w 326"/>
                <a:gd name="T23" fmla="*/ 120 h 129"/>
                <a:gd name="T24" fmla="*/ 278 w 326"/>
                <a:gd name="T25" fmla="*/ 127 h 129"/>
                <a:gd name="T26" fmla="*/ 261 w 326"/>
                <a:gd name="T27" fmla="*/ 129 h 129"/>
                <a:gd name="T28" fmla="*/ 65 w 326"/>
                <a:gd name="T29" fmla="*/ 129 h 129"/>
                <a:gd name="T30" fmla="*/ 48 w 326"/>
                <a:gd name="T31" fmla="*/ 127 h 129"/>
                <a:gd name="T32" fmla="*/ 32 w 326"/>
                <a:gd name="T33" fmla="*/ 120 h 129"/>
                <a:gd name="T34" fmla="*/ 19 w 326"/>
                <a:gd name="T35" fmla="*/ 110 h 129"/>
                <a:gd name="T36" fmla="*/ 9 w 326"/>
                <a:gd name="T37" fmla="*/ 97 h 129"/>
                <a:gd name="T38" fmla="*/ 2 w 326"/>
                <a:gd name="T39" fmla="*/ 82 h 129"/>
                <a:gd name="T40" fmla="*/ 0 w 326"/>
                <a:gd name="T41" fmla="*/ 65 h 129"/>
                <a:gd name="T42" fmla="*/ 2 w 326"/>
                <a:gd name="T43" fmla="*/ 47 h 129"/>
                <a:gd name="T44" fmla="*/ 9 w 326"/>
                <a:gd name="T45" fmla="*/ 32 h 129"/>
                <a:gd name="T46" fmla="*/ 19 w 326"/>
                <a:gd name="T47" fmla="*/ 19 h 129"/>
                <a:gd name="T48" fmla="*/ 32 w 326"/>
                <a:gd name="T49" fmla="*/ 9 h 129"/>
                <a:gd name="T50" fmla="*/ 48 w 326"/>
                <a:gd name="T51" fmla="*/ 3 h 129"/>
                <a:gd name="T52" fmla="*/ 65 w 326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6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6" y="32"/>
                  </a:lnTo>
                  <a:lnTo>
                    <a:pt x="324" y="47"/>
                  </a:lnTo>
                  <a:lnTo>
                    <a:pt x="326" y="65"/>
                  </a:lnTo>
                  <a:lnTo>
                    <a:pt x="324" y="82"/>
                  </a:lnTo>
                  <a:lnTo>
                    <a:pt x="316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2" y="120"/>
                  </a:lnTo>
                  <a:lnTo>
                    <a:pt x="19" y="110"/>
                  </a:lnTo>
                  <a:lnTo>
                    <a:pt x="9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35"/>
            <p:cNvSpPr>
              <a:spLocks/>
            </p:cNvSpPr>
            <p:nvPr/>
          </p:nvSpPr>
          <p:spPr bwMode="auto">
            <a:xfrm>
              <a:off x="6946900" y="1382713"/>
              <a:ext cx="34925" cy="25400"/>
            </a:xfrm>
            <a:custGeom>
              <a:avLst/>
              <a:gdLst>
                <a:gd name="T0" fmla="*/ 234 w 299"/>
                <a:gd name="T1" fmla="*/ 0 h 226"/>
                <a:gd name="T2" fmla="*/ 251 w 299"/>
                <a:gd name="T3" fmla="*/ 2 h 226"/>
                <a:gd name="T4" fmla="*/ 266 w 299"/>
                <a:gd name="T5" fmla="*/ 8 h 226"/>
                <a:gd name="T6" fmla="*/ 280 w 299"/>
                <a:gd name="T7" fmla="*/ 18 h 226"/>
                <a:gd name="T8" fmla="*/ 290 w 299"/>
                <a:gd name="T9" fmla="*/ 31 h 226"/>
                <a:gd name="T10" fmla="*/ 297 w 299"/>
                <a:gd name="T11" fmla="*/ 47 h 226"/>
                <a:gd name="T12" fmla="*/ 299 w 299"/>
                <a:gd name="T13" fmla="*/ 64 h 226"/>
                <a:gd name="T14" fmla="*/ 297 w 299"/>
                <a:gd name="T15" fmla="*/ 81 h 226"/>
                <a:gd name="T16" fmla="*/ 290 w 299"/>
                <a:gd name="T17" fmla="*/ 96 h 226"/>
                <a:gd name="T18" fmla="*/ 281 w 299"/>
                <a:gd name="T19" fmla="*/ 110 h 226"/>
                <a:gd name="T20" fmla="*/ 267 w 299"/>
                <a:gd name="T21" fmla="*/ 120 h 226"/>
                <a:gd name="T22" fmla="*/ 98 w 299"/>
                <a:gd name="T23" fmla="*/ 216 h 226"/>
                <a:gd name="T24" fmla="*/ 82 w 299"/>
                <a:gd name="T25" fmla="*/ 224 h 226"/>
                <a:gd name="T26" fmla="*/ 65 w 299"/>
                <a:gd name="T27" fmla="*/ 226 h 226"/>
                <a:gd name="T28" fmla="*/ 49 w 299"/>
                <a:gd name="T29" fmla="*/ 224 h 226"/>
                <a:gd name="T30" fmla="*/ 33 w 299"/>
                <a:gd name="T31" fmla="*/ 217 h 226"/>
                <a:gd name="T32" fmla="*/ 19 w 299"/>
                <a:gd name="T33" fmla="*/ 207 h 226"/>
                <a:gd name="T34" fmla="*/ 8 w 299"/>
                <a:gd name="T35" fmla="*/ 193 h 226"/>
                <a:gd name="T36" fmla="*/ 2 w 299"/>
                <a:gd name="T37" fmla="*/ 177 h 226"/>
                <a:gd name="T38" fmla="*/ 0 w 299"/>
                <a:gd name="T39" fmla="*/ 160 h 226"/>
                <a:gd name="T40" fmla="*/ 2 w 299"/>
                <a:gd name="T41" fmla="*/ 144 h 226"/>
                <a:gd name="T42" fmla="*/ 8 w 299"/>
                <a:gd name="T43" fmla="*/ 129 h 226"/>
                <a:gd name="T44" fmla="*/ 19 w 299"/>
                <a:gd name="T45" fmla="*/ 116 h 226"/>
                <a:gd name="T46" fmla="*/ 32 w 299"/>
                <a:gd name="T47" fmla="*/ 104 h 226"/>
                <a:gd name="T48" fmla="*/ 201 w 299"/>
                <a:gd name="T49" fmla="*/ 8 h 226"/>
                <a:gd name="T50" fmla="*/ 218 w 299"/>
                <a:gd name="T51" fmla="*/ 2 h 226"/>
                <a:gd name="T52" fmla="*/ 234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234" y="0"/>
                  </a:moveTo>
                  <a:lnTo>
                    <a:pt x="251" y="2"/>
                  </a:lnTo>
                  <a:lnTo>
                    <a:pt x="266" y="8"/>
                  </a:lnTo>
                  <a:lnTo>
                    <a:pt x="280" y="18"/>
                  </a:lnTo>
                  <a:lnTo>
                    <a:pt x="290" y="31"/>
                  </a:lnTo>
                  <a:lnTo>
                    <a:pt x="297" y="47"/>
                  </a:lnTo>
                  <a:lnTo>
                    <a:pt x="299" y="64"/>
                  </a:lnTo>
                  <a:lnTo>
                    <a:pt x="297" y="81"/>
                  </a:lnTo>
                  <a:lnTo>
                    <a:pt x="290" y="96"/>
                  </a:lnTo>
                  <a:lnTo>
                    <a:pt x="281" y="110"/>
                  </a:lnTo>
                  <a:lnTo>
                    <a:pt x="267" y="120"/>
                  </a:lnTo>
                  <a:lnTo>
                    <a:pt x="98" y="216"/>
                  </a:lnTo>
                  <a:lnTo>
                    <a:pt x="82" y="224"/>
                  </a:lnTo>
                  <a:lnTo>
                    <a:pt x="65" y="226"/>
                  </a:lnTo>
                  <a:lnTo>
                    <a:pt x="49" y="224"/>
                  </a:lnTo>
                  <a:lnTo>
                    <a:pt x="33" y="217"/>
                  </a:lnTo>
                  <a:lnTo>
                    <a:pt x="19" y="207"/>
                  </a:lnTo>
                  <a:lnTo>
                    <a:pt x="8" y="193"/>
                  </a:lnTo>
                  <a:lnTo>
                    <a:pt x="2" y="177"/>
                  </a:lnTo>
                  <a:lnTo>
                    <a:pt x="0" y="160"/>
                  </a:lnTo>
                  <a:lnTo>
                    <a:pt x="2" y="144"/>
                  </a:lnTo>
                  <a:lnTo>
                    <a:pt x="8" y="129"/>
                  </a:lnTo>
                  <a:lnTo>
                    <a:pt x="19" y="116"/>
                  </a:lnTo>
                  <a:lnTo>
                    <a:pt x="32" y="104"/>
                  </a:lnTo>
                  <a:lnTo>
                    <a:pt x="201" y="8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0" name="Freeform 36"/>
            <p:cNvSpPr>
              <a:spLocks/>
            </p:cNvSpPr>
            <p:nvPr/>
          </p:nvSpPr>
          <p:spPr bwMode="auto">
            <a:xfrm>
              <a:off x="6894513" y="1320800"/>
              <a:ext cx="25400" cy="34925"/>
            </a:xfrm>
            <a:custGeom>
              <a:avLst/>
              <a:gdLst>
                <a:gd name="T0" fmla="*/ 162 w 228"/>
                <a:gd name="T1" fmla="*/ 0 h 297"/>
                <a:gd name="T2" fmla="*/ 179 w 228"/>
                <a:gd name="T3" fmla="*/ 2 h 297"/>
                <a:gd name="T4" fmla="*/ 195 w 228"/>
                <a:gd name="T5" fmla="*/ 10 h 297"/>
                <a:gd name="T6" fmla="*/ 209 w 228"/>
                <a:gd name="T7" fmla="*/ 20 h 297"/>
                <a:gd name="T8" fmla="*/ 219 w 228"/>
                <a:gd name="T9" fmla="*/ 33 h 297"/>
                <a:gd name="T10" fmla="*/ 226 w 228"/>
                <a:gd name="T11" fmla="*/ 49 h 297"/>
                <a:gd name="T12" fmla="*/ 228 w 228"/>
                <a:gd name="T13" fmla="*/ 65 h 297"/>
                <a:gd name="T14" fmla="*/ 226 w 228"/>
                <a:gd name="T15" fmla="*/ 82 h 297"/>
                <a:gd name="T16" fmla="*/ 219 w 228"/>
                <a:gd name="T17" fmla="*/ 97 h 297"/>
                <a:gd name="T18" fmla="*/ 121 w 228"/>
                <a:gd name="T19" fmla="*/ 265 h 297"/>
                <a:gd name="T20" fmla="*/ 111 w 228"/>
                <a:gd name="T21" fmla="*/ 279 h 297"/>
                <a:gd name="T22" fmla="*/ 97 w 228"/>
                <a:gd name="T23" fmla="*/ 290 h 297"/>
                <a:gd name="T24" fmla="*/ 82 w 228"/>
                <a:gd name="T25" fmla="*/ 295 h 297"/>
                <a:gd name="T26" fmla="*/ 65 w 228"/>
                <a:gd name="T27" fmla="*/ 297 h 297"/>
                <a:gd name="T28" fmla="*/ 49 w 228"/>
                <a:gd name="T29" fmla="*/ 295 h 297"/>
                <a:gd name="T30" fmla="*/ 33 w 228"/>
                <a:gd name="T31" fmla="*/ 289 h 297"/>
                <a:gd name="T32" fmla="*/ 18 w 228"/>
                <a:gd name="T33" fmla="*/ 278 h 297"/>
                <a:gd name="T34" fmla="*/ 9 w 228"/>
                <a:gd name="T35" fmla="*/ 265 h 297"/>
                <a:gd name="T36" fmla="*/ 2 w 228"/>
                <a:gd name="T37" fmla="*/ 250 h 297"/>
                <a:gd name="T38" fmla="*/ 0 w 228"/>
                <a:gd name="T39" fmla="*/ 234 h 297"/>
                <a:gd name="T40" fmla="*/ 2 w 228"/>
                <a:gd name="T41" fmla="*/ 217 h 297"/>
                <a:gd name="T42" fmla="*/ 9 w 228"/>
                <a:gd name="T43" fmla="*/ 201 h 297"/>
                <a:gd name="T44" fmla="*/ 106 w 228"/>
                <a:gd name="T45" fmla="*/ 33 h 297"/>
                <a:gd name="T46" fmla="*/ 117 w 228"/>
                <a:gd name="T47" fmla="*/ 19 h 297"/>
                <a:gd name="T48" fmla="*/ 131 w 228"/>
                <a:gd name="T49" fmla="*/ 9 h 297"/>
                <a:gd name="T50" fmla="*/ 146 w 228"/>
                <a:gd name="T51" fmla="*/ 2 h 297"/>
                <a:gd name="T52" fmla="*/ 162 w 228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7">
                  <a:moveTo>
                    <a:pt x="162" y="0"/>
                  </a:moveTo>
                  <a:lnTo>
                    <a:pt x="179" y="2"/>
                  </a:lnTo>
                  <a:lnTo>
                    <a:pt x="195" y="10"/>
                  </a:lnTo>
                  <a:lnTo>
                    <a:pt x="209" y="20"/>
                  </a:lnTo>
                  <a:lnTo>
                    <a:pt x="219" y="33"/>
                  </a:lnTo>
                  <a:lnTo>
                    <a:pt x="226" y="49"/>
                  </a:lnTo>
                  <a:lnTo>
                    <a:pt x="228" y="65"/>
                  </a:lnTo>
                  <a:lnTo>
                    <a:pt x="226" y="82"/>
                  </a:lnTo>
                  <a:lnTo>
                    <a:pt x="219" y="97"/>
                  </a:lnTo>
                  <a:lnTo>
                    <a:pt x="121" y="265"/>
                  </a:lnTo>
                  <a:lnTo>
                    <a:pt x="111" y="279"/>
                  </a:lnTo>
                  <a:lnTo>
                    <a:pt x="97" y="290"/>
                  </a:lnTo>
                  <a:lnTo>
                    <a:pt x="82" y="295"/>
                  </a:lnTo>
                  <a:lnTo>
                    <a:pt x="65" y="297"/>
                  </a:lnTo>
                  <a:lnTo>
                    <a:pt x="49" y="295"/>
                  </a:lnTo>
                  <a:lnTo>
                    <a:pt x="33" y="289"/>
                  </a:lnTo>
                  <a:lnTo>
                    <a:pt x="18" y="278"/>
                  </a:lnTo>
                  <a:lnTo>
                    <a:pt x="9" y="265"/>
                  </a:lnTo>
                  <a:lnTo>
                    <a:pt x="2" y="250"/>
                  </a:lnTo>
                  <a:lnTo>
                    <a:pt x="0" y="234"/>
                  </a:lnTo>
                  <a:lnTo>
                    <a:pt x="2" y="217"/>
                  </a:lnTo>
                  <a:lnTo>
                    <a:pt x="9" y="201"/>
                  </a:lnTo>
                  <a:lnTo>
                    <a:pt x="106" y="33"/>
                  </a:lnTo>
                  <a:lnTo>
                    <a:pt x="117" y="19"/>
                  </a:lnTo>
                  <a:lnTo>
                    <a:pt x="131" y="9"/>
                  </a:lnTo>
                  <a:lnTo>
                    <a:pt x="146" y="2"/>
                  </a:lnTo>
                  <a:lnTo>
                    <a:pt x="1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Freeform 37"/>
            <p:cNvSpPr>
              <a:spLocks/>
            </p:cNvSpPr>
            <p:nvPr/>
          </p:nvSpPr>
          <p:spPr bwMode="auto">
            <a:xfrm>
              <a:off x="6811963" y="1409700"/>
              <a:ext cx="34925" cy="114300"/>
            </a:xfrm>
            <a:custGeom>
              <a:avLst/>
              <a:gdLst>
                <a:gd name="T0" fmla="*/ 157 w 313"/>
                <a:gd name="T1" fmla="*/ 0 h 1007"/>
                <a:gd name="T2" fmla="*/ 189 w 313"/>
                <a:gd name="T3" fmla="*/ 2 h 1007"/>
                <a:gd name="T4" fmla="*/ 216 w 313"/>
                <a:gd name="T5" fmla="*/ 7 h 1007"/>
                <a:gd name="T6" fmla="*/ 242 w 313"/>
                <a:gd name="T7" fmla="*/ 17 h 1007"/>
                <a:gd name="T8" fmla="*/ 263 w 313"/>
                <a:gd name="T9" fmla="*/ 31 h 1007"/>
                <a:gd name="T10" fmla="*/ 281 w 313"/>
                <a:gd name="T11" fmla="*/ 48 h 1007"/>
                <a:gd name="T12" fmla="*/ 295 w 313"/>
                <a:gd name="T13" fmla="*/ 68 h 1007"/>
                <a:gd name="T14" fmla="*/ 306 w 313"/>
                <a:gd name="T15" fmla="*/ 92 h 1007"/>
                <a:gd name="T16" fmla="*/ 311 w 313"/>
                <a:gd name="T17" fmla="*/ 120 h 1007"/>
                <a:gd name="T18" fmla="*/ 313 w 313"/>
                <a:gd name="T19" fmla="*/ 152 h 1007"/>
                <a:gd name="T20" fmla="*/ 313 w 313"/>
                <a:gd name="T21" fmla="*/ 380 h 1007"/>
                <a:gd name="T22" fmla="*/ 312 w 313"/>
                <a:gd name="T23" fmla="*/ 411 h 1007"/>
                <a:gd name="T24" fmla="*/ 309 w 313"/>
                <a:gd name="T25" fmla="*/ 442 h 1007"/>
                <a:gd name="T26" fmla="*/ 306 w 313"/>
                <a:gd name="T27" fmla="*/ 473 h 1007"/>
                <a:gd name="T28" fmla="*/ 244 w 313"/>
                <a:gd name="T29" fmla="*/ 934 h 1007"/>
                <a:gd name="T30" fmla="*/ 240 w 313"/>
                <a:gd name="T31" fmla="*/ 956 h 1007"/>
                <a:gd name="T32" fmla="*/ 232 w 313"/>
                <a:gd name="T33" fmla="*/ 974 h 1007"/>
                <a:gd name="T34" fmla="*/ 223 w 313"/>
                <a:gd name="T35" fmla="*/ 987 h 1007"/>
                <a:gd name="T36" fmla="*/ 210 w 313"/>
                <a:gd name="T37" fmla="*/ 996 h 1007"/>
                <a:gd name="T38" fmla="*/ 195 w 313"/>
                <a:gd name="T39" fmla="*/ 1002 h 1007"/>
                <a:gd name="T40" fmla="*/ 177 w 313"/>
                <a:gd name="T41" fmla="*/ 1006 h 1007"/>
                <a:gd name="T42" fmla="*/ 157 w 313"/>
                <a:gd name="T43" fmla="*/ 1007 h 1007"/>
                <a:gd name="T44" fmla="*/ 137 w 313"/>
                <a:gd name="T45" fmla="*/ 1006 h 1007"/>
                <a:gd name="T46" fmla="*/ 118 w 313"/>
                <a:gd name="T47" fmla="*/ 1002 h 1007"/>
                <a:gd name="T48" fmla="*/ 104 w 313"/>
                <a:gd name="T49" fmla="*/ 996 h 1007"/>
                <a:gd name="T50" fmla="*/ 91 w 313"/>
                <a:gd name="T51" fmla="*/ 987 h 1007"/>
                <a:gd name="T52" fmla="*/ 81 w 313"/>
                <a:gd name="T53" fmla="*/ 974 h 1007"/>
                <a:gd name="T54" fmla="*/ 74 w 313"/>
                <a:gd name="T55" fmla="*/ 956 h 1007"/>
                <a:gd name="T56" fmla="*/ 70 w 313"/>
                <a:gd name="T57" fmla="*/ 934 h 1007"/>
                <a:gd name="T58" fmla="*/ 8 w 313"/>
                <a:gd name="T59" fmla="*/ 473 h 1007"/>
                <a:gd name="T60" fmla="*/ 5 w 313"/>
                <a:gd name="T61" fmla="*/ 442 h 1007"/>
                <a:gd name="T62" fmla="*/ 1 w 313"/>
                <a:gd name="T63" fmla="*/ 411 h 1007"/>
                <a:gd name="T64" fmla="*/ 0 w 313"/>
                <a:gd name="T65" fmla="*/ 380 h 1007"/>
                <a:gd name="T66" fmla="*/ 0 w 313"/>
                <a:gd name="T67" fmla="*/ 152 h 1007"/>
                <a:gd name="T68" fmla="*/ 3 w 313"/>
                <a:gd name="T69" fmla="*/ 120 h 1007"/>
                <a:gd name="T70" fmla="*/ 8 w 313"/>
                <a:gd name="T71" fmla="*/ 92 h 1007"/>
                <a:gd name="T72" fmla="*/ 18 w 313"/>
                <a:gd name="T73" fmla="*/ 68 h 1007"/>
                <a:gd name="T74" fmla="*/ 32 w 313"/>
                <a:gd name="T75" fmla="*/ 48 h 1007"/>
                <a:gd name="T76" fmla="*/ 50 w 313"/>
                <a:gd name="T77" fmla="*/ 31 h 1007"/>
                <a:gd name="T78" fmla="*/ 72 w 313"/>
                <a:gd name="T79" fmla="*/ 17 h 1007"/>
                <a:gd name="T80" fmla="*/ 97 w 313"/>
                <a:gd name="T81" fmla="*/ 7 h 1007"/>
                <a:gd name="T82" fmla="*/ 125 w 313"/>
                <a:gd name="T83" fmla="*/ 2 h 1007"/>
                <a:gd name="T84" fmla="*/ 157 w 313"/>
                <a:gd name="T85" fmla="*/ 0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3" h="1007">
                  <a:moveTo>
                    <a:pt x="157" y="0"/>
                  </a:moveTo>
                  <a:lnTo>
                    <a:pt x="189" y="2"/>
                  </a:lnTo>
                  <a:lnTo>
                    <a:pt x="216" y="7"/>
                  </a:lnTo>
                  <a:lnTo>
                    <a:pt x="242" y="17"/>
                  </a:lnTo>
                  <a:lnTo>
                    <a:pt x="263" y="31"/>
                  </a:lnTo>
                  <a:lnTo>
                    <a:pt x="281" y="48"/>
                  </a:lnTo>
                  <a:lnTo>
                    <a:pt x="295" y="68"/>
                  </a:lnTo>
                  <a:lnTo>
                    <a:pt x="306" y="92"/>
                  </a:lnTo>
                  <a:lnTo>
                    <a:pt x="311" y="120"/>
                  </a:lnTo>
                  <a:lnTo>
                    <a:pt x="313" y="152"/>
                  </a:lnTo>
                  <a:lnTo>
                    <a:pt x="313" y="380"/>
                  </a:lnTo>
                  <a:lnTo>
                    <a:pt x="312" y="411"/>
                  </a:lnTo>
                  <a:lnTo>
                    <a:pt x="309" y="442"/>
                  </a:lnTo>
                  <a:lnTo>
                    <a:pt x="306" y="473"/>
                  </a:lnTo>
                  <a:lnTo>
                    <a:pt x="244" y="934"/>
                  </a:lnTo>
                  <a:lnTo>
                    <a:pt x="240" y="956"/>
                  </a:lnTo>
                  <a:lnTo>
                    <a:pt x="232" y="974"/>
                  </a:lnTo>
                  <a:lnTo>
                    <a:pt x="223" y="987"/>
                  </a:lnTo>
                  <a:lnTo>
                    <a:pt x="210" y="996"/>
                  </a:lnTo>
                  <a:lnTo>
                    <a:pt x="195" y="1002"/>
                  </a:lnTo>
                  <a:lnTo>
                    <a:pt x="177" y="1006"/>
                  </a:lnTo>
                  <a:lnTo>
                    <a:pt x="157" y="1007"/>
                  </a:lnTo>
                  <a:lnTo>
                    <a:pt x="137" y="1006"/>
                  </a:lnTo>
                  <a:lnTo>
                    <a:pt x="118" y="1002"/>
                  </a:lnTo>
                  <a:lnTo>
                    <a:pt x="104" y="996"/>
                  </a:lnTo>
                  <a:lnTo>
                    <a:pt x="91" y="987"/>
                  </a:lnTo>
                  <a:lnTo>
                    <a:pt x="81" y="974"/>
                  </a:lnTo>
                  <a:lnTo>
                    <a:pt x="74" y="956"/>
                  </a:lnTo>
                  <a:lnTo>
                    <a:pt x="70" y="934"/>
                  </a:lnTo>
                  <a:lnTo>
                    <a:pt x="8" y="473"/>
                  </a:lnTo>
                  <a:lnTo>
                    <a:pt x="5" y="442"/>
                  </a:lnTo>
                  <a:lnTo>
                    <a:pt x="1" y="411"/>
                  </a:lnTo>
                  <a:lnTo>
                    <a:pt x="0" y="380"/>
                  </a:lnTo>
                  <a:lnTo>
                    <a:pt x="0" y="152"/>
                  </a:lnTo>
                  <a:lnTo>
                    <a:pt x="3" y="120"/>
                  </a:lnTo>
                  <a:lnTo>
                    <a:pt x="8" y="92"/>
                  </a:lnTo>
                  <a:lnTo>
                    <a:pt x="18" y="68"/>
                  </a:lnTo>
                  <a:lnTo>
                    <a:pt x="32" y="48"/>
                  </a:lnTo>
                  <a:lnTo>
                    <a:pt x="50" y="31"/>
                  </a:lnTo>
                  <a:lnTo>
                    <a:pt x="72" y="17"/>
                  </a:lnTo>
                  <a:lnTo>
                    <a:pt x="97" y="7"/>
                  </a:lnTo>
                  <a:lnTo>
                    <a:pt x="125" y="2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Freeform 38"/>
            <p:cNvSpPr>
              <a:spLocks/>
            </p:cNvSpPr>
            <p:nvPr/>
          </p:nvSpPr>
          <p:spPr bwMode="auto">
            <a:xfrm>
              <a:off x="6811963" y="1538288"/>
              <a:ext cx="36512" cy="36513"/>
            </a:xfrm>
            <a:custGeom>
              <a:avLst/>
              <a:gdLst>
                <a:gd name="T0" fmla="*/ 163 w 326"/>
                <a:gd name="T1" fmla="*/ 0 h 323"/>
                <a:gd name="T2" fmla="*/ 196 w 326"/>
                <a:gd name="T3" fmla="*/ 4 h 323"/>
                <a:gd name="T4" fmla="*/ 226 w 326"/>
                <a:gd name="T5" fmla="*/ 13 h 323"/>
                <a:gd name="T6" fmla="*/ 253 w 326"/>
                <a:gd name="T7" fmla="*/ 28 h 323"/>
                <a:gd name="T8" fmla="*/ 278 w 326"/>
                <a:gd name="T9" fmla="*/ 47 h 323"/>
                <a:gd name="T10" fmla="*/ 298 w 326"/>
                <a:gd name="T11" fmla="*/ 71 h 323"/>
                <a:gd name="T12" fmla="*/ 313 w 326"/>
                <a:gd name="T13" fmla="*/ 99 h 323"/>
                <a:gd name="T14" fmla="*/ 322 w 326"/>
                <a:gd name="T15" fmla="*/ 129 h 323"/>
                <a:gd name="T16" fmla="*/ 326 w 326"/>
                <a:gd name="T17" fmla="*/ 161 h 323"/>
                <a:gd name="T18" fmla="*/ 322 w 326"/>
                <a:gd name="T19" fmla="*/ 194 h 323"/>
                <a:gd name="T20" fmla="*/ 313 w 326"/>
                <a:gd name="T21" fmla="*/ 225 h 323"/>
                <a:gd name="T22" fmla="*/ 298 w 326"/>
                <a:gd name="T23" fmla="*/ 252 h 323"/>
                <a:gd name="T24" fmla="*/ 278 w 326"/>
                <a:gd name="T25" fmla="*/ 275 h 323"/>
                <a:gd name="T26" fmla="*/ 253 w 326"/>
                <a:gd name="T27" fmla="*/ 295 h 323"/>
                <a:gd name="T28" fmla="*/ 226 w 326"/>
                <a:gd name="T29" fmla="*/ 310 h 323"/>
                <a:gd name="T30" fmla="*/ 196 w 326"/>
                <a:gd name="T31" fmla="*/ 320 h 323"/>
                <a:gd name="T32" fmla="*/ 163 w 326"/>
                <a:gd name="T33" fmla="*/ 323 h 323"/>
                <a:gd name="T34" fmla="*/ 130 w 326"/>
                <a:gd name="T35" fmla="*/ 320 h 323"/>
                <a:gd name="T36" fmla="*/ 100 w 326"/>
                <a:gd name="T37" fmla="*/ 310 h 323"/>
                <a:gd name="T38" fmla="*/ 72 w 326"/>
                <a:gd name="T39" fmla="*/ 295 h 323"/>
                <a:gd name="T40" fmla="*/ 48 w 326"/>
                <a:gd name="T41" fmla="*/ 275 h 323"/>
                <a:gd name="T42" fmla="*/ 28 w 326"/>
                <a:gd name="T43" fmla="*/ 252 h 323"/>
                <a:gd name="T44" fmla="*/ 13 w 326"/>
                <a:gd name="T45" fmla="*/ 225 h 323"/>
                <a:gd name="T46" fmla="*/ 3 w 326"/>
                <a:gd name="T47" fmla="*/ 194 h 323"/>
                <a:gd name="T48" fmla="*/ 0 w 326"/>
                <a:gd name="T49" fmla="*/ 161 h 323"/>
                <a:gd name="T50" fmla="*/ 3 w 326"/>
                <a:gd name="T51" fmla="*/ 129 h 323"/>
                <a:gd name="T52" fmla="*/ 13 w 326"/>
                <a:gd name="T53" fmla="*/ 99 h 323"/>
                <a:gd name="T54" fmla="*/ 28 w 326"/>
                <a:gd name="T55" fmla="*/ 71 h 323"/>
                <a:gd name="T56" fmla="*/ 48 w 326"/>
                <a:gd name="T57" fmla="*/ 47 h 323"/>
                <a:gd name="T58" fmla="*/ 72 w 326"/>
                <a:gd name="T59" fmla="*/ 28 h 323"/>
                <a:gd name="T60" fmla="*/ 100 w 326"/>
                <a:gd name="T61" fmla="*/ 13 h 323"/>
                <a:gd name="T62" fmla="*/ 130 w 326"/>
                <a:gd name="T63" fmla="*/ 4 h 323"/>
                <a:gd name="T64" fmla="*/ 163 w 326"/>
                <a:gd name="T65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6" h="323">
                  <a:moveTo>
                    <a:pt x="163" y="0"/>
                  </a:moveTo>
                  <a:lnTo>
                    <a:pt x="196" y="4"/>
                  </a:lnTo>
                  <a:lnTo>
                    <a:pt x="226" y="13"/>
                  </a:lnTo>
                  <a:lnTo>
                    <a:pt x="253" y="28"/>
                  </a:lnTo>
                  <a:lnTo>
                    <a:pt x="278" y="47"/>
                  </a:lnTo>
                  <a:lnTo>
                    <a:pt x="298" y="71"/>
                  </a:lnTo>
                  <a:lnTo>
                    <a:pt x="313" y="99"/>
                  </a:lnTo>
                  <a:lnTo>
                    <a:pt x="322" y="129"/>
                  </a:lnTo>
                  <a:lnTo>
                    <a:pt x="326" y="161"/>
                  </a:lnTo>
                  <a:lnTo>
                    <a:pt x="322" y="194"/>
                  </a:lnTo>
                  <a:lnTo>
                    <a:pt x="313" y="225"/>
                  </a:lnTo>
                  <a:lnTo>
                    <a:pt x="298" y="252"/>
                  </a:lnTo>
                  <a:lnTo>
                    <a:pt x="278" y="275"/>
                  </a:lnTo>
                  <a:lnTo>
                    <a:pt x="253" y="295"/>
                  </a:lnTo>
                  <a:lnTo>
                    <a:pt x="226" y="310"/>
                  </a:lnTo>
                  <a:lnTo>
                    <a:pt x="196" y="320"/>
                  </a:lnTo>
                  <a:lnTo>
                    <a:pt x="163" y="323"/>
                  </a:lnTo>
                  <a:lnTo>
                    <a:pt x="130" y="320"/>
                  </a:lnTo>
                  <a:lnTo>
                    <a:pt x="100" y="310"/>
                  </a:lnTo>
                  <a:lnTo>
                    <a:pt x="72" y="295"/>
                  </a:lnTo>
                  <a:lnTo>
                    <a:pt x="48" y="275"/>
                  </a:lnTo>
                  <a:lnTo>
                    <a:pt x="28" y="252"/>
                  </a:lnTo>
                  <a:lnTo>
                    <a:pt x="13" y="225"/>
                  </a:lnTo>
                  <a:lnTo>
                    <a:pt x="3" y="194"/>
                  </a:lnTo>
                  <a:lnTo>
                    <a:pt x="0" y="161"/>
                  </a:lnTo>
                  <a:lnTo>
                    <a:pt x="3" y="129"/>
                  </a:lnTo>
                  <a:lnTo>
                    <a:pt x="13" y="99"/>
                  </a:lnTo>
                  <a:lnTo>
                    <a:pt x="28" y="71"/>
                  </a:lnTo>
                  <a:lnTo>
                    <a:pt x="48" y="47"/>
                  </a:lnTo>
                  <a:lnTo>
                    <a:pt x="72" y="28"/>
                  </a:lnTo>
                  <a:lnTo>
                    <a:pt x="100" y="13"/>
                  </a:lnTo>
                  <a:lnTo>
                    <a:pt x="130" y="4"/>
                  </a:lnTo>
                  <a:lnTo>
                    <a:pt x="1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93" name="Freeform 43"/>
          <p:cNvSpPr>
            <a:spLocks noEditPoints="1"/>
          </p:cNvSpPr>
          <p:nvPr userDrawn="1"/>
        </p:nvSpPr>
        <p:spPr bwMode="auto">
          <a:xfrm>
            <a:off x="4346324" y="4892277"/>
            <a:ext cx="617325" cy="783168"/>
          </a:xfrm>
          <a:custGeom>
            <a:avLst/>
            <a:gdLst>
              <a:gd name="T0" fmla="*/ 1063 w 2784"/>
              <a:gd name="T1" fmla="*/ 1489 h 3336"/>
              <a:gd name="T2" fmla="*/ 1410 w 2784"/>
              <a:gd name="T3" fmla="*/ 1742 h 3336"/>
              <a:gd name="T4" fmla="*/ 1721 w 2784"/>
              <a:gd name="T5" fmla="*/ 1488 h 3336"/>
              <a:gd name="T6" fmla="*/ 1558 w 2784"/>
              <a:gd name="T7" fmla="*/ 1038 h 3336"/>
              <a:gd name="T8" fmla="*/ 2377 w 2784"/>
              <a:gd name="T9" fmla="*/ 901 h 3336"/>
              <a:gd name="T10" fmla="*/ 1879 w 2784"/>
              <a:gd name="T11" fmla="*/ 1012 h 3336"/>
              <a:gd name="T12" fmla="*/ 1879 w 2784"/>
              <a:gd name="T13" fmla="*/ 1771 h 3336"/>
              <a:gd name="T14" fmla="*/ 2378 w 2784"/>
              <a:gd name="T15" fmla="*/ 1882 h 3336"/>
              <a:gd name="T16" fmla="*/ 2554 w 2784"/>
              <a:gd name="T17" fmla="*/ 1548 h 3336"/>
              <a:gd name="T18" fmla="*/ 2524 w 2784"/>
              <a:gd name="T19" fmla="*/ 1085 h 3336"/>
              <a:gd name="T20" fmla="*/ 1740 w 2784"/>
              <a:gd name="T21" fmla="*/ 376 h 3336"/>
              <a:gd name="T22" fmla="*/ 1858 w 2784"/>
              <a:gd name="T23" fmla="*/ 838 h 3336"/>
              <a:gd name="T24" fmla="*/ 2296 w 2784"/>
              <a:gd name="T25" fmla="*/ 743 h 3336"/>
              <a:gd name="T26" fmla="*/ 2093 w 2784"/>
              <a:gd name="T27" fmla="*/ 453 h 3336"/>
              <a:gd name="T28" fmla="*/ 1685 w 2784"/>
              <a:gd name="T29" fmla="*/ 257 h 3336"/>
              <a:gd name="T30" fmla="*/ 727 w 2784"/>
              <a:gd name="T31" fmla="*/ 428 h 3336"/>
              <a:gd name="T32" fmla="*/ 496 w 2784"/>
              <a:gd name="T33" fmla="*/ 733 h 3336"/>
              <a:gd name="T34" fmla="*/ 927 w 2784"/>
              <a:gd name="T35" fmla="*/ 833 h 3336"/>
              <a:gd name="T36" fmla="*/ 1045 w 2784"/>
              <a:gd name="T37" fmla="*/ 376 h 3336"/>
              <a:gd name="T38" fmla="*/ 1311 w 2784"/>
              <a:gd name="T39" fmla="*/ 258 h 3336"/>
              <a:gd name="T40" fmla="*/ 1186 w 2784"/>
              <a:gd name="T41" fmla="*/ 501 h 3336"/>
              <a:gd name="T42" fmla="*/ 1215 w 2784"/>
              <a:gd name="T43" fmla="*/ 860 h 3336"/>
              <a:gd name="T44" fmla="*/ 1654 w 2784"/>
              <a:gd name="T45" fmla="*/ 699 h 3336"/>
              <a:gd name="T46" fmla="*/ 1538 w 2784"/>
              <a:gd name="T47" fmla="*/ 356 h 3336"/>
              <a:gd name="T48" fmla="*/ 1392 w 2784"/>
              <a:gd name="T49" fmla="*/ 219 h 3336"/>
              <a:gd name="T50" fmla="*/ 1850 w 2784"/>
              <a:gd name="T51" fmla="*/ 77 h 3336"/>
              <a:gd name="T52" fmla="*/ 2312 w 2784"/>
              <a:gd name="T53" fmla="*/ 347 h 3336"/>
              <a:gd name="T54" fmla="*/ 2637 w 2784"/>
              <a:gd name="T55" fmla="*/ 768 h 3336"/>
              <a:gd name="T56" fmla="*/ 2781 w 2784"/>
              <a:gd name="T57" fmla="*/ 1297 h 3336"/>
              <a:gd name="T58" fmla="*/ 2713 w 2784"/>
              <a:gd name="T59" fmla="*/ 1831 h 3336"/>
              <a:gd name="T60" fmla="*/ 2461 w 2784"/>
              <a:gd name="T61" fmla="*/ 2276 h 3336"/>
              <a:gd name="T62" fmla="*/ 2195 w 2784"/>
              <a:gd name="T63" fmla="*/ 2245 h 3336"/>
              <a:gd name="T64" fmla="*/ 2165 w 2784"/>
              <a:gd name="T65" fmla="*/ 2002 h 3336"/>
              <a:gd name="T66" fmla="*/ 1826 w 2784"/>
              <a:gd name="T67" fmla="*/ 2116 h 3336"/>
              <a:gd name="T68" fmla="*/ 1595 w 2784"/>
              <a:gd name="T69" fmla="*/ 1923 h 3336"/>
              <a:gd name="T70" fmla="*/ 1060 w 2784"/>
              <a:gd name="T71" fmla="*/ 2193 h 3336"/>
              <a:gd name="T72" fmla="*/ 1011 w 2784"/>
              <a:gd name="T73" fmla="*/ 2186 h 3336"/>
              <a:gd name="T74" fmla="*/ 927 w 2784"/>
              <a:gd name="T75" fmla="*/ 1950 h 3336"/>
              <a:gd name="T76" fmla="*/ 617 w 2784"/>
              <a:gd name="T77" fmla="*/ 1946 h 3336"/>
              <a:gd name="T78" fmla="*/ 623 w 2784"/>
              <a:gd name="T79" fmla="*/ 1829 h 3336"/>
              <a:gd name="T80" fmla="*/ 887 w 2784"/>
              <a:gd name="T81" fmla="*/ 1392 h 3336"/>
              <a:gd name="T82" fmla="*/ 639 w 2784"/>
              <a:gd name="T83" fmla="*/ 958 h 3336"/>
              <a:gd name="T84" fmla="*/ 287 w 2784"/>
              <a:gd name="T85" fmla="*/ 1000 h 3336"/>
              <a:gd name="T86" fmla="*/ 223 w 2784"/>
              <a:gd name="T87" fmla="*/ 1380 h 3336"/>
              <a:gd name="T88" fmla="*/ 301 w 2784"/>
              <a:gd name="T89" fmla="*/ 1726 h 3336"/>
              <a:gd name="T90" fmla="*/ 491 w 2784"/>
              <a:gd name="T91" fmla="*/ 2029 h 3336"/>
              <a:gd name="T92" fmla="*/ 791 w 2784"/>
              <a:gd name="T93" fmla="*/ 2243 h 3336"/>
              <a:gd name="T94" fmla="*/ 1196 w 2784"/>
              <a:gd name="T95" fmla="*/ 2325 h 3336"/>
              <a:gd name="T96" fmla="*/ 1007 w 2784"/>
              <a:gd name="T97" fmla="*/ 2925 h 3336"/>
              <a:gd name="T98" fmla="*/ 536 w 2784"/>
              <a:gd name="T99" fmla="*/ 2645 h 3336"/>
              <a:gd name="T100" fmla="*/ 211 w 2784"/>
              <a:gd name="T101" fmla="*/ 2250 h 3336"/>
              <a:gd name="T102" fmla="*/ 34 w 2784"/>
              <a:gd name="T103" fmla="*/ 1761 h 3336"/>
              <a:gd name="T104" fmla="*/ 10 w 2784"/>
              <a:gd name="T105" fmla="*/ 1226 h 3336"/>
              <a:gd name="T106" fmla="*/ 168 w 2784"/>
              <a:gd name="T107" fmla="*/ 730 h 3336"/>
              <a:gd name="T108" fmla="*/ 494 w 2784"/>
              <a:gd name="T109" fmla="*/ 329 h 3336"/>
              <a:gd name="T110" fmla="*/ 948 w 2784"/>
              <a:gd name="T111" fmla="*/ 73 h 3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784" h="3336">
                <a:moveTo>
                  <a:pt x="1079" y="1027"/>
                </a:moveTo>
                <a:lnTo>
                  <a:pt x="1072" y="1112"/>
                </a:lnTo>
                <a:lnTo>
                  <a:pt x="1067" y="1201"/>
                </a:lnTo>
                <a:lnTo>
                  <a:pt x="1063" y="1294"/>
                </a:lnTo>
                <a:lnTo>
                  <a:pt x="1062" y="1392"/>
                </a:lnTo>
                <a:lnTo>
                  <a:pt x="1063" y="1489"/>
                </a:lnTo>
                <a:lnTo>
                  <a:pt x="1067" y="1582"/>
                </a:lnTo>
                <a:lnTo>
                  <a:pt x="1072" y="1671"/>
                </a:lnTo>
                <a:lnTo>
                  <a:pt x="1079" y="1756"/>
                </a:lnTo>
                <a:lnTo>
                  <a:pt x="1187" y="1749"/>
                </a:lnTo>
                <a:lnTo>
                  <a:pt x="1297" y="1744"/>
                </a:lnTo>
                <a:lnTo>
                  <a:pt x="1410" y="1742"/>
                </a:lnTo>
                <a:lnTo>
                  <a:pt x="1511" y="1744"/>
                </a:lnTo>
                <a:lnTo>
                  <a:pt x="1609" y="1747"/>
                </a:lnTo>
                <a:lnTo>
                  <a:pt x="1705" y="1754"/>
                </a:lnTo>
                <a:lnTo>
                  <a:pt x="1713" y="1669"/>
                </a:lnTo>
                <a:lnTo>
                  <a:pt x="1718" y="1581"/>
                </a:lnTo>
                <a:lnTo>
                  <a:pt x="1721" y="1488"/>
                </a:lnTo>
                <a:lnTo>
                  <a:pt x="1722" y="1392"/>
                </a:lnTo>
                <a:lnTo>
                  <a:pt x="1721" y="1295"/>
                </a:lnTo>
                <a:lnTo>
                  <a:pt x="1718" y="1203"/>
                </a:lnTo>
                <a:lnTo>
                  <a:pt x="1713" y="1114"/>
                </a:lnTo>
                <a:lnTo>
                  <a:pt x="1705" y="1029"/>
                </a:lnTo>
                <a:lnTo>
                  <a:pt x="1558" y="1038"/>
                </a:lnTo>
                <a:lnTo>
                  <a:pt x="1410" y="1041"/>
                </a:lnTo>
                <a:lnTo>
                  <a:pt x="1297" y="1039"/>
                </a:lnTo>
                <a:lnTo>
                  <a:pt x="1187" y="1035"/>
                </a:lnTo>
                <a:lnTo>
                  <a:pt x="1079" y="1027"/>
                </a:lnTo>
                <a:close/>
                <a:moveTo>
                  <a:pt x="2444" y="874"/>
                </a:moveTo>
                <a:lnTo>
                  <a:pt x="2377" y="901"/>
                </a:lnTo>
                <a:lnTo>
                  <a:pt x="2306" y="924"/>
                </a:lnTo>
                <a:lnTo>
                  <a:pt x="2229" y="946"/>
                </a:lnTo>
                <a:lnTo>
                  <a:pt x="2148" y="965"/>
                </a:lnTo>
                <a:lnTo>
                  <a:pt x="2062" y="984"/>
                </a:lnTo>
                <a:lnTo>
                  <a:pt x="1973" y="999"/>
                </a:lnTo>
                <a:lnTo>
                  <a:pt x="1879" y="1012"/>
                </a:lnTo>
                <a:lnTo>
                  <a:pt x="1890" y="1137"/>
                </a:lnTo>
                <a:lnTo>
                  <a:pt x="1896" y="1264"/>
                </a:lnTo>
                <a:lnTo>
                  <a:pt x="1898" y="1392"/>
                </a:lnTo>
                <a:lnTo>
                  <a:pt x="1896" y="1519"/>
                </a:lnTo>
                <a:lnTo>
                  <a:pt x="1890" y="1647"/>
                </a:lnTo>
                <a:lnTo>
                  <a:pt x="1879" y="1771"/>
                </a:lnTo>
                <a:lnTo>
                  <a:pt x="1973" y="1784"/>
                </a:lnTo>
                <a:lnTo>
                  <a:pt x="2062" y="1799"/>
                </a:lnTo>
                <a:lnTo>
                  <a:pt x="2148" y="1818"/>
                </a:lnTo>
                <a:lnTo>
                  <a:pt x="2230" y="1837"/>
                </a:lnTo>
                <a:lnTo>
                  <a:pt x="2307" y="1859"/>
                </a:lnTo>
                <a:lnTo>
                  <a:pt x="2378" y="1882"/>
                </a:lnTo>
                <a:lnTo>
                  <a:pt x="2445" y="1909"/>
                </a:lnTo>
                <a:lnTo>
                  <a:pt x="2476" y="1840"/>
                </a:lnTo>
                <a:lnTo>
                  <a:pt x="2502" y="1770"/>
                </a:lnTo>
                <a:lnTo>
                  <a:pt x="2524" y="1698"/>
                </a:lnTo>
                <a:lnTo>
                  <a:pt x="2541" y="1624"/>
                </a:lnTo>
                <a:lnTo>
                  <a:pt x="2554" y="1548"/>
                </a:lnTo>
                <a:lnTo>
                  <a:pt x="2563" y="1471"/>
                </a:lnTo>
                <a:lnTo>
                  <a:pt x="2565" y="1392"/>
                </a:lnTo>
                <a:lnTo>
                  <a:pt x="2563" y="1313"/>
                </a:lnTo>
                <a:lnTo>
                  <a:pt x="2554" y="1235"/>
                </a:lnTo>
                <a:lnTo>
                  <a:pt x="2541" y="1160"/>
                </a:lnTo>
                <a:lnTo>
                  <a:pt x="2524" y="1085"/>
                </a:lnTo>
                <a:lnTo>
                  <a:pt x="2502" y="1013"/>
                </a:lnTo>
                <a:lnTo>
                  <a:pt x="2476" y="942"/>
                </a:lnTo>
                <a:lnTo>
                  <a:pt x="2444" y="874"/>
                </a:lnTo>
                <a:close/>
                <a:moveTo>
                  <a:pt x="1685" y="257"/>
                </a:moveTo>
                <a:lnTo>
                  <a:pt x="1714" y="313"/>
                </a:lnTo>
                <a:lnTo>
                  <a:pt x="1740" y="376"/>
                </a:lnTo>
                <a:lnTo>
                  <a:pt x="1766" y="444"/>
                </a:lnTo>
                <a:lnTo>
                  <a:pt x="1788" y="516"/>
                </a:lnTo>
                <a:lnTo>
                  <a:pt x="1809" y="591"/>
                </a:lnTo>
                <a:lnTo>
                  <a:pt x="1827" y="670"/>
                </a:lnTo>
                <a:lnTo>
                  <a:pt x="1844" y="752"/>
                </a:lnTo>
                <a:lnTo>
                  <a:pt x="1858" y="838"/>
                </a:lnTo>
                <a:lnTo>
                  <a:pt x="1940" y="826"/>
                </a:lnTo>
                <a:lnTo>
                  <a:pt x="2018" y="813"/>
                </a:lnTo>
                <a:lnTo>
                  <a:pt x="2093" y="799"/>
                </a:lnTo>
                <a:lnTo>
                  <a:pt x="2165" y="781"/>
                </a:lnTo>
                <a:lnTo>
                  <a:pt x="2232" y="763"/>
                </a:lnTo>
                <a:lnTo>
                  <a:pt x="2296" y="743"/>
                </a:lnTo>
                <a:lnTo>
                  <a:pt x="2354" y="722"/>
                </a:lnTo>
                <a:lnTo>
                  <a:pt x="2309" y="662"/>
                </a:lnTo>
                <a:lnTo>
                  <a:pt x="2260" y="605"/>
                </a:lnTo>
                <a:lnTo>
                  <a:pt x="2208" y="551"/>
                </a:lnTo>
                <a:lnTo>
                  <a:pt x="2152" y="499"/>
                </a:lnTo>
                <a:lnTo>
                  <a:pt x="2093" y="453"/>
                </a:lnTo>
                <a:lnTo>
                  <a:pt x="2032" y="409"/>
                </a:lnTo>
                <a:lnTo>
                  <a:pt x="1968" y="370"/>
                </a:lnTo>
                <a:lnTo>
                  <a:pt x="1900" y="336"/>
                </a:lnTo>
                <a:lnTo>
                  <a:pt x="1831" y="304"/>
                </a:lnTo>
                <a:lnTo>
                  <a:pt x="1760" y="278"/>
                </a:lnTo>
                <a:lnTo>
                  <a:pt x="1685" y="257"/>
                </a:lnTo>
                <a:close/>
                <a:moveTo>
                  <a:pt x="1100" y="257"/>
                </a:moveTo>
                <a:lnTo>
                  <a:pt x="1020" y="280"/>
                </a:lnTo>
                <a:lnTo>
                  <a:pt x="942" y="309"/>
                </a:lnTo>
                <a:lnTo>
                  <a:pt x="868" y="344"/>
                </a:lnTo>
                <a:lnTo>
                  <a:pt x="796" y="383"/>
                </a:lnTo>
                <a:lnTo>
                  <a:pt x="727" y="428"/>
                </a:lnTo>
                <a:lnTo>
                  <a:pt x="662" y="476"/>
                </a:lnTo>
                <a:lnTo>
                  <a:pt x="600" y="529"/>
                </a:lnTo>
                <a:lnTo>
                  <a:pt x="542" y="585"/>
                </a:lnTo>
                <a:lnTo>
                  <a:pt x="488" y="647"/>
                </a:lnTo>
                <a:lnTo>
                  <a:pt x="439" y="711"/>
                </a:lnTo>
                <a:lnTo>
                  <a:pt x="496" y="733"/>
                </a:lnTo>
                <a:lnTo>
                  <a:pt x="557" y="754"/>
                </a:lnTo>
                <a:lnTo>
                  <a:pt x="624" y="773"/>
                </a:lnTo>
                <a:lnTo>
                  <a:pt x="695" y="791"/>
                </a:lnTo>
                <a:lnTo>
                  <a:pt x="769" y="807"/>
                </a:lnTo>
                <a:lnTo>
                  <a:pt x="846" y="821"/>
                </a:lnTo>
                <a:lnTo>
                  <a:pt x="927" y="833"/>
                </a:lnTo>
                <a:lnTo>
                  <a:pt x="941" y="749"/>
                </a:lnTo>
                <a:lnTo>
                  <a:pt x="958" y="667"/>
                </a:lnTo>
                <a:lnTo>
                  <a:pt x="977" y="588"/>
                </a:lnTo>
                <a:lnTo>
                  <a:pt x="997" y="514"/>
                </a:lnTo>
                <a:lnTo>
                  <a:pt x="1019" y="443"/>
                </a:lnTo>
                <a:lnTo>
                  <a:pt x="1045" y="376"/>
                </a:lnTo>
                <a:lnTo>
                  <a:pt x="1071" y="313"/>
                </a:lnTo>
                <a:lnTo>
                  <a:pt x="1100" y="257"/>
                </a:lnTo>
                <a:close/>
                <a:moveTo>
                  <a:pt x="1392" y="219"/>
                </a:moveTo>
                <a:lnTo>
                  <a:pt x="1350" y="220"/>
                </a:lnTo>
                <a:lnTo>
                  <a:pt x="1331" y="237"/>
                </a:lnTo>
                <a:lnTo>
                  <a:pt x="1311" y="258"/>
                </a:lnTo>
                <a:lnTo>
                  <a:pt x="1289" y="284"/>
                </a:lnTo>
                <a:lnTo>
                  <a:pt x="1268" y="316"/>
                </a:lnTo>
                <a:lnTo>
                  <a:pt x="1248" y="355"/>
                </a:lnTo>
                <a:lnTo>
                  <a:pt x="1227" y="398"/>
                </a:lnTo>
                <a:lnTo>
                  <a:pt x="1205" y="447"/>
                </a:lnTo>
                <a:lnTo>
                  <a:pt x="1186" y="501"/>
                </a:lnTo>
                <a:lnTo>
                  <a:pt x="1167" y="561"/>
                </a:lnTo>
                <a:lnTo>
                  <a:pt x="1149" y="626"/>
                </a:lnTo>
                <a:lnTo>
                  <a:pt x="1132" y="696"/>
                </a:lnTo>
                <a:lnTo>
                  <a:pt x="1115" y="771"/>
                </a:lnTo>
                <a:lnTo>
                  <a:pt x="1101" y="852"/>
                </a:lnTo>
                <a:lnTo>
                  <a:pt x="1215" y="860"/>
                </a:lnTo>
                <a:lnTo>
                  <a:pt x="1330" y="864"/>
                </a:lnTo>
                <a:lnTo>
                  <a:pt x="1448" y="865"/>
                </a:lnTo>
                <a:lnTo>
                  <a:pt x="1566" y="862"/>
                </a:lnTo>
                <a:lnTo>
                  <a:pt x="1684" y="855"/>
                </a:lnTo>
                <a:lnTo>
                  <a:pt x="1670" y="774"/>
                </a:lnTo>
                <a:lnTo>
                  <a:pt x="1654" y="699"/>
                </a:lnTo>
                <a:lnTo>
                  <a:pt x="1637" y="628"/>
                </a:lnTo>
                <a:lnTo>
                  <a:pt x="1619" y="562"/>
                </a:lnTo>
                <a:lnTo>
                  <a:pt x="1600" y="502"/>
                </a:lnTo>
                <a:lnTo>
                  <a:pt x="1580" y="448"/>
                </a:lnTo>
                <a:lnTo>
                  <a:pt x="1558" y="399"/>
                </a:lnTo>
                <a:lnTo>
                  <a:pt x="1538" y="356"/>
                </a:lnTo>
                <a:lnTo>
                  <a:pt x="1517" y="317"/>
                </a:lnTo>
                <a:lnTo>
                  <a:pt x="1496" y="285"/>
                </a:lnTo>
                <a:lnTo>
                  <a:pt x="1474" y="258"/>
                </a:lnTo>
                <a:lnTo>
                  <a:pt x="1454" y="237"/>
                </a:lnTo>
                <a:lnTo>
                  <a:pt x="1435" y="220"/>
                </a:lnTo>
                <a:lnTo>
                  <a:pt x="1392" y="219"/>
                </a:lnTo>
                <a:close/>
                <a:moveTo>
                  <a:pt x="1392" y="0"/>
                </a:moveTo>
                <a:lnTo>
                  <a:pt x="1488" y="3"/>
                </a:lnTo>
                <a:lnTo>
                  <a:pt x="1582" y="13"/>
                </a:lnTo>
                <a:lnTo>
                  <a:pt x="1673" y="28"/>
                </a:lnTo>
                <a:lnTo>
                  <a:pt x="1763" y="50"/>
                </a:lnTo>
                <a:lnTo>
                  <a:pt x="1850" y="77"/>
                </a:lnTo>
                <a:lnTo>
                  <a:pt x="1934" y="109"/>
                </a:lnTo>
                <a:lnTo>
                  <a:pt x="2015" y="148"/>
                </a:lnTo>
                <a:lnTo>
                  <a:pt x="2094" y="190"/>
                </a:lnTo>
                <a:lnTo>
                  <a:pt x="2170" y="238"/>
                </a:lnTo>
                <a:lnTo>
                  <a:pt x="2243" y="290"/>
                </a:lnTo>
                <a:lnTo>
                  <a:pt x="2312" y="347"/>
                </a:lnTo>
                <a:lnTo>
                  <a:pt x="2376" y="408"/>
                </a:lnTo>
                <a:lnTo>
                  <a:pt x="2437" y="473"/>
                </a:lnTo>
                <a:lnTo>
                  <a:pt x="2494" y="542"/>
                </a:lnTo>
                <a:lnTo>
                  <a:pt x="2546" y="614"/>
                </a:lnTo>
                <a:lnTo>
                  <a:pt x="2594" y="689"/>
                </a:lnTo>
                <a:lnTo>
                  <a:pt x="2637" y="768"/>
                </a:lnTo>
                <a:lnTo>
                  <a:pt x="2675" y="850"/>
                </a:lnTo>
                <a:lnTo>
                  <a:pt x="2707" y="935"/>
                </a:lnTo>
                <a:lnTo>
                  <a:pt x="2734" y="1022"/>
                </a:lnTo>
                <a:lnTo>
                  <a:pt x="2756" y="1112"/>
                </a:lnTo>
                <a:lnTo>
                  <a:pt x="2772" y="1203"/>
                </a:lnTo>
                <a:lnTo>
                  <a:pt x="2781" y="1297"/>
                </a:lnTo>
                <a:lnTo>
                  <a:pt x="2784" y="1392"/>
                </a:lnTo>
                <a:lnTo>
                  <a:pt x="2781" y="1484"/>
                </a:lnTo>
                <a:lnTo>
                  <a:pt x="2773" y="1574"/>
                </a:lnTo>
                <a:lnTo>
                  <a:pt x="2759" y="1662"/>
                </a:lnTo>
                <a:lnTo>
                  <a:pt x="2738" y="1747"/>
                </a:lnTo>
                <a:lnTo>
                  <a:pt x="2713" y="1831"/>
                </a:lnTo>
                <a:lnTo>
                  <a:pt x="2683" y="1912"/>
                </a:lnTo>
                <a:lnTo>
                  <a:pt x="2647" y="1990"/>
                </a:lnTo>
                <a:lnTo>
                  <a:pt x="2608" y="2066"/>
                </a:lnTo>
                <a:lnTo>
                  <a:pt x="2564" y="2139"/>
                </a:lnTo>
                <a:lnTo>
                  <a:pt x="2514" y="2209"/>
                </a:lnTo>
                <a:lnTo>
                  <a:pt x="2461" y="2276"/>
                </a:lnTo>
                <a:lnTo>
                  <a:pt x="2404" y="2339"/>
                </a:lnTo>
                <a:lnTo>
                  <a:pt x="2343" y="2399"/>
                </a:lnTo>
                <a:lnTo>
                  <a:pt x="2277" y="2455"/>
                </a:lnTo>
                <a:lnTo>
                  <a:pt x="2070" y="2348"/>
                </a:lnTo>
                <a:lnTo>
                  <a:pt x="2135" y="2299"/>
                </a:lnTo>
                <a:lnTo>
                  <a:pt x="2195" y="2245"/>
                </a:lnTo>
                <a:lnTo>
                  <a:pt x="2252" y="2188"/>
                </a:lnTo>
                <a:lnTo>
                  <a:pt x="2306" y="2126"/>
                </a:lnTo>
                <a:lnTo>
                  <a:pt x="2354" y="2061"/>
                </a:lnTo>
                <a:lnTo>
                  <a:pt x="2296" y="2040"/>
                </a:lnTo>
                <a:lnTo>
                  <a:pt x="2233" y="2020"/>
                </a:lnTo>
                <a:lnTo>
                  <a:pt x="2165" y="2002"/>
                </a:lnTo>
                <a:lnTo>
                  <a:pt x="2094" y="1985"/>
                </a:lnTo>
                <a:lnTo>
                  <a:pt x="2018" y="1970"/>
                </a:lnTo>
                <a:lnTo>
                  <a:pt x="1940" y="1957"/>
                </a:lnTo>
                <a:lnTo>
                  <a:pt x="1858" y="1946"/>
                </a:lnTo>
                <a:lnTo>
                  <a:pt x="1844" y="2032"/>
                </a:lnTo>
                <a:lnTo>
                  <a:pt x="1826" y="2116"/>
                </a:lnTo>
                <a:lnTo>
                  <a:pt x="1808" y="2197"/>
                </a:lnTo>
                <a:lnTo>
                  <a:pt x="1649" y="2106"/>
                </a:lnTo>
                <a:lnTo>
                  <a:pt x="1661" y="2049"/>
                </a:lnTo>
                <a:lnTo>
                  <a:pt x="1674" y="1990"/>
                </a:lnTo>
                <a:lnTo>
                  <a:pt x="1684" y="1928"/>
                </a:lnTo>
                <a:lnTo>
                  <a:pt x="1595" y="1923"/>
                </a:lnTo>
                <a:lnTo>
                  <a:pt x="1503" y="1919"/>
                </a:lnTo>
                <a:lnTo>
                  <a:pt x="1410" y="1918"/>
                </a:lnTo>
                <a:lnTo>
                  <a:pt x="1327" y="1919"/>
                </a:lnTo>
                <a:lnTo>
                  <a:pt x="1065" y="1768"/>
                </a:lnTo>
                <a:lnTo>
                  <a:pt x="1065" y="2193"/>
                </a:lnTo>
                <a:lnTo>
                  <a:pt x="1060" y="2193"/>
                </a:lnTo>
                <a:lnTo>
                  <a:pt x="1055" y="2192"/>
                </a:lnTo>
                <a:lnTo>
                  <a:pt x="1050" y="2192"/>
                </a:lnTo>
                <a:lnTo>
                  <a:pt x="1048" y="2192"/>
                </a:lnTo>
                <a:lnTo>
                  <a:pt x="1043" y="2192"/>
                </a:lnTo>
                <a:lnTo>
                  <a:pt x="1028" y="2190"/>
                </a:lnTo>
                <a:lnTo>
                  <a:pt x="1011" y="2186"/>
                </a:lnTo>
                <a:lnTo>
                  <a:pt x="992" y="2181"/>
                </a:lnTo>
                <a:lnTo>
                  <a:pt x="972" y="2174"/>
                </a:lnTo>
                <a:lnTo>
                  <a:pt x="971" y="2174"/>
                </a:lnTo>
                <a:lnTo>
                  <a:pt x="955" y="2102"/>
                </a:lnTo>
                <a:lnTo>
                  <a:pt x="940" y="2027"/>
                </a:lnTo>
                <a:lnTo>
                  <a:pt x="927" y="1950"/>
                </a:lnTo>
                <a:lnTo>
                  <a:pt x="837" y="1963"/>
                </a:lnTo>
                <a:lnTo>
                  <a:pt x="752" y="1979"/>
                </a:lnTo>
                <a:lnTo>
                  <a:pt x="671" y="1998"/>
                </a:lnTo>
                <a:lnTo>
                  <a:pt x="644" y="1974"/>
                </a:lnTo>
                <a:lnTo>
                  <a:pt x="621" y="1950"/>
                </a:lnTo>
                <a:lnTo>
                  <a:pt x="617" y="1946"/>
                </a:lnTo>
                <a:lnTo>
                  <a:pt x="613" y="1942"/>
                </a:lnTo>
                <a:lnTo>
                  <a:pt x="594" y="1922"/>
                </a:lnTo>
                <a:lnTo>
                  <a:pt x="575" y="1899"/>
                </a:lnTo>
                <a:lnTo>
                  <a:pt x="556" y="1875"/>
                </a:lnTo>
                <a:lnTo>
                  <a:pt x="538" y="1852"/>
                </a:lnTo>
                <a:lnTo>
                  <a:pt x="623" y="1829"/>
                </a:lnTo>
                <a:lnTo>
                  <a:pt x="713" y="1809"/>
                </a:lnTo>
                <a:lnTo>
                  <a:pt x="807" y="1790"/>
                </a:lnTo>
                <a:lnTo>
                  <a:pt x="906" y="1776"/>
                </a:lnTo>
                <a:lnTo>
                  <a:pt x="895" y="1649"/>
                </a:lnTo>
                <a:lnTo>
                  <a:pt x="889" y="1521"/>
                </a:lnTo>
                <a:lnTo>
                  <a:pt x="887" y="1392"/>
                </a:lnTo>
                <a:lnTo>
                  <a:pt x="889" y="1263"/>
                </a:lnTo>
                <a:lnTo>
                  <a:pt x="895" y="1134"/>
                </a:lnTo>
                <a:lnTo>
                  <a:pt x="906" y="1008"/>
                </a:lnTo>
                <a:lnTo>
                  <a:pt x="813" y="994"/>
                </a:lnTo>
                <a:lnTo>
                  <a:pt x="724" y="978"/>
                </a:lnTo>
                <a:lnTo>
                  <a:pt x="639" y="958"/>
                </a:lnTo>
                <a:lnTo>
                  <a:pt x="558" y="937"/>
                </a:lnTo>
                <a:lnTo>
                  <a:pt x="482" y="915"/>
                </a:lnTo>
                <a:lnTo>
                  <a:pt x="412" y="890"/>
                </a:lnTo>
                <a:lnTo>
                  <a:pt x="347" y="863"/>
                </a:lnTo>
                <a:lnTo>
                  <a:pt x="314" y="930"/>
                </a:lnTo>
                <a:lnTo>
                  <a:pt x="287" y="1000"/>
                </a:lnTo>
                <a:lnTo>
                  <a:pt x="264" y="1072"/>
                </a:lnTo>
                <a:lnTo>
                  <a:pt x="246" y="1146"/>
                </a:lnTo>
                <a:lnTo>
                  <a:pt x="235" y="1203"/>
                </a:lnTo>
                <a:lnTo>
                  <a:pt x="228" y="1262"/>
                </a:lnTo>
                <a:lnTo>
                  <a:pt x="222" y="1321"/>
                </a:lnTo>
                <a:lnTo>
                  <a:pt x="223" y="1380"/>
                </a:lnTo>
                <a:lnTo>
                  <a:pt x="229" y="1439"/>
                </a:lnTo>
                <a:lnTo>
                  <a:pt x="237" y="1497"/>
                </a:lnTo>
                <a:lnTo>
                  <a:pt x="248" y="1556"/>
                </a:lnTo>
                <a:lnTo>
                  <a:pt x="263" y="1613"/>
                </a:lnTo>
                <a:lnTo>
                  <a:pt x="280" y="1670"/>
                </a:lnTo>
                <a:lnTo>
                  <a:pt x="301" y="1726"/>
                </a:lnTo>
                <a:lnTo>
                  <a:pt x="325" y="1781"/>
                </a:lnTo>
                <a:lnTo>
                  <a:pt x="352" y="1834"/>
                </a:lnTo>
                <a:lnTo>
                  <a:pt x="382" y="1885"/>
                </a:lnTo>
                <a:lnTo>
                  <a:pt x="416" y="1936"/>
                </a:lnTo>
                <a:lnTo>
                  <a:pt x="452" y="1983"/>
                </a:lnTo>
                <a:lnTo>
                  <a:pt x="491" y="2029"/>
                </a:lnTo>
                <a:lnTo>
                  <a:pt x="534" y="2072"/>
                </a:lnTo>
                <a:lnTo>
                  <a:pt x="578" y="2113"/>
                </a:lnTo>
                <a:lnTo>
                  <a:pt x="627" y="2150"/>
                </a:lnTo>
                <a:lnTo>
                  <a:pt x="679" y="2185"/>
                </a:lnTo>
                <a:lnTo>
                  <a:pt x="733" y="2216"/>
                </a:lnTo>
                <a:lnTo>
                  <a:pt x="791" y="2243"/>
                </a:lnTo>
                <a:lnTo>
                  <a:pt x="851" y="2267"/>
                </a:lnTo>
                <a:lnTo>
                  <a:pt x="914" y="2288"/>
                </a:lnTo>
                <a:lnTo>
                  <a:pt x="981" y="2304"/>
                </a:lnTo>
                <a:lnTo>
                  <a:pt x="1050" y="2315"/>
                </a:lnTo>
                <a:lnTo>
                  <a:pt x="1121" y="2322"/>
                </a:lnTo>
                <a:lnTo>
                  <a:pt x="1196" y="2325"/>
                </a:lnTo>
                <a:lnTo>
                  <a:pt x="1196" y="1996"/>
                </a:lnTo>
                <a:lnTo>
                  <a:pt x="2357" y="2666"/>
                </a:lnTo>
                <a:lnTo>
                  <a:pt x="1196" y="3336"/>
                </a:lnTo>
                <a:lnTo>
                  <a:pt x="1196" y="2988"/>
                </a:lnTo>
                <a:lnTo>
                  <a:pt x="1100" y="2958"/>
                </a:lnTo>
                <a:lnTo>
                  <a:pt x="1007" y="2925"/>
                </a:lnTo>
                <a:lnTo>
                  <a:pt x="919" y="2886"/>
                </a:lnTo>
                <a:lnTo>
                  <a:pt x="834" y="2845"/>
                </a:lnTo>
                <a:lnTo>
                  <a:pt x="753" y="2800"/>
                </a:lnTo>
                <a:lnTo>
                  <a:pt x="678" y="2752"/>
                </a:lnTo>
                <a:lnTo>
                  <a:pt x="605" y="2699"/>
                </a:lnTo>
                <a:lnTo>
                  <a:pt x="536" y="2645"/>
                </a:lnTo>
                <a:lnTo>
                  <a:pt x="472" y="2586"/>
                </a:lnTo>
                <a:lnTo>
                  <a:pt x="412" y="2524"/>
                </a:lnTo>
                <a:lnTo>
                  <a:pt x="355" y="2461"/>
                </a:lnTo>
                <a:lnTo>
                  <a:pt x="303" y="2393"/>
                </a:lnTo>
                <a:lnTo>
                  <a:pt x="255" y="2323"/>
                </a:lnTo>
                <a:lnTo>
                  <a:pt x="211" y="2250"/>
                </a:lnTo>
                <a:lnTo>
                  <a:pt x="171" y="2174"/>
                </a:lnTo>
                <a:lnTo>
                  <a:pt x="135" y="2097"/>
                </a:lnTo>
                <a:lnTo>
                  <a:pt x="104" y="2016"/>
                </a:lnTo>
                <a:lnTo>
                  <a:pt x="77" y="1933"/>
                </a:lnTo>
                <a:lnTo>
                  <a:pt x="54" y="1848"/>
                </a:lnTo>
                <a:lnTo>
                  <a:pt x="34" y="1761"/>
                </a:lnTo>
                <a:lnTo>
                  <a:pt x="19" y="1672"/>
                </a:lnTo>
                <a:lnTo>
                  <a:pt x="9" y="1580"/>
                </a:lnTo>
                <a:lnTo>
                  <a:pt x="2" y="1487"/>
                </a:lnTo>
                <a:lnTo>
                  <a:pt x="0" y="1392"/>
                </a:lnTo>
                <a:lnTo>
                  <a:pt x="3" y="1308"/>
                </a:lnTo>
                <a:lnTo>
                  <a:pt x="10" y="1226"/>
                </a:lnTo>
                <a:lnTo>
                  <a:pt x="22" y="1146"/>
                </a:lnTo>
                <a:lnTo>
                  <a:pt x="40" y="1058"/>
                </a:lnTo>
                <a:lnTo>
                  <a:pt x="65" y="972"/>
                </a:lnTo>
                <a:lnTo>
                  <a:pt x="94" y="890"/>
                </a:lnTo>
                <a:lnTo>
                  <a:pt x="128" y="809"/>
                </a:lnTo>
                <a:lnTo>
                  <a:pt x="168" y="730"/>
                </a:lnTo>
                <a:lnTo>
                  <a:pt x="211" y="655"/>
                </a:lnTo>
                <a:lnTo>
                  <a:pt x="260" y="583"/>
                </a:lnTo>
                <a:lnTo>
                  <a:pt x="312" y="514"/>
                </a:lnTo>
                <a:lnTo>
                  <a:pt x="369" y="449"/>
                </a:lnTo>
                <a:lnTo>
                  <a:pt x="430" y="387"/>
                </a:lnTo>
                <a:lnTo>
                  <a:pt x="494" y="329"/>
                </a:lnTo>
                <a:lnTo>
                  <a:pt x="562" y="275"/>
                </a:lnTo>
                <a:lnTo>
                  <a:pt x="634" y="225"/>
                </a:lnTo>
                <a:lnTo>
                  <a:pt x="708" y="180"/>
                </a:lnTo>
                <a:lnTo>
                  <a:pt x="785" y="140"/>
                </a:lnTo>
                <a:lnTo>
                  <a:pt x="866" y="103"/>
                </a:lnTo>
                <a:lnTo>
                  <a:pt x="948" y="73"/>
                </a:lnTo>
                <a:lnTo>
                  <a:pt x="1032" y="48"/>
                </a:lnTo>
                <a:lnTo>
                  <a:pt x="1120" y="26"/>
                </a:lnTo>
                <a:lnTo>
                  <a:pt x="1209" y="12"/>
                </a:lnTo>
                <a:lnTo>
                  <a:pt x="1300" y="3"/>
                </a:lnTo>
                <a:lnTo>
                  <a:pt x="139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4" name="Group 93"/>
          <p:cNvGrpSpPr/>
          <p:nvPr userDrawn="1"/>
        </p:nvGrpSpPr>
        <p:grpSpPr>
          <a:xfrm>
            <a:off x="7364486" y="4946645"/>
            <a:ext cx="729493" cy="674433"/>
            <a:chOff x="9005888" y="1238250"/>
            <a:chExt cx="1465263" cy="1279526"/>
          </a:xfrm>
          <a:solidFill>
            <a:schemeClr val="tx2"/>
          </a:solidFill>
        </p:grpSpPr>
        <p:sp>
          <p:nvSpPr>
            <p:cNvPr id="95" name="Freeform 53"/>
            <p:cNvSpPr>
              <a:spLocks/>
            </p:cNvSpPr>
            <p:nvPr/>
          </p:nvSpPr>
          <p:spPr bwMode="auto">
            <a:xfrm>
              <a:off x="9983788" y="1420813"/>
              <a:ext cx="201613" cy="411163"/>
            </a:xfrm>
            <a:custGeom>
              <a:avLst/>
              <a:gdLst>
                <a:gd name="T0" fmla="*/ 291 w 506"/>
                <a:gd name="T1" fmla="*/ 3 h 1034"/>
                <a:gd name="T2" fmla="*/ 316 w 506"/>
                <a:gd name="T3" fmla="*/ 40 h 1034"/>
                <a:gd name="T4" fmla="*/ 318 w 506"/>
                <a:gd name="T5" fmla="*/ 118 h 1034"/>
                <a:gd name="T6" fmla="*/ 321 w 506"/>
                <a:gd name="T7" fmla="*/ 122 h 1034"/>
                <a:gd name="T8" fmla="*/ 335 w 506"/>
                <a:gd name="T9" fmla="*/ 124 h 1034"/>
                <a:gd name="T10" fmla="*/ 383 w 506"/>
                <a:gd name="T11" fmla="*/ 134 h 1034"/>
                <a:gd name="T12" fmla="*/ 440 w 506"/>
                <a:gd name="T13" fmla="*/ 150 h 1034"/>
                <a:gd name="T14" fmla="*/ 473 w 506"/>
                <a:gd name="T15" fmla="*/ 172 h 1034"/>
                <a:gd name="T16" fmla="*/ 454 w 506"/>
                <a:gd name="T17" fmla="*/ 248 h 1034"/>
                <a:gd name="T18" fmla="*/ 429 w 506"/>
                <a:gd name="T19" fmla="*/ 272 h 1034"/>
                <a:gd name="T20" fmla="*/ 399 w 506"/>
                <a:gd name="T21" fmla="*/ 268 h 1034"/>
                <a:gd name="T22" fmla="*/ 376 w 506"/>
                <a:gd name="T23" fmla="*/ 258 h 1034"/>
                <a:gd name="T24" fmla="*/ 320 w 506"/>
                <a:gd name="T25" fmla="*/ 244 h 1034"/>
                <a:gd name="T26" fmla="*/ 243 w 506"/>
                <a:gd name="T27" fmla="*/ 240 h 1034"/>
                <a:gd name="T28" fmla="*/ 188 w 506"/>
                <a:gd name="T29" fmla="*/ 261 h 1034"/>
                <a:gd name="T30" fmla="*/ 162 w 506"/>
                <a:gd name="T31" fmla="*/ 296 h 1034"/>
                <a:gd name="T32" fmla="*/ 159 w 506"/>
                <a:gd name="T33" fmla="*/ 338 h 1034"/>
                <a:gd name="T34" fmla="*/ 180 w 506"/>
                <a:gd name="T35" fmla="*/ 378 h 1034"/>
                <a:gd name="T36" fmla="*/ 237 w 506"/>
                <a:gd name="T37" fmla="*/ 415 h 1034"/>
                <a:gd name="T38" fmla="*/ 345 w 506"/>
                <a:gd name="T39" fmla="*/ 462 h 1034"/>
                <a:gd name="T40" fmla="*/ 446 w 506"/>
                <a:gd name="T41" fmla="*/ 529 h 1034"/>
                <a:gd name="T42" fmla="*/ 497 w 506"/>
                <a:gd name="T43" fmla="*/ 614 h 1034"/>
                <a:gd name="T44" fmla="*/ 504 w 506"/>
                <a:gd name="T45" fmla="*/ 718 h 1034"/>
                <a:gd name="T46" fmla="*/ 466 w 506"/>
                <a:gd name="T47" fmla="*/ 811 h 1034"/>
                <a:gd name="T48" fmla="*/ 388 w 506"/>
                <a:gd name="T49" fmla="*/ 878 h 1034"/>
                <a:gd name="T50" fmla="*/ 315 w 506"/>
                <a:gd name="T51" fmla="*/ 904 h 1034"/>
                <a:gd name="T52" fmla="*/ 310 w 506"/>
                <a:gd name="T53" fmla="*/ 907 h 1034"/>
                <a:gd name="T54" fmla="*/ 309 w 506"/>
                <a:gd name="T55" fmla="*/ 994 h 1034"/>
                <a:gd name="T56" fmla="*/ 283 w 506"/>
                <a:gd name="T57" fmla="*/ 1032 h 1034"/>
                <a:gd name="T58" fmla="*/ 214 w 506"/>
                <a:gd name="T59" fmla="*/ 1032 h 1034"/>
                <a:gd name="T60" fmla="*/ 188 w 506"/>
                <a:gd name="T61" fmla="*/ 994 h 1034"/>
                <a:gd name="T62" fmla="*/ 187 w 506"/>
                <a:gd name="T63" fmla="*/ 911 h 1034"/>
                <a:gd name="T64" fmla="*/ 181 w 506"/>
                <a:gd name="T65" fmla="*/ 908 h 1034"/>
                <a:gd name="T66" fmla="*/ 165 w 506"/>
                <a:gd name="T67" fmla="*/ 906 h 1034"/>
                <a:gd name="T68" fmla="*/ 106 w 506"/>
                <a:gd name="T69" fmla="*/ 893 h 1034"/>
                <a:gd name="T70" fmla="*/ 38 w 506"/>
                <a:gd name="T71" fmla="*/ 872 h 1034"/>
                <a:gd name="T72" fmla="*/ 2 w 506"/>
                <a:gd name="T73" fmla="*/ 846 h 1034"/>
                <a:gd name="T74" fmla="*/ 21 w 506"/>
                <a:gd name="T75" fmla="*/ 769 h 1034"/>
                <a:gd name="T76" fmla="*/ 46 w 506"/>
                <a:gd name="T77" fmla="*/ 746 h 1034"/>
                <a:gd name="T78" fmla="*/ 69 w 506"/>
                <a:gd name="T79" fmla="*/ 746 h 1034"/>
                <a:gd name="T80" fmla="*/ 85 w 506"/>
                <a:gd name="T81" fmla="*/ 753 h 1034"/>
                <a:gd name="T82" fmla="*/ 128 w 506"/>
                <a:gd name="T83" fmla="*/ 768 h 1034"/>
                <a:gd name="T84" fmla="*/ 187 w 506"/>
                <a:gd name="T85" fmla="*/ 785 h 1034"/>
                <a:gd name="T86" fmla="*/ 259 w 506"/>
                <a:gd name="T87" fmla="*/ 787 h 1034"/>
                <a:gd name="T88" fmla="*/ 329 w 506"/>
                <a:gd name="T89" fmla="*/ 754 h 1034"/>
                <a:gd name="T90" fmla="*/ 356 w 506"/>
                <a:gd name="T91" fmla="*/ 691 h 1034"/>
                <a:gd name="T92" fmla="*/ 334 w 506"/>
                <a:gd name="T93" fmla="*/ 631 h 1034"/>
                <a:gd name="T94" fmla="*/ 263 w 506"/>
                <a:gd name="T95" fmla="*/ 581 h 1034"/>
                <a:gd name="T96" fmla="*/ 167 w 506"/>
                <a:gd name="T97" fmla="*/ 540 h 1034"/>
                <a:gd name="T98" fmla="*/ 86 w 506"/>
                <a:gd name="T99" fmla="*/ 493 h 1034"/>
                <a:gd name="T100" fmla="*/ 29 w 506"/>
                <a:gd name="T101" fmla="*/ 427 h 1034"/>
                <a:gd name="T102" fmla="*/ 8 w 506"/>
                <a:gd name="T103" fmla="*/ 338 h 1034"/>
                <a:gd name="T104" fmla="*/ 30 w 506"/>
                <a:gd name="T105" fmla="*/ 244 h 1034"/>
                <a:gd name="T106" fmla="*/ 92 w 506"/>
                <a:gd name="T107" fmla="*/ 171 h 1034"/>
                <a:gd name="T108" fmla="*/ 188 w 506"/>
                <a:gd name="T109" fmla="*/ 127 h 1034"/>
                <a:gd name="T110" fmla="*/ 194 w 506"/>
                <a:gd name="T111" fmla="*/ 125 h 1034"/>
                <a:gd name="T112" fmla="*/ 197 w 506"/>
                <a:gd name="T113" fmla="*/ 118 h 1034"/>
                <a:gd name="T114" fmla="*/ 209 w 506"/>
                <a:gd name="T115" fmla="*/ 1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6" h="1034">
                  <a:moveTo>
                    <a:pt x="239" y="0"/>
                  </a:moveTo>
                  <a:lnTo>
                    <a:pt x="274" y="0"/>
                  </a:lnTo>
                  <a:lnTo>
                    <a:pt x="291" y="3"/>
                  </a:lnTo>
                  <a:lnTo>
                    <a:pt x="305" y="11"/>
                  </a:lnTo>
                  <a:lnTo>
                    <a:pt x="314" y="24"/>
                  </a:lnTo>
                  <a:lnTo>
                    <a:pt x="316" y="40"/>
                  </a:lnTo>
                  <a:lnTo>
                    <a:pt x="317" y="114"/>
                  </a:lnTo>
                  <a:lnTo>
                    <a:pt x="317" y="117"/>
                  </a:lnTo>
                  <a:lnTo>
                    <a:pt x="318" y="118"/>
                  </a:lnTo>
                  <a:lnTo>
                    <a:pt x="319" y="119"/>
                  </a:lnTo>
                  <a:lnTo>
                    <a:pt x="320" y="121"/>
                  </a:lnTo>
                  <a:lnTo>
                    <a:pt x="321" y="122"/>
                  </a:lnTo>
                  <a:lnTo>
                    <a:pt x="323" y="122"/>
                  </a:lnTo>
                  <a:lnTo>
                    <a:pt x="326" y="122"/>
                  </a:lnTo>
                  <a:lnTo>
                    <a:pt x="335" y="124"/>
                  </a:lnTo>
                  <a:lnTo>
                    <a:pt x="348" y="126"/>
                  </a:lnTo>
                  <a:lnTo>
                    <a:pt x="364" y="129"/>
                  </a:lnTo>
                  <a:lnTo>
                    <a:pt x="383" y="134"/>
                  </a:lnTo>
                  <a:lnTo>
                    <a:pt x="402" y="138"/>
                  </a:lnTo>
                  <a:lnTo>
                    <a:pt x="422" y="144"/>
                  </a:lnTo>
                  <a:lnTo>
                    <a:pt x="440" y="150"/>
                  </a:lnTo>
                  <a:lnTo>
                    <a:pt x="457" y="156"/>
                  </a:lnTo>
                  <a:lnTo>
                    <a:pt x="466" y="162"/>
                  </a:lnTo>
                  <a:lnTo>
                    <a:pt x="473" y="172"/>
                  </a:lnTo>
                  <a:lnTo>
                    <a:pt x="476" y="183"/>
                  </a:lnTo>
                  <a:lnTo>
                    <a:pt x="474" y="197"/>
                  </a:lnTo>
                  <a:lnTo>
                    <a:pt x="454" y="248"/>
                  </a:lnTo>
                  <a:lnTo>
                    <a:pt x="448" y="258"/>
                  </a:lnTo>
                  <a:lnTo>
                    <a:pt x="439" y="266"/>
                  </a:lnTo>
                  <a:lnTo>
                    <a:pt x="429" y="272"/>
                  </a:lnTo>
                  <a:lnTo>
                    <a:pt x="418" y="273"/>
                  </a:lnTo>
                  <a:lnTo>
                    <a:pt x="408" y="272"/>
                  </a:lnTo>
                  <a:lnTo>
                    <a:pt x="399" y="268"/>
                  </a:lnTo>
                  <a:lnTo>
                    <a:pt x="396" y="267"/>
                  </a:lnTo>
                  <a:lnTo>
                    <a:pt x="389" y="264"/>
                  </a:lnTo>
                  <a:lnTo>
                    <a:pt x="376" y="258"/>
                  </a:lnTo>
                  <a:lnTo>
                    <a:pt x="361" y="254"/>
                  </a:lnTo>
                  <a:lnTo>
                    <a:pt x="342" y="248"/>
                  </a:lnTo>
                  <a:lnTo>
                    <a:pt x="320" y="244"/>
                  </a:lnTo>
                  <a:lnTo>
                    <a:pt x="296" y="240"/>
                  </a:lnTo>
                  <a:lnTo>
                    <a:pt x="269" y="239"/>
                  </a:lnTo>
                  <a:lnTo>
                    <a:pt x="243" y="240"/>
                  </a:lnTo>
                  <a:lnTo>
                    <a:pt x="222" y="245"/>
                  </a:lnTo>
                  <a:lnTo>
                    <a:pt x="204" y="253"/>
                  </a:lnTo>
                  <a:lnTo>
                    <a:pt x="188" y="261"/>
                  </a:lnTo>
                  <a:lnTo>
                    <a:pt x="177" y="272"/>
                  </a:lnTo>
                  <a:lnTo>
                    <a:pt x="168" y="284"/>
                  </a:lnTo>
                  <a:lnTo>
                    <a:pt x="162" y="296"/>
                  </a:lnTo>
                  <a:lnTo>
                    <a:pt x="158" y="310"/>
                  </a:lnTo>
                  <a:lnTo>
                    <a:pt x="157" y="323"/>
                  </a:lnTo>
                  <a:lnTo>
                    <a:pt x="159" y="338"/>
                  </a:lnTo>
                  <a:lnTo>
                    <a:pt x="162" y="352"/>
                  </a:lnTo>
                  <a:lnTo>
                    <a:pt x="169" y="365"/>
                  </a:lnTo>
                  <a:lnTo>
                    <a:pt x="180" y="378"/>
                  </a:lnTo>
                  <a:lnTo>
                    <a:pt x="195" y="390"/>
                  </a:lnTo>
                  <a:lnTo>
                    <a:pt x="214" y="402"/>
                  </a:lnTo>
                  <a:lnTo>
                    <a:pt x="237" y="415"/>
                  </a:lnTo>
                  <a:lnTo>
                    <a:pt x="265" y="428"/>
                  </a:lnTo>
                  <a:lnTo>
                    <a:pt x="300" y="442"/>
                  </a:lnTo>
                  <a:lnTo>
                    <a:pt x="345" y="462"/>
                  </a:lnTo>
                  <a:lnTo>
                    <a:pt x="384" y="483"/>
                  </a:lnTo>
                  <a:lnTo>
                    <a:pt x="418" y="505"/>
                  </a:lnTo>
                  <a:lnTo>
                    <a:pt x="446" y="529"/>
                  </a:lnTo>
                  <a:lnTo>
                    <a:pt x="468" y="556"/>
                  </a:lnTo>
                  <a:lnTo>
                    <a:pt x="485" y="584"/>
                  </a:lnTo>
                  <a:lnTo>
                    <a:pt x="497" y="614"/>
                  </a:lnTo>
                  <a:lnTo>
                    <a:pt x="504" y="646"/>
                  </a:lnTo>
                  <a:lnTo>
                    <a:pt x="506" y="682"/>
                  </a:lnTo>
                  <a:lnTo>
                    <a:pt x="504" y="718"/>
                  </a:lnTo>
                  <a:lnTo>
                    <a:pt x="496" y="751"/>
                  </a:lnTo>
                  <a:lnTo>
                    <a:pt x="484" y="782"/>
                  </a:lnTo>
                  <a:lnTo>
                    <a:pt x="466" y="811"/>
                  </a:lnTo>
                  <a:lnTo>
                    <a:pt x="444" y="836"/>
                  </a:lnTo>
                  <a:lnTo>
                    <a:pt x="418" y="859"/>
                  </a:lnTo>
                  <a:lnTo>
                    <a:pt x="388" y="878"/>
                  </a:lnTo>
                  <a:lnTo>
                    <a:pt x="353" y="892"/>
                  </a:lnTo>
                  <a:lnTo>
                    <a:pt x="316" y="904"/>
                  </a:lnTo>
                  <a:lnTo>
                    <a:pt x="315" y="904"/>
                  </a:lnTo>
                  <a:lnTo>
                    <a:pt x="314" y="905"/>
                  </a:lnTo>
                  <a:lnTo>
                    <a:pt x="311" y="906"/>
                  </a:lnTo>
                  <a:lnTo>
                    <a:pt x="310" y="907"/>
                  </a:lnTo>
                  <a:lnTo>
                    <a:pt x="309" y="909"/>
                  </a:lnTo>
                  <a:lnTo>
                    <a:pt x="309" y="912"/>
                  </a:lnTo>
                  <a:lnTo>
                    <a:pt x="309" y="994"/>
                  </a:lnTo>
                  <a:lnTo>
                    <a:pt x="306" y="1010"/>
                  </a:lnTo>
                  <a:lnTo>
                    <a:pt x="297" y="1023"/>
                  </a:lnTo>
                  <a:lnTo>
                    <a:pt x="283" y="1032"/>
                  </a:lnTo>
                  <a:lnTo>
                    <a:pt x="268" y="1034"/>
                  </a:lnTo>
                  <a:lnTo>
                    <a:pt x="230" y="1034"/>
                  </a:lnTo>
                  <a:lnTo>
                    <a:pt x="214" y="1032"/>
                  </a:lnTo>
                  <a:lnTo>
                    <a:pt x="200" y="1023"/>
                  </a:lnTo>
                  <a:lnTo>
                    <a:pt x="192" y="1010"/>
                  </a:lnTo>
                  <a:lnTo>
                    <a:pt x="188" y="994"/>
                  </a:lnTo>
                  <a:lnTo>
                    <a:pt x="188" y="917"/>
                  </a:lnTo>
                  <a:lnTo>
                    <a:pt x="188" y="914"/>
                  </a:lnTo>
                  <a:lnTo>
                    <a:pt x="187" y="911"/>
                  </a:lnTo>
                  <a:lnTo>
                    <a:pt x="185" y="910"/>
                  </a:lnTo>
                  <a:lnTo>
                    <a:pt x="184" y="909"/>
                  </a:lnTo>
                  <a:lnTo>
                    <a:pt x="181" y="908"/>
                  </a:lnTo>
                  <a:lnTo>
                    <a:pt x="180" y="908"/>
                  </a:lnTo>
                  <a:lnTo>
                    <a:pt x="176" y="908"/>
                  </a:lnTo>
                  <a:lnTo>
                    <a:pt x="165" y="906"/>
                  </a:lnTo>
                  <a:lnTo>
                    <a:pt x="149" y="902"/>
                  </a:lnTo>
                  <a:lnTo>
                    <a:pt x="129" y="898"/>
                  </a:lnTo>
                  <a:lnTo>
                    <a:pt x="106" y="893"/>
                  </a:lnTo>
                  <a:lnTo>
                    <a:pt x="84" y="887"/>
                  </a:lnTo>
                  <a:lnTo>
                    <a:pt x="60" y="880"/>
                  </a:lnTo>
                  <a:lnTo>
                    <a:pt x="38" y="872"/>
                  </a:lnTo>
                  <a:lnTo>
                    <a:pt x="19" y="863"/>
                  </a:lnTo>
                  <a:lnTo>
                    <a:pt x="10" y="857"/>
                  </a:lnTo>
                  <a:lnTo>
                    <a:pt x="2" y="846"/>
                  </a:lnTo>
                  <a:lnTo>
                    <a:pt x="0" y="835"/>
                  </a:lnTo>
                  <a:lnTo>
                    <a:pt x="2" y="822"/>
                  </a:lnTo>
                  <a:lnTo>
                    <a:pt x="21" y="769"/>
                  </a:lnTo>
                  <a:lnTo>
                    <a:pt x="27" y="759"/>
                  </a:lnTo>
                  <a:lnTo>
                    <a:pt x="36" y="751"/>
                  </a:lnTo>
                  <a:lnTo>
                    <a:pt x="46" y="746"/>
                  </a:lnTo>
                  <a:lnTo>
                    <a:pt x="58" y="744"/>
                  </a:lnTo>
                  <a:lnTo>
                    <a:pt x="64" y="745"/>
                  </a:lnTo>
                  <a:lnTo>
                    <a:pt x="69" y="746"/>
                  </a:lnTo>
                  <a:lnTo>
                    <a:pt x="75" y="748"/>
                  </a:lnTo>
                  <a:lnTo>
                    <a:pt x="78" y="749"/>
                  </a:lnTo>
                  <a:lnTo>
                    <a:pt x="85" y="753"/>
                  </a:lnTo>
                  <a:lnTo>
                    <a:pt x="96" y="757"/>
                  </a:lnTo>
                  <a:lnTo>
                    <a:pt x="111" y="763"/>
                  </a:lnTo>
                  <a:lnTo>
                    <a:pt x="128" y="768"/>
                  </a:lnTo>
                  <a:lnTo>
                    <a:pt x="147" y="775"/>
                  </a:lnTo>
                  <a:lnTo>
                    <a:pt x="167" y="780"/>
                  </a:lnTo>
                  <a:lnTo>
                    <a:pt x="187" y="785"/>
                  </a:lnTo>
                  <a:lnTo>
                    <a:pt x="208" y="788"/>
                  </a:lnTo>
                  <a:lnTo>
                    <a:pt x="227" y="789"/>
                  </a:lnTo>
                  <a:lnTo>
                    <a:pt x="259" y="787"/>
                  </a:lnTo>
                  <a:lnTo>
                    <a:pt x="287" y="779"/>
                  </a:lnTo>
                  <a:lnTo>
                    <a:pt x="310" y="768"/>
                  </a:lnTo>
                  <a:lnTo>
                    <a:pt x="329" y="754"/>
                  </a:lnTo>
                  <a:lnTo>
                    <a:pt x="344" y="736"/>
                  </a:lnTo>
                  <a:lnTo>
                    <a:pt x="353" y="714"/>
                  </a:lnTo>
                  <a:lnTo>
                    <a:pt x="356" y="691"/>
                  </a:lnTo>
                  <a:lnTo>
                    <a:pt x="354" y="669"/>
                  </a:lnTo>
                  <a:lnTo>
                    <a:pt x="346" y="650"/>
                  </a:lnTo>
                  <a:lnTo>
                    <a:pt x="334" y="631"/>
                  </a:lnTo>
                  <a:lnTo>
                    <a:pt x="317" y="614"/>
                  </a:lnTo>
                  <a:lnTo>
                    <a:pt x="293" y="597"/>
                  </a:lnTo>
                  <a:lnTo>
                    <a:pt x="263" y="581"/>
                  </a:lnTo>
                  <a:lnTo>
                    <a:pt x="227" y="566"/>
                  </a:lnTo>
                  <a:lnTo>
                    <a:pt x="197" y="553"/>
                  </a:lnTo>
                  <a:lnTo>
                    <a:pt x="167" y="540"/>
                  </a:lnTo>
                  <a:lnTo>
                    <a:pt x="138" y="525"/>
                  </a:lnTo>
                  <a:lnTo>
                    <a:pt x="111" y="510"/>
                  </a:lnTo>
                  <a:lnTo>
                    <a:pt x="86" y="493"/>
                  </a:lnTo>
                  <a:lnTo>
                    <a:pt x="64" y="473"/>
                  </a:lnTo>
                  <a:lnTo>
                    <a:pt x="45" y="452"/>
                  </a:lnTo>
                  <a:lnTo>
                    <a:pt x="29" y="427"/>
                  </a:lnTo>
                  <a:lnTo>
                    <a:pt x="18" y="400"/>
                  </a:lnTo>
                  <a:lnTo>
                    <a:pt x="10" y="370"/>
                  </a:lnTo>
                  <a:lnTo>
                    <a:pt x="8" y="338"/>
                  </a:lnTo>
                  <a:lnTo>
                    <a:pt x="10" y="304"/>
                  </a:lnTo>
                  <a:lnTo>
                    <a:pt x="18" y="273"/>
                  </a:lnTo>
                  <a:lnTo>
                    <a:pt x="30" y="244"/>
                  </a:lnTo>
                  <a:lnTo>
                    <a:pt x="47" y="217"/>
                  </a:lnTo>
                  <a:lnTo>
                    <a:pt x="67" y="192"/>
                  </a:lnTo>
                  <a:lnTo>
                    <a:pt x="92" y="171"/>
                  </a:lnTo>
                  <a:lnTo>
                    <a:pt x="121" y="153"/>
                  </a:lnTo>
                  <a:lnTo>
                    <a:pt x="152" y="138"/>
                  </a:lnTo>
                  <a:lnTo>
                    <a:pt x="188" y="127"/>
                  </a:lnTo>
                  <a:lnTo>
                    <a:pt x="189" y="127"/>
                  </a:lnTo>
                  <a:lnTo>
                    <a:pt x="192" y="126"/>
                  </a:lnTo>
                  <a:lnTo>
                    <a:pt x="194" y="125"/>
                  </a:lnTo>
                  <a:lnTo>
                    <a:pt x="195" y="123"/>
                  </a:lnTo>
                  <a:lnTo>
                    <a:pt x="197" y="121"/>
                  </a:lnTo>
                  <a:lnTo>
                    <a:pt x="197" y="118"/>
                  </a:lnTo>
                  <a:lnTo>
                    <a:pt x="197" y="40"/>
                  </a:lnTo>
                  <a:lnTo>
                    <a:pt x="200" y="24"/>
                  </a:lnTo>
                  <a:lnTo>
                    <a:pt x="209" y="11"/>
                  </a:lnTo>
                  <a:lnTo>
                    <a:pt x="223" y="3"/>
                  </a:lnTo>
                  <a:lnTo>
                    <a:pt x="2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Freeform 54"/>
            <p:cNvSpPr>
              <a:spLocks noEditPoints="1"/>
            </p:cNvSpPr>
            <p:nvPr/>
          </p:nvSpPr>
          <p:spPr bwMode="auto">
            <a:xfrm>
              <a:off x="9696451" y="1238250"/>
              <a:ext cx="774700" cy="774700"/>
            </a:xfrm>
            <a:custGeom>
              <a:avLst/>
              <a:gdLst>
                <a:gd name="T0" fmla="*/ 835 w 1954"/>
                <a:gd name="T1" fmla="*/ 241 h 1952"/>
                <a:gd name="T2" fmla="*/ 639 w 1954"/>
                <a:gd name="T3" fmla="*/ 308 h 1952"/>
                <a:gd name="T4" fmla="*/ 471 w 1954"/>
                <a:gd name="T5" fmla="*/ 423 h 1952"/>
                <a:gd name="T6" fmla="*/ 341 w 1954"/>
                <a:gd name="T7" fmla="*/ 578 h 1952"/>
                <a:gd name="T8" fmla="*/ 257 w 1954"/>
                <a:gd name="T9" fmla="*/ 765 h 1952"/>
                <a:gd name="T10" fmla="*/ 227 w 1954"/>
                <a:gd name="T11" fmla="*/ 977 h 1952"/>
                <a:gd name="T12" fmla="*/ 257 w 1954"/>
                <a:gd name="T13" fmla="*/ 1187 h 1952"/>
                <a:gd name="T14" fmla="*/ 341 w 1954"/>
                <a:gd name="T15" fmla="*/ 1374 h 1952"/>
                <a:gd name="T16" fmla="*/ 471 w 1954"/>
                <a:gd name="T17" fmla="*/ 1529 h 1952"/>
                <a:gd name="T18" fmla="*/ 639 w 1954"/>
                <a:gd name="T19" fmla="*/ 1646 h 1952"/>
                <a:gd name="T20" fmla="*/ 835 w 1954"/>
                <a:gd name="T21" fmla="*/ 1712 h 1952"/>
                <a:gd name="T22" fmla="*/ 1050 w 1954"/>
                <a:gd name="T23" fmla="*/ 1722 h 1952"/>
                <a:gd name="T24" fmla="*/ 1254 w 1954"/>
                <a:gd name="T25" fmla="*/ 1673 h 1952"/>
                <a:gd name="T26" fmla="*/ 1431 w 1954"/>
                <a:gd name="T27" fmla="*/ 1573 h 1952"/>
                <a:gd name="T28" fmla="*/ 1574 w 1954"/>
                <a:gd name="T29" fmla="*/ 1430 h 1952"/>
                <a:gd name="T30" fmla="*/ 1675 w 1954"/>
                <a:gd name="T31" fmla="*/ 1252 h 1952"/>
                <a:gd name="T32" fmla="*/ 1724 w 1954"/>
                <a:gd name="T33" fmla="*/ 1048 h 1952"/>
                <a:gd name="T34" fmla="*/ 1714 w 1954"/>
                <a:gd name="T35" fmla="*/ 833 h 1952"/>
                <a:gd name="T36" fmla="*/ 1647 w 1954"/>
                <a:gd name="T37" fmla="*/ 638 h 1952"/>
                <a:gd name="T38" fmla="*/ 1532 w 1954"/>
                <a:gd name="T39" fmla="*/ 471 h 1952"/>
                <a:gd name="T40" fmla="*/ 1376 w 1954"/>
                <a:gd name="T41" fmla="*/ 341 h 1952"/>
                <a:gd name="T42" fmla="*/ 1188 w 1954"/>
                <a:gd name="T43" fmla="*/ 256 h 1952"/>
                <a:gd name="T44" fmla="*/ 977 w 1954"/>
                <a:gd name="T45" fmla="*/ 227 h 1952"/>
                <a:gd name="T46" fmla="*/ 1135 w 1954"/>
                <a:gd name="T47" fmla="*/ 14 h 1952"/>
                <a:gd name="T48" fmla="*/ 1357 w 1954"/>
                <a:gd name="T49" fmla="*/ 77 h 1952"/>
                <a:gd name="T50" fmla="*/ 1554 w 1954"/>
                <a:gd name="T51" fmla="*/ 189 h 1952"/>
                <a:gd name="T52" fmla="*/ 1719 w 1954"/>
                <a:gd name="T53" fmla="*/ 341 h 1952"/>
                <a:gd name="T54" fmla="*/ 1845 w 1954"/>
                <a:gd name="T55" fmla="*/ 528 h 1952"/>
                <a:gd name="T56" fmla="*/ 1926 w 1954"/>
                <a:gd name="T57" fmla="*/ 742 h 1952"/>
                <a:gd name="T58" fmla="*/ 1954 w 1954"/>
                <a:gd name="T59" fmla="*/ 977 h 1952"/>
                <a:gd name="T60" fmla="*/ 1926 w 1954"/>
                <a:gd name="T61" fmla="*/ 1210 h 1952"/>
                <a:gd name="T62" fmla="*/ 1845 w 1954"/>
                <a:gd name="T63" fmla="*/ 1424 h 1952"/>
                <a:gd name="T64" fmla="*/ 1719 w 1954"/>
                <a:gd name="T65" fmla="*/ 1611 h 1952"/>
                <a:gd name="T66" fmla="*/ 1554 w 1954"/>
                <a:gd name="T67" fmla="*/ 1763 h 1952"/>
                <a:gd name="T68" fmla="*/ 1357 w 1954"/>
                <a:gd name="T69" fmla="*/ 1875 h 1952"/>
                <a:gd name="T70" fmla="*/ 1135 w 1954"/>
                <a:gd name="T71" fmla="*/ 1939 h 1952"/>
                <a:gd name="T72" fmla="*/ 896 w 1954"/>
                <a:gd name="T73" fmla="*/ 1949 h 1952"/>
                <a:gd name="T74" fmla="*/ 668 w 1954"/>
                <a:gd name="T75" fmla="*/ 1902 h 1952"/>
                <a:gd name="T76" fmla="*/ 463 w 1954"/>
                <a:gd name="T77" fmla="*/ 1805 h 1952"/>
                <a:gd name="T78" fmla="*/ 286 w 1954"/>
                <a:gd name="T79" fmla="*/ 1666 h 1952"/>
                <a:gd name="T80" fmla="*/ 147 w 1954"/>
                <a:gd name="T81" fmla="*/ 1490 h 1952"/>
                <a:gd name="T82" fmla="*/ 50 w 1954"/>
                <a:gd name="T83" fmla="*/ 1284 h 1952"/>
                <a:gd name="T84" fmla="*/ 4 w 1954"/>
                <a:gd name="T85" fmla="*/ 1056 h 1952"/>
                <a:gd name="T86" fmla="*/ 13 w 1954"/>
                <a:gd name="T87" fmla="*/ 818 h 1952"/>
                <a:gd name="T88" fmla="*/ 77 w 1954"/>
                <a:gd name="T89" fmla="*/ 596 h 1952"/>
                <a:gd name="T90" fmla="*/ 189 w 1954"/>
                <a:gd name="T91" fmla="*/ 399 h 1952"/>
                <a:gd name="T92" fmla="*/ 341 w 1954"/>
                <a:gd name="T93" fmla="*/ 235 h 1952"/>
                <a:gd name="T94" fmla="*/ 528 w 1954"/>
                <a:gd name="T95" fmla="*/ 110 h 1952"/>
                <a:gd name="T96" fmla="*/ 742 w 1954"/>
                <a:gd name="T97" fmla="*/ 29 h 1952"/>
                <a:gd name="T98" fmla="*/ 977 w 1954"/>
                <a:gd name="T99" fmla="*/ 0 h 1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4" h="1952">
                  <a:moveTo>
                    <a:pt x="977" y="227"/>
                  </a:moveTo>
                  <a:lnTo>
                    <a:pt x="904" y="231"/>
                  </a:lnTo>
                  <a:lnTo>
                    <a:pt x="835" y="241"/>
                  </a:lnTo>
                  <a:lnTo>
                    <a:pt x="767" y="256"/>
                  </a:lnTo>
                  <a:lnTo>
                    <a:pt x="700" y="279"/>
                  </a:lnTo>
                  <a:lnTo>
                    <a:pt x="639" y="308"/>
                  </a:lnTo>
                  <a:lnTo>
                    <a:pt x="578" y="341"/>
                  </a:lnTo>
                  <a:lnTo>
                    <a:pt x="524" y="379"/>
                  </a:lnTo>
                  <a:lnTo>
                    <a:pt x="471" y="423"/>
                  </a:lnTo>
                  <a:lnTo>
                    <a:pt x="423" y="471"/>
                  </a:lnTo>
                  <a:lnTo>
                    <a:pt x="380" y="522"/>
                  </a:lnTo>
                  <a:lnTo>
                    <a:pt x="341" y="578"/>
                  </a:lnTo>
                  <a:lnTo>
                    <a:pt x="307" y="638"/>
                  </a:lnTo>
                  <a:lnTo>
                    <a:pt x="279" y="700"/>
                  </a:lnTo>
                  <a:lnTo>
                    <a:pt x="257" y="765"/>
                  </a:lnTo>
                  <a:lnTo>
                    <a:pt x="240" y="833"/>
                  </a:lnTo>
                  <a:lnTo>
                    <a:pt x="230" y="904"/>
                  </a:lnTo>
                  <a:lnTo>
                    <a:pt x="227" y="977"/>
                  </a:lnTo>
                  <a:lnTo>
                    <a:pt x="230" y="1048"/>
                  </a:lnTo>
                  <a:lnTo>
                    <a:pt x="240" y="1119"/>
                  </a:lnTo>
                  <a:lnTo>
                    <a:pt x="257" y="1187"/>
                  </a:lnTo>
                  <a:lnTo>
                    <a:pt x="279" y="1252"/>
                  </a:lnTo>
                  <a:lnTo>
                    <a:pt x="307" y="1314"/>
                  </a:lnTo>
                  <a:lnTo>
                    <a:pt x="341" y="1374"/>
                  </a:lnTo>
                  <a:lnTo>
                    <a:pt x="380" y="1430"/>
                  </a:lnTo>
                  <a:lnTo>
                    <a:pt x="423" y="1481"/>
                  </a:lnTo>
                  <a:lnTo>
                    <a:pt x="471" y="1529"/>
                  </a:lnTo>
                  <a:lnTo>
                    <a:pt x="524" y="1573"/>
                  </a:lnTo>
                  <a:lnTo>
                    <a:pt x="578" y="1612"/>
                  </a:lnTo>
                  <a:lnTo>
                    <a:pt x="639" y="1646"/>
                  </a:lnTo>
                  <a:lnTo>
                    <a:pt x="700" y="1673"/>
                  </a:lnTo>
                  <a:lnTo>
                    <a:pt x="767" y="1696"/>
                  </a:lnTo>
                  <a:lnTo>
                    <a:pt x="835" y="1712"/>
                  </a:lnTo>
                  <a:lnTo>
                    <a:pt x="904" y="1722"/>
                  </a:lnTo>
                  <a:lnTo>
                    <a:pt x="977" y="1726"/>
                  </a:lnTo>
                  <a:lnTo>
                    <a:pt x="1050" y="1722"/>
                  </a:lnTo>
                  <a:lnTo>
                    <a:pt x="1119" y="1712"/>
                  </a:lnTo>
                  <a:lnTo>
                    <a:pt x="1188" y="1696"/>
                  </a:lnTo>
                  <a:lnTo>
                    <a:pt x="1254" y="1673"/>
                  </a:lnTo>
                  <a:lnTo>
                    <a:pt x="1315" y="1646"/>
                  </a:lnTo>
                  <a:lnTo>
                    <a:pt x="1376" y="1612"/>
                  </a:lnTo>
                  <a:lnTo>
                    <a:pt x="1431" y="1573"/>
                  </a:lnTo>
                  <a:lnTo>
                    <a:pt x="1483" y="1529"/>
                  </a:lnTo>
                  <a:lnTo>
                    <a:pt x="1532" y="1481"/>
                  </a:lnTo>
                  <a:lnTo>
                    <a:pt x="1574" y="1430"/>
                  </a:lnTo>
                  <a:lnTo>
                    <a:pt x="1613" y="1374"/>
                  </a:lnTo>
                  <a:lnTo>
                    <a:pt x="1647" y="1314"/>
                  </a:lnTo>
                  <a:lnTo>
                    <a:pt x="1675" y="1252"/>
                  </a:lnTo>
                  <a:lnTo>
                    <a:pt x="1697" y="1187"/>
                  </a:lnTo>
                  <a:lnTo>
                    <a:pt x="1714" y="1119"/>
                  </a:lnTo>
                  <a:lnTo>
                    <a:pt x="1724" y="1048"/>
                  </a:lnTo>
                  <a:lnTo>
                    <a:pt x="1728" y="977"/>
                  </a:lnTo>
                  <a:lnTo>
                    <a:pt x="1724" y="904"/>
                  </a:lnTo>
                  <a:lnTo>
                    <a:pt x="1714" y="833"/>
                  </a:lnTo>
                  <a:lnTo>
                    <a:pt x="1697" y="765"/>
                  </a:lnTo>
                  <a:lnTo>
                    <a:pt x="1675" y="700"/>
                  </a:lnTo>
                  <a:lnTo>
                    <a:pt x="1647" y="638"/>
                  </a:lnTo>
                  <a:lnTo>
                    <a:pt x="1613" y="578"/>
                  </a:lnTo>
                  <a:lnTo>
                    <a:pt x="1574" y="522"/>
                  </a:lnTo>
                  <a:lnTo>
                    <a:pt x="1532" y="471"/>
                  </a:lnTo>
                  <a:lnTo>
                    <a:pt x="1483" y="423"/>
                  </a:lnTo>
                  <a:lnTo>
                    <a:pt x="1431" y="379"/>
                  </a:lnTo>
                  <a:lnTo>
                    <a:pt x="1376" y="341"/>
                  </a:lnTo>
                  <a:lnTo>
                    <a:pt x="1315" y="308"/>
                  </a:lnTo>
                  <a:lnTo>
                    <a:pt x="1254" y="279"/>
                  </a:lnTo>
                  <a:lnTo>
                    <a:pt x="1188" y="256"/>
                  </a:lnTo>
                  <a:lnTo>
                    <a:pt x="1119" y="241"/>
                  </a:lnTo>
                  <a:lnTo>
                    <a:pt x="1050" y="231"/>
                  </a:lnTo>
                  <a:lnTo>
                    <a:pt x="977" y="227"/>
                  </a:lnTo>
                  <a:close/>
                  <a:moveTo>
                    <a:pt x="977" y="0"/>
                  </a:moveTo>
                  <a:lnTo>
                    <a:pt x="1058" y="3"/>
                  </a:lnTo>
                  <a:lnTo>
                    <a:pt x="1135" y="14"/>
                  </a:lnTo>
                  <a:lnTo>
                    <a:pt x="1212" y="29"/>
                  </a:lnTo>
                  <a:lnTo>
                    <a:pt x="1286" y="50"/>
                  </a:lnTo>
                  <a:lnTo>
                    <a:pt x="1357" y="77"/>
                  </a:lnTo>
                  <a:lnTo>
                    <a:pt x="1426" y="110"/>
                  </a:lnTo>
                  <a:lnTo>
                    <a:pt x="1491" y="147"/>
                  </a:lnTo>
                  <a:lnTo>
                    <a:pt x="1554" y="189"/>
                  </a:lnTo>
                  <a:lnTo>
                    <a:pt x="1613" y="235"/>
                  </a:lnTo>
                  <a:lnTo>
                    <a:pt x="1668" y="286"/>
                  </a:lnTo>
                  <a:lnTo>
                    <a:pt x="1719" y="341"/>
                  </a:lnTo>
                  <a:lnTo>
                    <a:pt x="1766" y="399"/>
                  </a:lnTo>
                  <a:lnTo>
                    <a:pt x="1807" y="462"/>
                  </a:lnTo>
                  <a:lnTo>
                    <a:pt x="1845" y="528"/>
                  </a:lnTo>
                  <a:lnTo>
                    <a:pt x="1878" y="596"/>
                  </a:lnTo>
                  <a:lnTo>
                    <a:pt x="1904" y="668"/>
                  </a:lnTo>
                  <a:lnTo>
                    <a:pt x="1926" y="742"/>
                  </a:lnTo>
                  <a:lnTo>
                    <a:pt x="1941" y="818"/>
                  </a:lnTo>
                  <a:lnTo>
                    <a:pt x="1950" y="896"/>
                  </a:lnTo>
                  <a:lnTo>
                    <a:pt x="1954" y="977"/>
                  </a:lnTo>
                  <a:lnTo>
                    <a:pt x="1950" y="1056"/>
                  </a:lnTo>
                  <a:lnTo>
                    <a:pt x="1941" y="1134"/>
                  </a:lnTo>
                  <a:lnTo>
                    <a:pt x="1926" y="1210"/>
                  </a:lnTo>
                  <a:lnTo>
                    <a:pt x="1904" y="1284"/>
                  </a:lnTo>
                  <a:lnTo>
                    <a:pt x="1878" y="1356"/>
                  </a:lnTo>
                  <a:lnTo>
                    <a:pt x="1845" y="1424"/>
                  </a:lnTo>
                  <a:lnTo>
                    <a:pt x="1807" y="1490"/>
                  </a:lnTo>
                  <a:lnTo>
                    <a:pt x="1766" y="1553"/>
                  </a:lnTo>
                  <a:lnTo>
                    <a:pt x="1719" y="1611"/>
                  </a:lnTo>
                  <a:lnTo>
                    <a:pt x="1668" y="1666"/>
                  </a:lnTo>
                  <a:lnTo>
                    <a:pt x="1613" y="1717"/>
                  </a:lnTo>
                  <a:lnTo>
                    <a:pt x="1554" y="1763"/>
                  </a:lnTo>
                  <a:lnTo>
                    <a:pt x="1491" y="1805"/>
                  </a:lnTo>
                  <a:lnTo>
                    <a:pt x="1426" y="1842"/>
                  </a:lnTo>
                  <a:lnTo>
                    <a:pt x="1357" y="1875"/>
                  </a:lnTo>
                  <a:lnTo>
                    <a:pt x="1286" y="1902"/>
                  </a:lnTo>
                  <a:lnTo>
                    <a:pt x="1212" y="1923"/>
                  </a:lnTo>
                  <a:lnTo>
                    <a:pt x="1135" y="1939"/>
                  </a:lnTo>
                  <a:lnTo>
                    <a:pt x="1058" y="1949"/>
                  </a:lnTo>
                  <a:lnTo>
                    <a:pt x="977" y="1952"/>
                  </a:lnTo>
                  <a:lnTo>
                    <a:pt x="896" y="1949"/>
                  </a:lnTo>
                  <a:lnTo>
                    <a:pt x="819" y="1939"/>
                  </a:lnTo>
                  <a:lnTo>
                    <a:pt x="742" y="1923"/>
                  </a:lnTo>
                  <a:lnTo>
                    <a:pt x="668" y="1902"/>
                  </a:lnTo>
                  <a:lnTo>
                    <a:pt x="597" y="1875"/>
                  </a:lnTo>
                  <a:lnTo>
                    <a:pt x="528" y="1842"/>
                  </a:lnTo>
                  <a:lnTo>
                    <a:pt x="463" y="1805"/>
                  </a:lnTo>
                  <a:lnTo>
                    <a:pt x="400" y="1763"/>
                  </a:lnTo>
                  <a:lnTo>
                    <a:pt x="341" y="1717"/>
                  </a:lnTo>
                  <a:lnTo>
                    <a:pt x="286" y="1666"/>
                  </a:lnTo>
                  <a:lnTo>
                    <a:pt x="236" y="1611"/>
                  </a:lnTo>
                  <a:lnTo>
                    <a:pt x="189" y="1553"/>
                  </a:lnTo>
                  <a:lnTo>
                    <a:pt x="147" y="1490"/>
                  </a:lnTo>
                  <a:lnTo>
                    <a:pt x="109" y="1424"/>
                  </a:lnTo>
                  <a:lnTo>
                    <a:pt x="77" y="1356"/>
                  </a:lnTo>
                  <a:lnTo>
                    <a:pt x="50" y="1284"/>
                  </a:lnTo>
                  <a:lnTo>
                    <a:pt x="28" y="1210"/>
                  </a:lnTo>
                  <a:lnTo>
                    <a:pt x="13" y="1134"/>
                  </a:lnTo>
                  <a:lnTo>
                    <a:pt x="4" y="1056"/>
                  </a:lnTo>
                  <a:lnTo>
                    <a:pt x="0" y="977"/>
                  </a:lnTo>
                  <a:lnTo>
                    <a:pt x="4" y="896"/>
                  </a:lnTo>
                  <a:lnTo>
                    <a:pt x="13" y="818"/>
                  </a:lnTo>
                  <a:lnTo>
                    <a:pt x="28" y="742"/>
                  </a:lnTo>
                  <a:lnTo>
                    <a:pt x="50" y="668"/>
                  </a:lnTo>
                  <a:lnTo>
                    <a:pt x="77" y="596"/>
                  </a:lnTo>
                  <a:lnTo>
                    <a:pt x="109" y="528"/>
                  </a:lnTo>
                  <a:lnTo>
                    <a:pt x="147" y="462"/>
                  </a:lnTo>
                  <a:lnTo>
                    <a:pt x="189" y="399"/>
                  </a:lnTo>
                  <a:lnTo>
                    <a:pt x="236" y="341"/>
                  </a:lnTo>
                  <a:lnTo>
                    <a:pt x="286" y="286"/>
                  </a:lnTo>
                  <a:lnTo>
                    <a:pt x="341" y="235"/>
                  </a:lnTo>
                  <a:lnTo>
                    <a:pt x="400" y="189"/>
                  </a:lnTo>
                  <a:lnTo>
                    <a:pt x="463" y="147"/>
                  </a:lnTo>
                  <a:lnTo>
                    <a:pt x="528" y="110"/>
                  </a:lnTo>
                  <a:lnTo>
                    <a:pt x="597" y="77"/>
                  </a:lnTo>
                  <a:lnTo>
                    <a:pt x="668" y="50"/>
                  </a:lnTo>
                  <a:lnTo>
                    <a:pt x="742" y="29"/>
                  </a:lnTo>
                  <a:lnTo>
                    <a:pt x="819" y="14"/>
                  </a:lnTo>
                  <a:lnTo>
                    <a:pt x="896" y="3"/>
                  </a:lnTo>
                  <a:lnTo>
                    <a:pt x="9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Freeform 55"/>
            <p:cNvSpPr>
              <a:spLocks/>
            </p:cNvSpPr>
            <p:nvPr/>
          </p:nvSpPr>
          <p:spPr bwMode="auto">
            <a:xfrm>
              <a:off x="9409113" y="2049463"/>
              <a:ext cx="1062038" cy="468313"/>
            </a:xfrm>
            <a:custGeom>
              <a:avLst/>
              <a:gdLst>
                <a:gd name="T0" fmla="*/ 846 w 2677"/>
                <a:gd name="T1" fmla="*/ 14 h 1177"/>
                <a:gd name="T2" fmla="*/ 1051 w 2677"/>
                <a:gd name="T3" fmla="*/ 60 h 1177"/>
                <a:gd name="T4" fmla="*/ 1272 w 2677"/>
                <a:gd name="T5" fmla="*/ 122 h 1177"/>
                <a:gd name="T6" fmla="*/ 1477 w 2677"/>
                <a:gd name="T7" fmla="*/ 187 h 1177"/>
                <a:gd name="T8" fmla="*/ 1635 w 2677"/>
                <a:gd name="T9" fmla="*/ 237 h 1177"/>
                <a:gd name="T10" fmla="*/ 1722 w 2677"/>
                <a:gd name="T11" fmla="*/ 263 h 1177"/>
                <a:gd name="T12" fmla="*/ 1776 w 2677"/>
                <a:gd name="T13" fmla="*/ 316 h 1177"/>
                <a:gd name="T14" fmla="*/ 1783 w 2677"/>
                <a:gd name="T15" fmla="*/ 395 h 1177"/>
                <a:gd name="T16" fmla="*/ 1730 w 2677"/>
                <a:gd name="T17" fmla="*/ 473 h 1177"/>
                <a:gd name="T18" fmla="*/ 1606 w 2677"/>
                <a:gd name="T19" fmla="*/ 521 h 1177"/>
                <a:gd name="T20" fmla="*/ 1442 w 2677"/>
                <a:gd name="T21" fmla="*/ 530 h 1177"/>
                <a:gd name="T22" fmla="*/ 1273 w 2677"/>
                <a:gd name="T23" fmla="*/ 513 h 1177"/>
                <a:gd name="T24" fmla="*/ 1122 w 2677"/>
                <a:gd name="T25" fmla="*/ 488 h 1177"/>
                <a:gd name="T26" fmla="*/ 1013 w 2677"/>
                <a:gd name="T27" fmla="*/ 469 h 1177"/>
                <a:gd name="T28" fmla="*/ 972 w 2677"/>
                <a:gd name="T29" fmla="*/ 475 h 1177"/>
                <a:gd name="T30" fmla="*/ 1029 w 2677"/>
                <a:gd name="T31" fmla="*/ 543 h 1177"/>
                <a:gd name="T32" fmla="*/ 1173 w 2677"/>
                <a:gd name="T33" fmla="*/ 601 h 1177"/>
                <a:gd name="T34" fmla="*/ 1366 w 2677"/>
                <a:gd name="T35" fmla="*/ 639 h 1177"/>
                <a:gd name="T36" fmla="*/ 1568 w 2677"/>
                <a:gd name="T37" fmla="*/ 653 h 1177"/>
                <a:gd name="T38" fmla="*/ 1809 w 2677"/>
                <a:gd name="T39" fmla="*/ 625 h 1177"/>
                <a:gd name="T40" fmla="*/ 2218 w 2677"/>
                <a:gd name="T41" fmla="*/ 502 h 1177"/>
                <a:gd name="T42" fmla="*/ 2511 w 2677"/>
                <a:gd name="T43" fmla="*/ 366 h 1177"/>
                <a:gd name="T44" fmla="*/ 2616 w 2677"/>
                <a:gd name="T45" fmla="*/ 375 h 1177"/>
                <a:gd name="T46" fmla="*/ 2673 w 2677"/>
                <a:gd name="T47" fmla="*/ 457 h 1177"/>
                <a:gd name="T48" fmla="*/ 2647 w 2677"/>
                <a:gd name="T49" fmla="*/ 583 h 1177"/>
                <a:gd name="T50" fmla="*/ 2550 w 2677"/>
                <a:gd name="T51" fmla="*/ 687 h 1177"/>
                <a:gd name="T52" fmla="*/ 2416 w 2677"/>
                <a:gd name="T53" fmla="*/ 779 h 1177"/>
                <a:gd name="T54" fmla="*/ 2234 w 2677"/>
                <a:gd name="T55" fmla="*/ 892 h 1177"/>
                <a:gd name="T56" fmla="*/ 2033 w 2677"/>
                <a:gd name="T57" fmla="*/ 1005 h 1177"/>
                <a:gd name="T58" fmla="*/ 1840 w 2677"/>
                <a:gd name="T59" fmla="*/ 1102 h 1177"/>
                <a:gd name="T60" fmla="*/ 1684 w 2677"/>
                <a:gd name="T61" fmla="*/ 1164 h 1177"/>
                <a:gd name="T62" fmla="*/ 1576 w 2677"/>
                <a:gd name="T63" fmla="*/ 1177 h 1177"/>
                <a:gd name="T64" fmla="*/ 1395 w 2677"/>
                <a:gd name="T65" fmla="*/ 1161 h 1177"/>
                <a:gd name="T66" fmla="*/ 1159 w 2677"/>
                <a:gd name="T67" fmla="*/ 1130 h 1177"/>
                <a:gd name="T68" fmla="*/ 898 w 2677"/>
                <a:gd name="T69" fmla="*/ 1089 h 1177"/>
                <a:gd name="T70" fmla="*/ 647 w 2677"/>
                <a:gd name="T71" fmla="*/ 1047 h 1177"/>
                <a:gd name="T72" fmla="*/ 440 w 2677"/>
                <a:gd name="T73" fmla="*/ 1009 h 1177"/>
                <a:gd name="T74" fmla="*/ 309 w 2677"/>
                <a:gd name="T75" fmla="*/ 984 h 1177"/>
                <a:gd name="T76" fmla="*/ 200 w 2677"/>
                <a:gd name="T77" fmla="*/ 988 h 1177"/>
                <a:gd name="T78" fmla="*/ 87 w 2677"/>
                <a:gd name="T79" fmla="*/ 1052 h 1177"/>
                <a:gd name="T80" fmla="*/ 28 w 2677"/>
                <a:gd name="T81" fmla="*/ 1089 h 1177"/>
                <a:gd name="T82" fmla="*/ 5 w 2677"/>
                <a:gd name="T83" fmla="*/ 1069 h 1177"/>
                <a:gd name="T84" fmla="*/ 0 w 2677"/>
                <a:gd name="T85" fmla="*/ 1048 h 1177"/>
                <a:gd name="T86" fmla="*/ 18 w 2677"/>
                <a:gd name="T87" fmla="*/ 776 h 1177"/>
                <a:gd name="T88" fmla="*/ 38 w 2677"/>
                <a:gd name="T89" fmla="*/ 461 h 1177"/>
                <a:gd name="T90" fmla="*/ 56 w 2677"/>
                <a:gd name="T91" fmla="*/ 179 h 1177"/>
                <a:gd name="T92" fmla="*/ 75 w 2677"/>
                <a:gd name="T93" fmla="*/ 86 h 1177"/>
                <a:gd name="T94" fmla="*/ 127 w 2677"/>
                <a:gd name="T95" fmla="*/ 70 h 1177"/>
                <a:gd name="T96" fmla="*/ 269 w 2677"/>
                <a:gd name="T97" fmla="*/ 48 h 1177"/>
                <a:gd name="T98" fmla="*/ 468 w 2677"/>
                <a:gd name="T99" fmla="*/ 20 h 1177"/>
                <a:gd name="T100" fmla="*/ 653 w 2677"/>
                <a:gd name="T101" fmla="*/ 2 h 1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77" h="1177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4"/>
                  </a:lnTo>
                  <a:lnTo>
                    <a:pt x="895" y="23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0"/>
                  </a:lnTo>
                  <a:lnTo>
                    <a:pt x="1106" y="75"/>
                  </a:lnTo>
                  <a:lnTo>
                    <a:pt x="1162" y="90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5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1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7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6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5"/>
                  </a:lnTo>
                  <a:lnTo>
                    <a:pt x="1766" y="300"/>
                  </a:lnTo>
                  <a:lnTo>
                    <a:pt x="1776" y="316"/>
                  </a:lnTo>
                  <a:lnTo>
                    <a:pt x="1782" y="334"/>
                  </a:lnTo>
                  <a:lnTo>
                    <a:pt x="1786" y="354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6"/>
                  </a:lnTo>
                  <a:lnTo>
                    <a:pt x="1765" y="436"/>
                  </a:lnTo>
                  <a:lnTo>
                    <a:pt x="1749" y="455"/>
                  </a:lnTo>
                  <a:lnTo>
                    <a:pt x="1730" y="473"/>
                  </a:lnTo>
                  <a:lnTo>
                    <a:pt x="1705" y="489"/>
                  </a:lnTo>
                  <a:lnTo>
                    <a:pt x="1676" y="502"/>
                  </a:lnTo>
                  <a:lnTo>
                    <a:pt x="1643" y="513"/>
                  </a:lnTo>
                  <a:lnTo>
                    <a:pt x="1606" y="521"/>
                  </a:lnTo>
                  <a:lnTo>
                    <a:pt x="1567" y="527"/>
                  </a:lnTo>
                  <a:lnTo>
                    <a:pt x="1526" y="530"/>
                  </a:lnTo>
                  <a:lnTo>
                    <a:pt x="1485" y="531"/>
                  </a:lnTo>
                  <a:lnTo>
                    <a:pt x="1442" y="530"/>
                  </a:lnTo>
                  <a:lnTo>
                    <a:pt x="1400" y="528"/>
                  </a:lnTo>
                  <a:lnTo>
                    <a:pt x="1356" y="524"/>
                  </a:lnTo>
                  <a:lnTo>
                    <a:pt x="1315" y="519"/>
                  </a:lnTo>
                  <a:lnTo>
                    <a:pt x="1273" y="513"/>
                  </a:lnTo>
                  <a:lnTo>
                    <a:pt x="1232" y="507"/>
                  </a:lnTo>
                  <a:lnTo>
                    <a:pt x="1194" y="500"/>
                  </a:lnTo>
                  <a:lnTo>
                    <a:pt x="1157" y="493"/>
                  </a:lnTo>
                  <a:lnTo>
                    <a:pt x="1122" y="488"/>
                  </a:lnTo>
                  <a:lnTo>
                    <a:pt x="1089" y="481"/>
                  </a:lnTo>
                  <a:lnTo>
                    <a:pt x="1060" y="476"/>
                  </a:lnTo>
                  <a:lnTo>
                    <a:pt x="1035" y="472"/>
                  </a:lnTo>
                  <a:lnTo>
                    <a:pt x="1013" y="469"/>
                  </a:lnTo>
                  <a:lnTo>
                    <a:pt x="995" y="467"/>
                  </a:lnTo>
                  <a:lnTo>
                    <a:pt x="983" y="467"/>
                  </a:lnTo>
                  <a:lnTo>
                    <a:pt x="974" y="471"/>
                  </a:lnTo>
                  <a:lnTo>
                    <a:pt x="972" y="475"/>
                  </a:lnTo>
                  <a:lnTo>
                    <a:pt x="975" y="493"/>
                  </a:lnTo>
                  <a:lnTo>
                    <a:pt x="986" y="510"/>
                  </a:lnTo>
                  <a:lnTo>
                    <a:pt x="1004" y="527"/>
                  </a:lnTo>
                  <a:lnTo>
                    <a:pt x="1029" y="543"/>
                  </a:lnTo>
                  <a:lnTo>
                    <a:pt x="1058" y="559"/>
                  </a:lnTo>
                  <a:lnTo>
                    <a:pt x="1093" y="574"/>
                  </a:lnTo>
                  <a:lnTo>
                    <a:pt x="1131" y="587"/>
                  </a:lnTo>
                  <a:lnTo>
                    <a:pt x="1173" y="601"/>
                  </a:lnTo>
                  <a:lnTo>
                    <a:pt x="1218" y="612"/>
                  </a:lnTo>
                  <a:lnTo>
                    <a:pt x="1266" y="622"/>
                  </a:lnTo>
                  <a:lnTo>
                    <a:pt x="1316" y="631"/>
                  </a:lnTo>
                  <a:lnTo>
                    <a:pt x="1366" y="639"/>
                  </a:lnTo>
                  <a:lnTo>
                    <a:pt x="1418" y="645"/>
                  </a:lnTo>
                  <a:lnTo>
                    <a:pt x="1468" y="650"/>
                  </a:lnTo>
                  <a:lnTo>
                    <a:pt x="1518" y="652"/>
                  </a:lnTo>
                  <a:lnTo>
                    <a:pt x="1568" y="653"/>
                  </a:lnTo>
                  <a:lnTo>
                    <a:pt x="1616" y="652"/>
                  </a:lnTo>
                  <a:lnTo>
                    <a:pt x="1661" y="650"/>
                  </a:lnTo>
                  <a:lnTo>
                    <a:pt x="1702" y="644"/>
                  </a:lnTo>
                  <a:lnTo>
                    <a:pt x="1809" y="625"/>
                  </a:lnTo>
                  <a:lnTo>
                    <a:pt x="1915" y="601"/>
                  </a:lnTo>
                  <a:lnTo>
                    <a:pt x="2019" y="571"/>
                  </a:lnTo>
                  <a:lnTo>
                    <a:pt x="2120" y="538"/>
                  </a:lnTo>
                  <a:lnTo>
                    <a:pt x="2218" y="502"/>
                  </a:lnTo>
                  <a:lnTo>
                    <a:pt x="2311" y="463"/>
                  </a:lnTo>
                  <a:lnTo>
                    <a:pt x="2399" y="422"/>
                  </a:lnTo>
                  <a:lnTo>
                    <a:pt x="2481" y="379"/>
                  </a:lnTo>
                  <a:lnTo>
                    <a:pt x="2511" y="366"/>
                  </a:lnTo>
                  <a:lnTo>
                    <a:pt x="2540" y="360"/>
                  </a:lnTo>
                  <a:lnTo>
                    <a:pt x="2567" y="359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89"/>
                  </a:lnTo>
                  <a:lnTo>
                    <a:pt x="2653" y="408"/>
                  </a:lnTo>
                  <a:lnTo>
                    <a:pt x="2665" y="432"/>
                  </a:lnTo>
                  <a:lnTo>
                    <a:pt x="2673" y="457"/>
                  </a:lnTo>
                  <a:lnTo>
                    <a:pt x="2677" y="485"/>
                  </a:lnTo>
                  <a:lnTo>
                    <a:pt x="2673" y="517"/>
                  </a:lnTo>
                  <a:lnTo>
                    <a:pt x="2663" y="549"/>
                  </a:lnTo>
                  <a:lnTo>
                    <a:pt x="2647" y="583"/>
                  </a:lnTo>
                  <a:lnTo>
                    <a:pt x="2623" y="617"/>
                  </a:lnTo>
                  <a:lnTo>
                    <a:pt x="2591" y="652"/>
                  </a:lnTo>
                  <a:lnTo>
                    <a:pt x="2573" y="668"/>
                  </a:lnTo>
                  <a:lnTo>
                    <a:pt x="2550" y="687"/>
                  </a:lnTo>
                  <a:lnTo>
                    <a:pt x="2523" y="707"/>
                  </a:lnTo>
                  <a:lnTo>
                    <a:pt x="2491" y="729"/>
                  </a:lnTo>
                  <a:lnTo>
                    <a:pt x="2455" y="754"/>
                  </a:lnTo>
                  <a:lnTo>
                    <a:pt x="2416" y="779"/>
                  </a:lnTo>
                  <a:lnTo>
                    <a:pt x="2374" y="807"/>
                  </a:lnTo>
                  <a:lnTo>
                    <a:pt x="2329" y="834"/>
                  </a:lnTo>
                  <a:lnTo>
                    <a:pt x="2282" y="863"/>
                  </a:lnTo>
                  <a:lnTo>
                    <a:pt x="2234" y="892"/>
                  </a:lnTo>
                  <a:lnTo>
                    <a:pt x="2185" y="922"/>
                  </a:lnTo>
                  <a:lnTo>
                    <a:pt x="2134" y="950"/>
                  </a:lnTo>
                  <a:lnTo>
                    <a:pt x="2083" y="977"/>
                  </a:lnTo>
                  <a:lnTo>
                    <a:pt x="2033" y="1005"/>
                  </a:lnTo>
                  <a:lnTo>
                    <a:pt x="1982" y="1032"/>
                  </a:lnTo>
                  <a:lnTo>
                    <a:pt x="1934" y="1057"/>
                  </a:lnTo>
                  <a:lnTo>
                    <a:pt x="1886" y="1080"/>
                  </a:lnTo>
                  <a:lnTo>
                    <a:pt x="1840" y="1102"/>
                  </a:lnTo>
                  <a:lnTo>
                    <a:pt x="1796" y="1122"/>
                  </a:lnTo>
                  <a:lnTo>
                    <a:pt x="1756" y="1139"/>
                  </a:lnTo>
                  <a:lnTo>
                    <a:pt x="1718" y="1153"/>
                  </a:lnTo>
                  <a:lnTo>
                    <a:pt x="1684" y="1164"/>
                  </a:lnTo>
                  <a:lnTo>
                    <a:pt x="1654" y="1172"/>
                  </a:lnTo>
                  <a:lnTo>
                    <a:pt x="1634" y="1175"/>
                  </a:lnTo>
                  <a:lnTo>
                    <a:pt x="1608" y="1177"/>
                  </a:lnTo>
                  <a:lnTo>
                    <a:pt x="1576" y="1177"/>
                  </a:lnTo>
                  <a:lnTo>
                    <a:pt x="1537" y="1174"/>
                  </a:lnTo>
                  <a:lnTo>
                    <a:pt x="1495" y="1171"/>
                  </a:lnTo>
                  <a:lnTo>
                    <a:pt x="1447" y="1167"/>
                  </a:lnTo>
                  <a:lnTo>
                    <a:pt x="1395" y="1161"/>
                  </a:lnTo>
                  <a:lnTo>
                    <a:pt x="1340" y="1154"/>
                  </a:lnTo>
                  <a:lnTo>
                    <a:pt x="1282" y="1147"/>
                  </a:lnTo>
                  <a:lnTo>
                    <a:pt x="1222" y="1139"/>
                  </a:lnTo>
                  <a:lnTo>
                    <a:pt x="1159" y="1130"/>
                  </a:lnTo>
                  <a:lnTo>
                    <a:pt x="1094" y="1121"/>
                  </a:lnTo>
                  <a:lnTo>
                    <a:pt x="1029" y="1111"/>
                  </a:lnTo>
                  <a:lnTo>
                    <a:pt x="964" y="1101"/>
                  </a:lnTo>
                  <a:lnTo>
                    <a:pt x="898" y="1089"/>
                  </a:lnTo>
                  <a:lnTo>
                    <a:pt x="833" y="1079"/>
                  </a:lnTo>
                  <a:lnTo>
                    <a:pt x="769" y="1068"/>
                  </a:lnTo>
                  <a:lnTo>
                    <a:pt x="708" y="1057"/>
                  </a:lnTo>
                  <a:lnTo>
                    <a:pt x="647" y="1047"/>
                  </a:lnTo>
                  <a:lnTo>
                    <a:pt x="590" y="1037"/>
                  </a:lnTo>
                  <a:lnTo>
                    <a:pt x="536" y="1027"/>
                  </a:lnTo>
                  <a:lnTo>
                    <a:pt x="486" y="1018"/>
                  </a:lnTo>
                  <a:lnTo>
                    <a:pt x="440" y="1009"/>
                  </a:lnTo>
                  <a:lnTo>
                    <a:pt x="398" y="1001"/>
                  </a:lnTo>
                  <a:lnTo>
                    <a:pt x="363" y="994"/>
                  </a:lnTo>
                  <a:lnTo>
                    <a:pt x="332" y="989"/>
                  </a:lnTo>
                  <a:lnTo>
                    <a:pt x="309" y="984"/>
                  </a:lnTo>
                  <a:lnTo>
                    <a:pt x="292" y="980"/>
                  </a:lnTo>
                  <a:lnTo>
                    <a:pt x="262" y="976"/>
                  </a:lnTo>
                  <a:lnTo>
                    <a:pt x="230" y="980"/>
                  </a:lnTo>
                  <a:lnTo>
                    <a:pt x="200" y="988"/>
                  </a:lnTo>
                  <a:lnTo>
                    <a:pt x="171" y="1000"/>
                  </a:lnTo>
                  <a:lnTo>
                    <a:pt x="142" y="1016"/>
                  </a:lnTo>
                  <a:lnTo>
                    <a:pt x="114" y="1033"/>
                  </a:lnTo>
                  <a:lnTo>
                    <a:pt x="87" y="1052"/>
                  </a:lnTo>
                  <a:lnTo>
                    <a:pt x="64" y="1073"/>
                  </a:lnTo>
                  <a:lnTo>
                    <a:pt x="49" y="1083"/>
                  </a:lnTo>
                  <a:lnTo>
                    <a:pt x="37" y="1088"/>
                  </a:lnTo>
                  <a:lnTo>
                    <a:pt x="28" y="1089"/>
                  </a:lnTo>
                  <a:lnTo>
                    <a:pt x="20" y="1087"/>
                  </a:lnTo>
                  <a:lnTo>
                    <a:pt x="13" y="1083"/>
                  </a:lnTo>
                  <a:lnTo>
                    <a:pt x="9" y="1077"/>
                  </a:lnTo>
                  <a:lnTo>
                    <a:pt x="5" y="1069"/>
                  </a:lnTo>
                  <a:lnTo>
                    <a:pt x="2" y="1062"/>
                  </a:lnTo>
                  <a:lnTo>
                    <a:pt x="1" y="1056"/>
                  </a:lnTo>
                  <a:lnTo>
                    <a:pt x="1" y="1050"/>
                  </a:lnTo>
                  <a:lnTo>
                    <a:pt x="0" y="1048"/>
                  </a:lnTo>
                  <a:lnTo>
                    <a:pt x="4" y="989"/>
                  </a:lnTo>
                  <a:lnTo>
                    <a:pt x="9" y="923"/>
                  </a:lnTo>
                  <a:lnTo>
                    <a:pt x="13" y="852"/>
                  </a:lnTo>
                  <a:lnTo>
                    <a:pt x="18" y="776"/>
                  </a:lnTo>
                  <a:lnTo>
                    <a:pt x="23" y="699"/>
                  </a:lnTo>
                  <a:lnTo>
                    <a:pt x="28" y="620"/>
                  </a:lnTo>
                  <a:lnTo>
                    <a:pt x="33" y="539"/>
                  </a:lnTo>
                  <a:lnTo>
                    <a:pt x="38" y="461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1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7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0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0"/>
                  </a:lnTo>
                  <a:lnTo>
                    <a:pt x="145" y="67"/>
                  </a:lnTo>
                  <a:lnTo>
                    <a:pt x="182" y="61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3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4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Freeform 56"/>
            <p:cNvSpPr>
              <a:spLocks noEditPoints="1"/>
            </p:cNvSpPr>
            <p:nvPr/>
          </p:nvSpPr>
          <p:spPr bwMode="auto">
            <a:xfrm>
              <a:off x="9005888" y="2062163"/>
              <a:ext cx="336550" cy="433388"/>
            </a:xfrm>
            <a:custGeom>
              <a:avLst/>
              <a:gdLst>
                <a:gd name="T0" fmla="*/ 440 w 849"/>
                <a:gd name="T1" fmla="*/ 654 h 1093"/>
                <a:gd name="T2" fmla="*/ 408 w 849"/>
                <a:gd name="T3" fmla="*/ 658 h 1093"/>
                <a:gd name="T4" fmla="*/ 379 w 849"/>
                <a:gd name="T5" fmla="*/ 667 h 1093"/>
                <a:gd name="T6" fmla="*/ 352 w 849"/>
                <a:gd name="T7" fmla="*/ 681 h 1093"/>
                <a:gd name="T8" fmla="*/ 328 w 849"/>
                <a:gd name="T9" fmla="*/ 700 h 1093"/>
                <a:gd name="T10" fmla="*/ 309 w 849"/>
                <a:gd name="T11" fmla="*/ 724 h 1093"/>
                <a:gd name="T12" fmla="*/ 295 w 849"/>
                <a:gd name="T13" fmla="*/ 749 h 1093"/>
                <a:gd name="T14" fmla="*/ 286 w 849"/>
                <a:gd name="T15" fmla="*/ 780 h 1093"/>
                <a:gd name="T16" fmla="*/ 282 w 849"/>
                <a:gd name="T17" fmla="*/ 811 h 1093"/>
                <a:gd name="T18" fmla="*/ 286 w 849"/>
                <a:gd name="T19" fmla="*/ 842 h 1093"/>
                <a:gd name="T20" fmla="*/ 295 w 849"/>
                <a:gd name="T21" fmla="*/ 873 h 1093"/>
                <a:gd name="T22" fmla="*/ 309 w 849"/>
                <a:gd name="T23" fmla="*/ 899 h 1093"/>
                <a:gd name="T24" fmla="*/ 328 w 849"/>
                <a:gd name="T25" fmla="*/ 923 h 1093"/>
                <a:gd name="T26" fmla="*/ 352 w 849"/>
                <a:gd name="T27" fmla="*/ 942 h 1093"/>
                <a:gd name="T28" fmla="*/ 379 w 849"/>
                <a:gd name="T29" fmla="*/ 956 h 1093"/>
                <a:gd name="T30" fmla="*/ 408 w 849"/>
                <a:gd name="T31" fmla="*/ 965 h 1093"/>
                <a:gd name="T32" fmla="*/ 440 w 849"/>
                <a:gd name="T33" fmla="*/ 969 h 1093"/>
                <a:gd name="T34" fmla="*/ 472 w 849"/>
                <a:gd name="T35" fmla="*/ 965 h 1093"/>
                <a:gd name="T36" fmla="*/ 501 w 849"/>
                <a:gd name="T37" fmla="*/ 956 h 1093"/>
                <a:gd name="T38" fmla="*/ 528 w 849"/>
                <a:gd name="T39" fmla="*/ 942 h 1093"/>
                <a:gd name="T40" fmla="*/ 551 w 849"/>
                <a:gd name="T41" fmla="*/ 923 h 1093"/>
                <a:gd name="T42" fmla="*/ 570 w 849"/>
                <a:gd name="T43" fmla="*/ 899 h 1093"/>
                <a:gd name="T44" fmla="*/ 585 w 849"/>
                <a:gd name="T45" fmla="*/ 873 h 1093"/>
                <a:gd name="T46" fmla="*/ 594 w 849"/>
                <a:gd name="T47" fmla="*/ 842 h 1093"/>
                <a:gd name="T48" fmla="*/ 597 w 849"/>
                <a:gd name="T49" fmla="*/ 811 h 1093"/>
                <a:gd name="T50" fmla="*/ 594 w 849"/>
                <a:gd name="T51" fmla="*/ 780 h 1093"/>
                <a:gd name="T52" fmla="*/ 585 w 849"/>
                <a:gd name="T53" fmla="*/ 749 h 1093"/>
                <a:gd name="T54" fmla="*/ 570 w 849"/>
                <a:gd name="T55" fmla="*/ 724 h 1093"/>
                <a:gd name="T56" fmla="*/ 551 w 849"/>
                <a:gd name="T57" fmla="*/ 700 h 1093"/>
                <a:gd name="T58" fmla="*/ 528 w 849"/>
                <a:gd name="T59" fmla="*/ 681 h 1093"/>
                <a:gd name="T60" fmla="*/ 501 w 849"/>
                <a:gd name="T61" fmla="*/ 667 h 1093"/>
                <a:gd name="T62" fmla="*/ 472 w 849"/>
                <a:gd name="T63" fmla="*/ 658 h 1093"/>
                <a:gd name="T64" fmla="*/ 440 w 849"/>
                <a:gd name="T65" fmla="*/ 654 h 1093"/>
                <a:gd name="T66" fmla="*/ 206 w 849"/>
                <a:gd name="T67" fmla="*/ 0 h 1093"/>
                <a:gd name="T68" fmla="*/ 775 w 849"/>
                <a:gd name="T69" fmla="*/ 28 h 1093"/>
                <a:gd name="T70" fmla="*/ 796 w 849"/>
                <a:gd name="T71" fmla="*/ 32 h 1093"/>
                <a:gd name="T72" fmla="*/ 814 w 849"/>
                <a:gd name="T73" fmla="*/ 41 h 1093"/>
                <a:gd name="T74" fmla="*/ 830 w 849"/>
                <a:gd name="T75" fmla="*/ 55 h 1093"/>
                <a:gd name="T76" fmla="*/ 841 w 849"/>
                <a:gd name="T77" fmla="*/ 72 h 1093"/>
                <a:gd name="T78" fmla="*/ 848 w 849"/>
                <a:gd name="T79" fmla="*/ 91 h 1093"/>
                <a:gd name="T80" fmla="*/ 849 w 849"/>
                <a:gd name="T81" fmla="*/ 112 h 1093"/>
                <a:gd name="T82" fmla="*/ 780 w 849"/>
                <a:gd name="T83" fmla="*/ 1016 h 1093"/>
                <a:gd name="T84" fmla="*/ 775 w 849"/>
                <a:gd name="T85" fmla="*/ 1037 h 1093"/>
                <a:gd name="T86" fmla="*/ 765 w 849"/>
                <a:gd name="T87" fmla="*/ 1056 h 1093"/>
                <a:gd name="T88" fmla="*/ 752 w 849"/>
                <a:gd name="T89" fmla="*/ 1072 h 1093"/>
                <a:gd name="T90" fmla="*/ 735 w 849"/>
                <a:gd name="T91" fmla="*/ 1083 h 1093"/>
                <a:gd name="T92" fmla="*/ 715 w 849"/>
                <a:gd name="T93" fmla="*/ 1091 h 1093"/>
                <a:gd name="T94" fmla="*/ 693 w 849"/>
                <a:gd name="T95" fmla="*/ 1093 h 1093"/>
                <a:gd name="T96" fmla="*/ 63 w 849"/>
                <a:gd name="T97" fmla="*/ 1093 h 1093"/>
                <a:gd name="T98" fmla="*/ 43 w 849"/>
                <a:gd name="T99" fmla="*/ 1090 h 1093"/>
                <a:gd name="T100" fmla="*/ 25 w 849"/>
                <a:gd name="T101" fmla="*/ 1081 h 1093"/>
                <a:gd name="T102" fmla="*/ 12 w 849"/>
                <a:gd name="T103" fmla="*/ 1068 h 1093"/>
                <a:gd name="T104" fmla="*/ 3 w 849"/>
                <a:gd name="T105" fmla="*/ 1051 h 1093"/>
                <a:gd name="T106" fmla="*/ 0 w 849"/>
                <a:gd name="T107" fmla="*/ 1032 h 1093"/>
                <a:gd name="T108" fmla="*/ 2 w 849"/>
                <a:gd name="T109" fmla="*/ 1012 h 1093"/>
                <a:gd name="T110" fmla="*/ 106 w 849"/>
                <a:gd name="T111" fmla="*/ 74 h 1093"/>
                <a:gd name="T112" fmla="*/ 114 w 849"/>
                <a:gd name="T113" fmla="*/ 54 h 1093"/>
                <a:gd name="T114" fmla="*/ 127 w 849"/>
                <a:gd name="T115" fmla="*/ 36 h 1093"/>
                <a:gd name="T116" fmla="*/ 143 w 849"/>
                <a:gd name="T117" fmla="*/ 20 h 1093"/>
                <a:gd name="T118" fmla="*/ 162 w 849"/>
                <a:gd name="T119" fmla="*/ 9 h 1093"/>
                <a:gd name="T120" fmla="*/ 184 w 849"/>
                <a:gd name="T121" fmla="*/ 2 h 1093"/>
                <a:gd name="T122" fmla="*/ 206 w 849"/>
                <a:gd name="T123" fmla="*/ 0 h 10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9" h="1093">
                  <a:moveTo>
                    <a:pt x="440" y="654"/>
                  </a:moveTo>
                  <a:lnTo>
                    <a:pt x="408" y="658"/>
                  </a:lnTo>
                  <a:lnTo>
                    <a:pt x="379" y="667"/>
                  </a:lnTo>
                  <a:lnTo>
                    <a:pt x="352" y="681"/>
                  </a:lnTo>
                  <a:lnTo>
                    <a:pt x="328" y="700"/>
                  </a:lnTo>
                  <a:lnTo>
                    <a:pt x="309" y="724"/>
                  </a:lnTo>
                  <a:lnTo>
                    <a:pt x="295" y="749"/>
                  </a:lnTo>
                  <a:lnTo>
                    <a:pt x="286" y="780"/>
                  </a:lnTo>
                  <a:lnTo>
                    <a:pt x="282" y="811"/>
                  </a:lnTo>
                  <a:lnTo>
                    <a:pt x="286" y="842"/>
                  </a:lnTo>
                  <a:lnTo>
                    <a:pt x="295" y="873"/>
                  </a:lnTo>
                  <a:lnTo>
                    <a:pt x="309" y="899"/>
                  </a:lnTo>
                  <a:lnTo>
                    <a:pt x="328" y="923"/>
                  </a:lnTo>
                  <a:lnTo>
                    <a:pt x="352" y="942"/>
                  </a:lnTo>
                  <a:lnTo>
                    <a:pt x="379" y="956"/>
                  </a:lnTo>
                  <a:lnTo>
                    <a:pt x="408" y="965"/>
                  </a:lnTo>
                  <a:lnTo>
                    <a:pt x="440" y="969"/>
                  </a:lnTo>
                  <a:lnTo>
                    <a:pt x="472" y="965"/>
                  </a:lnTo>
                  <a:lnTo>
                    <a:pt x="501" y="956"/>
                  </a:lnTo>
                  <a:lnTo>
                    <a:pt x="528" y="942"/>
                  </a:lnTo>
                  <a:lnTo>
                    <a:pt x="551" y="923"/>
                  </a:lnTo>
                  <a:lnTo>
                    <a:pt x="570" y="899"/>
                  </a:lnTo>
                  <a:lnTo>
                    <a:pt x="585" y="873"/>
                  </a:lnTo>
                  <a:lnTo>
                    <a:pt x="594" y="842"/>
                  </a:lnTo>
                  <a:lnTo>
                    <a:pt x="597" y="811"/>
                  </a:lnTo>
                  <a:lnTo>
                    <a:pt x="594" y="780"/>
                  </a:lnTo>
                  <a:lnTo>
                    <a:pt x="585" y="749"/>
                  </a:lnTo>
                  <a:lnTo>
                    <a:pt x="570" y="724"/>
                  </a:lnTo>
                  <a:lnTo>
                    <a:pt x="551" y="700"/>
                  </a:lnTo>
                  <a:lnTo>
                    <a:pt x="528" y="681"/>
                  </a:lnTo>
                  <a:lnTo>
                    <a:pt x="501" y="667"/>
                  </a:lnTo>
                  <a:lnTo>
                    <a:pt x="472" y="658"/>
                  </a:lnTo>
                  <a:lnTo>
                    <a:pt x="440" y="654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2"/>
                  </a:lnTo>
                  <a:lnTo>
                    <a:pt x="814" y="41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6"/>
                  </a:lnTo>
                  <a:lnTo>
                    <a:pt x="775" y="1037"/>
                  </a:lnTo>
                  <a:lnTo>
                    <a:pt x="765" y="1056"/>
                  </a:lnTo>
                  <a:lnTo>
                    <a:pt x="752" y="1072"/>
                  </a:lnTo>
                  <a:lnTo>
                    <a:pt x="735" y="1083"/>
                  </a:lnTo>
                  <a:lnTo>
                    <a:pt x="715" y="1091"/>
                  </a:lnTo>
                  <a:lnTo>
                    <a:pt x="693" y="1093"/>
                  </a:lnTo>
                  <a:lnTo>
                    <a:pt x="63" y="1093"/>
                  </a:lnTo>
                  <a:lnTo>
                    <a:pt x="43" y="1090"/>
                  </a:lnTo>
                  <a:lnTo>
                    <a:pt x="25" y="1081"/>
                  </a:lnTo>
                  <a:lnTo>
                    <a:pt x="12" y="1068"/>
                  </a:lnTo>
                  <a:lnTo>
                    <a:pt x="3" y="1051"/>
                  </a:lnTo>
                  <a:lnTo>
                    <a:pt x="0" y="1032"/>
                  </a:lnTo>
                  <a:lnTo>
                    <a:pt x="2" y="1012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03" name="Oval 102"/>
          <p:cNvSpPr/>
          <p:nvPr userDrawn="1"/>
        </p:nvSpPr>
        <p:spPr>
          <a:xfrm>
            <a:off x="5925929" y="1218121"/>
            <a:ext cx="615995" cy="6521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>
                <a:solidFill>
                  <a:prstClr val="white">
                    <a:lumMod val="6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04" name="Oval 103"/>
          <p:cNvSpPr/>
          <p:nvPr userDrawn="1"/>
        </p:nvSpPr>
        <p:spPr>
          <a:xfrm>
            <a:off x="5925929" y="5765462"/>
            <a:ext cx="615995" cy="6521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>
                <a:solidFill>
                  <a:srgbClr val="4F8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105" name="Oval 104"/>
          <p:cNvSpPr/>
          <p:nvPr userDrawn="1"/>
        </p:nvSpPr>
        <p:spPr>
          <a:xfrm>
            <a:off x="8043705" y="3482230"/>
            <a:ext cx="615995" cy="6521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>
                <a:solidFill>
                  <a:srgbClr val="1F49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106" name="Oval 105"/>
          <p:cNvSpPr/>
          <p:nvPr userDrawn="1"/>
        </p:nvSpPr>
        <p:spPr>
          <a:xfrm>
            <a:off x="3803960" y="3482230"/>
            <a:ext cx="615995" cy="6521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b="1" dirty="0">
                <a:solidFill>
                  <a:srgbClr val="C050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107" name="Oval 106"/>
          <p:cNvSpPr/>
          <p:nvPr userDrawn="1"/>
        </p:nvSpPr>
        <p:spPr>
          <a:xfrm>
            <a:off x="5315105" y="2835534"/>
            <a:ext cx="1837643" cy="1945561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ample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87301" y="1400731"/>
            <a:ext cx="2438400" cy="1063287"/>
          </a:xfrm>
        </p:spPr>
        <p:txBody>
          <a:bodyPr/>
          <a:lstStyle>
            <a:lvl1pPr marL="0" indent="0">
              <a:buNone/>
              <a:defRPr sz="2133"/>
            </a:lvl1pPr>
          </a:lstStyle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79932" y="5165267"/>
            <a:ext cx="2438400" cy="1063287"/>
          </a:xfrm>
        </p:spPr>
        <p:txBody>
          <a:bodyPr/>
          <a:lstStyle>
            <a:lvl1pPr marL="0" indent="0">
              <a:buNone/>
              <a:defRPr sz="2133"/>
            </a:lvl1pPr>
          </a:lstStyle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847409" y="1403007"/>
            <a:ext cx="2438400" cy="1063287"/>
          </a:xfrm>
        </p:spPr>
        <p:txBody>
          <a:bodyPr/>
          <a:lstStyle>
            <a:lvl1pPr marL="0" indent="0">
              <a:buNone/>
              <a:defRPr sz="2133"/>
            </a:lvl1pPr>
          </a:lstStyle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47409" y="5167543"/>
            <a:ext cx="2438400" cy="1063287"/>
          </a:xfrm>
        </p:spPr>
        <p:txBody>
          <a:bodyPr anchor="ctr"/>
          <a:lstStyle>
            <a:lvl1pPr marL="0" indent="0" algn="l">
              <a:buNone/>
              <a:defRPr sz="2133"/>
            </a:lvl1pPr>
          </a:lstStyle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algn="r"/>
            <a:r>
              <a:rPr lang="en-US" sz="1867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3004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31" name="Freeform 46"/>
          <p:cNvSpPr>
            <a:spLocks/>
          </p:cNvSpPr>
          <p:nvPr userDrawn="1"/>
        </p:nvSpPr>
        <p:spPr bwMode="auto">
          <a:xfrm>
            <a:off x="1156162" y="1604004"/>
            <a:ext cx="6035187" cy="5001512"/>
          </a:xfrm>
          <a:custGeom>
            <a:avLst/>
            <a:gdLst>
              <a:gd name="T0" fmla="*/ 1590 w 2291"/>
              <a:gd name="T1" fmla="*/ 888 h 2290"/>
              <a:gd name="T2" fmla="*/ 1387 w 2291"/>
              <a:gd name="T3" fmla="*/ 918 h 2290"/>
              <a:gd name="T4" fmla="*/ 885 w 2291"/>
              <a:gd name="T5" fmla="*/ 527 h 2290"/>
              <a:gd name="T6" fmla="*/ 893 w 2291"/>
              <a:gd name="T7" fmla="*/ 446 h 2290"/>
              <a:gd name="T8" fmla="*/ 447 w 2291"/>
              <a:gd name="T9" fmla="*/ 0 h 2290"/>
              <a:gd name="T10" fmla="*/ 0 w 2291"/>
              <a:gd name="T11" fmla="*/ 446 h 2290"/>
              <a:gd name="T12" fmla="*/ 447 w 2291"/>
              <a:gd name="T13" fmla="*/ 892 h 2290"/>
              <a:gd name="T14" fmla="*/ 528 w 2291"/>
              <a:gd name="T15" fmla="*/ 885 h 2290"/>
              <a:gd name="T16" fmla="*/ 919 w 2291"/>
              <a:gd name="T17" fmla="*/ 1386 h 2290"/>
              <a:gd name="T18" fmla="*/ 889 w 2291"/>
              <a:gd name="T19" fmla="*/ 1589 h 2290"/>
              <a:gd name="T20" fmla="*/ 1590 w 2291"/>
              <a:gd name="T21" fmla="*/ 2290 h 2290"/>
              <a:gd name="T22" fmla="*/ 2291 w 2291"/>
              <a:gd name="T23" fmla="*/ 1589 h 2290"/>
              <a:gd name="T24" fmla="*/ 1590 w 2291"/>
              <a:gd name="T25" fmla="*/ 888 h 2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91" h="2290">
                <a:moveTo>
                  <a:pt x="1590" y="888"/>
                </a:moveTo>
                <a:cubicBezTo>
                  <a:pt x="1519" y="888"/>
                  <a:pt x="1451" y="899"/>
                  <a:pt x="1387" y="918"/>
                </a:cubicBezTo>
                <a:cubicBezTo>
                  <a:pt x="1015" y="1028"/>
                  <a:pt x="842" y="770"/>
                  <a:pt x="885" y="527"/>
                </a:cubicBezTo>
                <a:cubicBezTo>
                  <a:pt x="890" y="501"/>
                  <a:pt x="893" y="474"/>
                  <a:pt x="893" y="446"/>
                </a:cubicBezTo>
                <a:cubicBezTo>
                  <a:pt x="893" y="200"/>
                  <a:pt x="693" y="0"/>
                  <a:pt x="447" y="0"/>
                </a:cubicBezTo>
                <a:cubicBezTo>
                  <a:pt x="201" y="0"/>
                  <a:pt x="0" y="200"/>
                  <a:pt x="0" y="446"/>
                </a:cubicBezTo>
                <a:cubicBezTo>
                  <a:pt x="0" y="692"/>
                  <a:pt x="201" y="892"/>
                  <a:pt x="447" y="892"/>
                </a:cubicBezTo>
                <a:cubicBezTo>
                  <a:pt x="474" y="892"/>
                  <a:pt x="502" y="889"/>
                  <a:pt x="528" y="885"/>
                </a:cubicBezTo>
                <a:cubicBezTo>
                  <a:pt x="771" y="841"/>
                  <a:pt x="1029" y="1015"/>
                  <a:pt x="919" y="1386"/>
                </a:cubicBezTo>
                <a:cubicBezTo>
                  <a:pt x="899" y="1450"/>
                  <a:pt x="889" y="1519"/>
                  <a:pt x="889" y="1589"/>
                </a:cubicBezTo>
                <a:cubicBezTo>
                  <a:pt x="889" y="1976"/>
                  <a:pt x="1203" y="2290"/>
                  <a:pt x="1590" y="2290"/>
                </a:cubicBezTo>
                <a:cubicBezTo>
                  <a:pt x="1976" y="2290"/>
                  <a:pt x="2291" y="1976"/>
                  <a:pt x="2291" y="1589"/>
                </a:cubicBezTo>
                <a:cubicBezTo>
                  <a:pt x="2291" y="1203"/>
                  <a:pt x="1976" y="888"/>
                  <a:pt x="1590" y="888"/>
                </a:cubicBezTo>
                <a:close/>
              </a:path>
            </a:pathLst>
          </a:custGeom>
          <a:solidFill>
            <a:srgbClr val="0F608D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625275">
              <a:defRPr/>
            </a:pPr>
            <a:endParaRPr lang="en-US" sz="1867" kern="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2" name="Freeform 47"/>
          <p:cNvSpPr>
            <a:spLocks/>
          </p:cNvSpPr>
          <p:nvPr userDrawn="1"/>
        </p:nvSpPr>
        <p:spPr bwMode="auto">
          <a:xfrm>
            <a:off x="584200" y="1128215"/>
            <a:ext cx="5788653" cy="4797136"/>
          </a:xfrm>
          <a:custGeom>
            <a:avLst/>
            <a:gdLst>
              <a:gd name="T0" fmla="*/ 1646 w 2197"/>
              <a:gd name="T1" fmla="*/ 0 h 2197"/>
              <a:gd name="T2" fmla="*/ 1095 w 2197"/>
              <a:gd name="T3" fmla="*/ 551 h 2197"/>
              <a:gd name="T4" fmla="*/ 1122 w 2197"/>
              <a:gd name="T5" fmla="*/ 722 h 2197"/>
              <a:gd name="T6" fmla="*/ 721 w 2197"/>
              <a:gd name="T7" fmla="*/ 1122 h 2197"/>
              <a:gd name="T8" fmla="*/ 551 w 2197"/>
              <a:gd name="T9" fmla="*/ 1095 h 2197"/>
              <a:gd name="T10" fmla="*/ 0 w 2197"/>
              <a:gd name="T11" fmla="*/ 1646 h 2197"/>
              <a:gd name="T12" fmla="*/ 551 w 2197"/>
              <a:gd name="T13" fmla="*/ 2197 h 2197"/>
              <a:gd name="T14" fmla="*/ 1102 w 2197"/>
              <a:gd name="T15" fmla="*/ 1646 h 2197"/>
              <a:gd name="T16" fmla="*/ 1075 w 2197"/>
              <a:gd name="T17" fmla="*/ 1475 h 2197"/>
              <a:gd name="T18" fmla="*/ 1475 w 2197"/>
              <a:gd name="T19" fmla="*/ 1075 h 2197"/>
              <a:gd name="T20" fmla="*/ 1646 w 2197"/>
              <a:gd name="T21" fmla="*/ 1102 h 2197"/>
              <a:gd name="T22" fmla="*/ 2197 w 2197"/>
              <a:gd name="T23" fmla="*/ 551 h 2197"/>
              <a:gd name="T24" fmla="*/ 1646 w 2197"/>
              <a:gd name="T25" fmla="*/ 0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97" h="2197">
                <a:moveTo>
                  <a:pt x="1646" y="0"/>
                </a:moveTo>
                <a:cubicBezTo>
                  <a:pt x="1342" y="0"/>
                  <a:pt x="1095" y="247"/>
                  <a:pt x="1095" y="551"/>
                </a:cubicBezTo>
                <a:cubicBezTo>
                  <a:pt x="1095" y="611"/>
                  <a:pt x="1104" y="668"/>
                  <a:pt x="1122" y="722"/>
                </a:cubicBezTo>
                <a:cubicBezTo>
                  <a:pt x="1209" y="991"/>
                  <a:pt x="990" y="1209"/>
                  <a:pt x="721" y="1122"/>
                </a:cubicBezTo>
                <a:cubicBezTo>
                  <a:pt x="668" y="1105"/>
                  <a:pt x="610" y="1095"/>
                  <a:pt x="551" y="1095"/>
                </a:cubicBezTo>
                <a:cubicBezTo>
                  <a:pt x="247" y="1095"/>
                  <a:pt x="0" y="1342"/>
                  <a:pt x="0" y="1646"/>
                </a:cubicBezTo>
                <a:cubicBezTo>
                  <a:pt x="0" y="1950"/>
                  <a:pt x="247" y="2197"/>
                  <a:pt x="551" y="2197"/>
                </a:cubicBezTo>
                <a:cubicBezTo>
                  <a:pt x="855" y="2197"/>
                  <a:pt x="1102" y="1950"/>
                  <a:pt x="1102" y="1646"/>
                </a:cubicBezTo>
                <a:cubicBezTo>
                  <a:pt x="1102" y="1586"/>
                  <a:pt x="1092" y="1529"/>
                  <a:pt x="1075" y="1475"/>
                </a:cubicBezTo>
                <a:cubicBezTo>
                  <a:pt x="988" y="1206"/>
                  <a:pt x="1206" y="988"/>
                  <a:pt x="1475" y="1075"/>
                </a:cubicBezTo>
                <a:cubicBezTo>
                  <a:pt x="1529" y="1093"/>
                  <a:pt x="1586" y="1102"/>
                  <a:pt x="1646" y="1102"/>
                </a:cubicBezTo>
                <a:cubicBezTo>
                  <a:pt x="1950" y="1102"/>
                  <a:pt x="2197" y="855"/>
                  <a:pt x="2197" y="551"/>
                </a:cubicBezTo>
                <a:cubicBezTo>
                  <a:pt x="2197" y="247"/>
                  <a:pt x="1950" y="0"/>
                  <a:pt x="1646" y="0"/>
                </a:cubicBezTo>
                <a:close/>
              </a:path>
            </a:pathLst>
          </a:custGeom>
          <a:solidFill>
            <a:srgbClr val="1C8ABA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625275">
              <a:defRPr/>
            </a:pPr>
            <a:endParaRPr lang="en-US" sz="1867" kern="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Oval 132"/>
          <p:cNvSpPr/>
          <p:nvPr userDrawn="1"/>
        </p:nvSpPr>
        <p:spPr>
          <a:xfrm>
            <a:off x="3683182" y="1336516"/>
            <a:ext cx="2428933" cy="2013576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1867" kern="0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4" name="Oval 133"/>
          <p:cNvSpPr/>
          <p:nvPr userDrawn="1"/>
        </p:nvSpPr>
        <p:spPr>
          <a:xfrm>
            <a:off x="3830203" y="3795356"/>
            <a:ext cx="3069608" cy="2544693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1867" kern="0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35" name="Group 134"/>
          <p:cNvGrpSpPr/>
          <p:nvPr userDrawn="1"/>
        </p:nvGrpSpPr>
        <p:grpSpPr>
          <a:xfrm>
            <a:off x="688644" y="3623898"/>
            <a:ext cx="2678832" cy="2220740"/>
            <a:chOff x="3807807" y="3727862"/>
            <a:chExt cx="1166245" cy="1166245"/>
          </a:xfrm>
        </p:grpSpPr>
        <p:sp>
          <p:nvSpPr>
            <p:cNvPr id="136" name="Oval 135"/>
            <p:cNvSpPr/>
            <p:nvPr/>
          </p:nvSpPr>
          <p:spPr>
            <a:xfrm>
              <a:off x="3807807" y="3727862"/>
              <a:ext cx="1166245" cy="1166245"/>
            </a:xfrm>
            <a:prstGeom prst="ellipse">
              <a:avLst/>
            </a:prstGeom>
            <a:gradFill>
              <a:gsLst>
                <a:gs pos="81000">
                  <a:srgbClr val="0F608D"/>
                </a:gs>
                <a:gs pos="0">
                  <a:srgbClr val="0F608D">
                    <a:lumMod val="60000"/>
                    <a:lumOff val="40000"/>
                  </a:srgbClr>
                </a:gs>
                <a:gs pos="100000">
                  <a:srgbClr val="0F608D">
                    <a:lumMod val="50000"/>
                  </a:srgbClr>
                </a:gs>
              </a:gsLst>
              <a:path path="circl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25275">
                <a:defRPr/>
              </a:pPr>
              <a:endParaRPr lang="en-US" sz="1867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37" name="Group 136"/>
            <p:cNvGrpSpPr/>
            <p:nvPr/>
          </p:nvGrpSpPr>
          <p:grpSpPr>
            <a:xfrm>
              <a:off x="4116083" y="4009782"/>
              <a:ext cx="549695" cy="602407"/>
              <a:chOff x="6656388" y="1300163"/>
              <a:chExt cx="347662" cy="381000"/>
            </a:xfrm>
            <a:solidFill>
              <a:sysClr val="window" lastClr="FFFFFF"/>
            </a:solidFill>
          </p:grpSpPr>
          <p:sp>
            <p:nvSpPr>
              <p:cNvPr id="138" name="Freeform 27"/>
              <p:cNvSpPr>
                <a:spLocks noEditPoints="1"/>
              </p:cNvSpPr>
              <p:nvPr/>
            </p:nvSpPr>
            <p:spPr bwMode="auto">
              <a:xfrm>
                <a:off x="6713538" y="1357313"/>
                <a:ext cx="233362" cy="323850"/>
              </a:xfrm>
              <a:custGeom>
                <a:avLst/>
                <a:gdLst>
                  <a:gd name="T0" fmla="*/ 762 w 2060"/>
                  <a:gd name="T1" fmla="*/ 305 h 2844"/>
                  <a:gd name="T2" fmla="*/ 486 w 2060"/>
                  <a:gd name="T3" fmla="*/ 474 h 2844"/>
                  <a:gd name="T4" fmla="*/ 309 w 2060"/>
                  <a:gd name="T5" fmla="*/ 735 h 2844"/>
                  <a:gd name="T6" fmla="*/ 263 w 2060"/>
                  <a:gd name="T7" fmla="*/ 1051 h 2844"/>
                  <a:gd name="T8" fmla="*/ 318 w 2060"/>
                  <a:gd name="T9" fmla="*/ 1304 h 2844"/>
                  <a:gd name="T10" fmla="*/ 420 w 2060"/>
                  <a:gd name="T11" fmla="*/ 1495 h 2844"/>
                  <a:gd name="T12" fmla="*/ 538 w 2060"/>
                  <a:gd name="T13" fmla="*/ 1673 h 2844"/>
                  <a:gd name="T14" fmla="*/ 612 w 2060"/>
                  <a:gd name="T15" fmla="*/ 1872 h 2844"/>
                  <a:gd name="T16" fmla="*/ 656 w 2060"/>
                  <a:gd name="T17" fmla="*/ 2010 h 2844"/>
                  <a:gd name="T18" fmla="*/ 1366 w 2060"/>
                  <a:gd name="T19" fmla="*/ 2043 h 2844"/>
                  <a:gd name="T20" fmla="*/ 1443 w 2060"/>
                  <a:gd name="T21" fmla="*/ 1943 h 2844"/>
                  <a:gd name="T22" fmla="*/ 1482 w 2060"/>
                  <a:gd name="T23" fmla="*/ 1749 h 2844"/>
                  <a:gd name="T24" fmla="*/ 1594 w 2060"/>
                  <a:gd name="T25" fmla="*/ 1563 h 2844"/>
                  <a:gd name="T26" fmla="*/ 1703 w 2060"/>
                  <a:gd name="T27" fmla="*/ 1386 h 2844"/>
                  <a:gd name="T28" fmla="*/ 1783 w 2060"/>
                  <a:gd name="T29" fmla="*/ 1161 h 2844"/>
                  <a:gd name="T30" fmla="*/ 1787 w 2060"/>
                  <a:gd name="T31" fmla="*/ 858 h 2844"/>
                  <a:gd name="T32" fmla="*/ 1659 w 2060"/>
                  <a:gd name="T33" fmla="*/ 569 h 2844"/>
                  <a:gd name="T34" fmla="*/ 1418 w 2060"/>
                  <a:gd name="T35" fmla="*/ 359 h 2844"/>
                  <a:gd name="T36" fmla="*/ 1100 w 2060"/>
                  <a:gd name="T37" fmla="*/ 262 h 2844"/>
                  <a:gd name="T38" fmla="*/ 1277 w 2060"/>
                  <a:gd name="T39" fmla="*/ 30 h 2844"/>
                  <a:gd name="T40" fmla="*/ 1637 w 2060"/>
                  <a:gd name="T41" fmla="*/ 192 h 2844"/>
                  <a:gd name="T42" fmla="*/ 1905 w 2060"/>
                  <a:gd name="T43" fmla="*/ 468 h 2844"/>
                  <a:gd name="T44" fmla="*/ 2046 w 2060"/>
                  <a:gd name="T45" fmla="*/ 829 h 2844"/>
                  <a:gd name="T46" fmla="*/ 2044 w 2060"/>
                  <a:gd name="T47" fmla="*/ 1185 h 2844"/>
                  <a:gd name="T48" fmla="*/ 1964 w 2060"/>
                  <a:gd name="T49" fmla="*/ 1447 h 2844"/>
                  <a:gd name="T50" fmla="*/ 1853 w 2060"/>
                  <a:gd name="T51" fmla="*/ 1643 h 2844"/>
                  <a:gd name="T52" fmla="*/ 1740 w 2060"/>
                  <a:gd name="T53" fmla="*/ 1813 h 2844"/>
                  <a:gd name="T54" fmla="*/ 1702 w 2060"/>
                  <a:gd name="T55" fmla="*/ 1965 h 2844"/>
                  <a:gd name="T56" fmla="*/ 1596 w 2060"/>
                  <a:gd name="T57" fmla="*/ 2184 h 2844"/>
                  <a:gd name="T58" fmla="*/ 1510 w 2060"/>
                  <a:gd name="T59" fmla="*/ 2331 h 2844"/>
                  <a:gd name="T60" fmla="*/ 1502 w 2060"/>
                  <a:gd name="T61" fmla="*/ 2468 h 2844"/>
                  <a:gd name="T62" fmla="*/ 1499 w 2060"/>
                  <a:gd name="T63" fmla="*/ 2532 h 2844"/>
                  <a:gd name="T64" fmla="*/ 1468 w 2060"/>
                  <a:gd name="T65" fmla="*/ 2616 h 2844"/>
                  <a:gd name="T66" fmla="*/ 1361 w 2060"/>
                  <a:gd name="T67" fmla="*/ 2709 h 2844"/>
                  <a:gd name="T68" fmla="*/ 1202 w 2060"/>
                  <a:gd name="T69" fmla="*/ 2823 h 2844"/>
                  <a:gd name="T70" fmla="*/ 904 w 2060"/>
                  <a:gd name="T71" fmla="*/ 2842 h 2844"/>
                  <a:gd name="T72" fmla="*/ 773 w 2060"/>
                  <a:gd name="T73" fmla="*/ 2741 h 2844"/>
                  <a:gd name="T74" fmla="*/ 616 w 2060"/>
                  <a:gd name="T75" fmla="*/ 2648 h 2844"/>
                  <a:gd name="T76" fmla="*/ 564 w 2060"/>
                  <a:gd name="T77" fmla="*/ 2549 h 2844"/>
                  <a:gd name="T78" fmla="*/ 560 w 2060"/>
                  <a:gd name="T79" fmla="*/ 2505 h 2844"/>
                  <a:gd name="T80" fmla="*/ 553 w 2060"/>
                  <a:gd name="T81" fmla="*/ 2388 h 2844"/>
                  <a:gd name="T82" fmla="*/ 546 w 2060"/>
                  <a:gd name="T83" fmla="*/ 2257 h 2844"/>
                  <a:gd name="T84" fmla="*/ 382 w 2060"/>
                  <a:gd name="T85" fmla="*/ 2057 h 2844"/>
                  <a:gd name="T86" fmla="*/ 345 w 2060"/>
                  <a:gd name="T87" fmla="*/ 1868 h 2844"/>
                  <a:gd name="T88" fmla="*/ 251 w 2060"/>
                  <a:gd name="T89" fmla="*/ 1709 h 2844"/>
                  <a:gd name="T90" fmla="*/ 139 w 2060"/>
                  <a:gd name="T91" fmla="*/ 1532 h 2844"/>
                  <a:gd name="T92" fmla="*/ 41 w 2060"/>
                  <a:gd name="T93" fmla="*/ 1299 h 2844"/>
                  <a:gd name="T94" fmla="*/ 0 w 2060"/>
                  <a:gd name="T95" fmla="*/ 989 h 2844"/>
                  <a:gd name="T96" fmla="*/ 81 w 2060"/>
                  <a:gd name="T97" fmla="*/ 605 h 2844"/>
                  <a:gd name="T98" fmla="*/ 302 w 2060"/>
                  <a:gd name="T99" fmla="*/ 291 h 2844"/>
                  <a:gd name="T100" fmla="*/ 630 w 2060"/>
                  <a:gd name="T101" fmla="*/ 79 h 2844"/>
                  <a:gd name="T102" fmla="*/ 1030 w 2060"/>
                  <a:gd name="T103" fmla="*/ 0 h 2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60" h="2844">
                    <a:moveTo>
                      <a:pt x="1030" y="259"/>
                    </a:moveTo>
                    <a:lnTo>
                      <a:pt x="960" y="262"/>
                    </a:lnTo>
                    <a:lnTo>
                      <a:pt x="891" y="271"/>
                    </a:lnTo>
                    <a:lnTo>
                      <a:pt x="826" y="286"/>
                    </a:lnTo>
                    <a:lnTo>
                      <a:pt x="762" y="305"/>
                    </a:lnTo>
                    <a:lnTo>
                      <a:pt x="700" y="330"/>
                    </a:lnTo>
                    <a:lnTo>
                      <a:pt x="641" y="360"/>
                    </a:lnTo>
                    <a:lnTo>
                      <a:pt x="586" y="393"/>
                    </a:lnTo>
                    <a:lnTo>
                      <a:pt x="535" y="431"/>
                    </a:lnTo>
                    <a:lnTo>
                      <a:pt x="486" y="474"/>
                    </a:lnTo>
                    <a:lnTo>
                      <a:pt x="441" y="519"/>
                    </a:lnTo>
                    <a:lnTo>
                      <a:pt x="402" y="569"/>
                    </a:lnTo>
                    <a:lnTo>
                      <a:pt x="366" y="622"/>
                    </a:lnTo>
                    <a:lnTo>
                      <a:pt x="335" y="677"/>
                    </a:lnTo>
                    <a:lnTo>
                      <a:pt x="309" y="735"/>
                    </a:lnTo>
                    <a:lnTo>
                      <a:pt x="288" y="796"/>
                    </a:lnTo>
                    <a:lnTo>
                      <a:pt x="273" y="858"/>
                    </a:lnTo>
                    <a:lnTo>
                      <a:pt x="264" y="923"/>
                    </a:lnTo>
                    <a:lnTo>
                      <a:pt x="261" y="989"/>
                    </a:lnTo>
                    <a:lnTo>
                      <a:pt x="263" y="1051"/>
                    </a:lnTo>
                    <a:lnTo>
                      <a:pt x="268" y="1108"/>
                    </a:lnTo>
                    <a:lnTo>
                      <a:pt x="277" y="1161"/>
                    </a:lnTo>
                    <a:lnTo>
                      <a:pt x="288" y="1212"/>
                    </a:lnTo>
                    <a:lnTo>
                      <a:pt x="302" y="1260"/>
                    </a:lnTo>
                    <a:lnTo>
                      <a:pt x="318" y="1304"/>
                    </a:lnTo>
                    <a:lnTo>
                      <a:pt x="336" y="1346"/>
                    </a:lnTo>
                    <a:lnTo>
                      <a:pt x="356" y="1386"/>
                    </a:lnTo>
                    <a:lnTo>
                      <a:pt x="377" y="1424"/>
                    </a:lnTo>
                    <a:lnTo>
                      <a:pt x="399" y="1460"/>
                    </a:lnTo>
                    <a:lnTo>
                      <a:pt x="420" y="1495"/>
                    </a:lnTo>
                    <a:lnTo>
                      <a:pt x="444" y="1529"/>
                    </a:lnTo>
                    <a:lnTo>
                      <a:pt x="465" y="1562"/>
                    </a:lnTo>
                    <a:lnTo>
                      <a:pt x="490" y="1599"/>
                    </a:lnTo>
                    <a:lnTo>
                      <a:pt x="515" y="1636"/>
                    </a:lnTo>
                    <a:lnTo>
                      <a:pt x="538" y="1673"/>
                    </a:lnTo>
                    <a:lnTo>
                      <a:pt x="560" y="1710"/>
                    </a:lnTo>
                    <a:lnTo>
                      <a:pt x="578" y="1749"/>
                    </a:lnTo>
                    <a:lnTo>
                      <a:pt x="593" y="1788"/>
                    </a:lnTo>
                    <a:lnTo>
                      <a:pt x="604" y="1829"/>
                    </a:lnTo>
                    <a:lnTo>
                      <a:pt x="612" y="1872"/>
                    </a:lnTo>
                    <a:lnTo>
                      <a:pt x="614" y="1918"/>
                    </a:lnTo>
                    <a:lnTo>
                      <a:pt x="617" y="1943"/>
                    </a:lnTo>
                    <a:lnTo>
                      <a:pt x="627" y="1967"/>
                    </a:lnTo>
                    <a:lnTo>
                      <a:pt x="639" y="1990"/>
                    </a:lnTo>
                    <a:lnTo>
                      <a:pt x="656" y="2010"/>
                    </a:lnTo>
                    <a:lnTo>
                      <a:pt x="674" y="2028"/>
                    </a:lnTo>
                    <a:lnTo>
                      <a:pt x="694" y="2043"/>
                    </a:lnTo>
                    <a:lnTo>
                      <a:pt x="712" y="2057"/>
                    </a:lnTo>
                    <a:lnTo>
                      <a:pt x="1348" y="2057"/>
                    </a:lnTo>
                    <a:lnTo>
                      <a:pt x="1366" y="2043"/>
                    </a:lnTo>
                    <a:lnTo>
                      <a:pt x="1385" y="2028"/>
                    </a:lnTo>
                    <a:lnTo>
                      <a:pt x="1404" y="2010"/>
                    </a:lnTo>
                    <a:lnTo>
                      <a:pt x="1420" y="1990"/>
                    </a:lnTo>
                    <a:lnTo>
                      <a:pt x="1433" y="1967"/>
                    </a:lnTo>
                    <a:lnTo>
                      <a:pt x="1443" y="1943"/>
                    </a:lnTo>
                    <a:lnTo>
                      <a:pt x="1446" y="1918"/>
                    </a:lnTo>
                    <a:lnTo>
                      <a:pt x="1448" y="1872"/>
                    </a:lnTo>
                    <a:lnTo>
                      <a:pt x="1455" y="1829"/>
                    </a:lnTo>
                    <a:lnTo>
                      <a:pt x="1467" y="1788"/>
                    </a:lnTo>
                    <a:lnTo>
                      <a:pt x="1482" y="1749"/>
                    </a:lnTo>
                    <a:lnTo>
                      <a:pt x="1500" y="1711"/>
                    </a:lnTo>
                    <a:lnTo>
                      <a:pt x="1521" y="1673"/>
                    </a:lnTo>
                    <a:lnTo>
                      <a:pt x="1544" y="1636"/>
                    </a:lnTo>
                    <a:lnTo>
                      <a:pt x="1568" y="1600"/>
                    </a:lnTo>
                    <a:lnTo>
                      <a:pt x="1594" y="1563"/>
                    </a:lnTo>
                    <a:lnTo>
                      <a:pt x="1616" y="1530"/>
                    </a:lnTo>
                    <a:lnTo>
                      <a:pt x="1638" y="1496"/>
                    </a:lnTo>
                    <a:lnTo>
                      <a:pt x="1661" y="1461"/>
                    </a:lnTo>
                    <a:lnTo>
                      <a:pt x="1683" y="1424"/>
                    </a:lnTo>
                    <a:lnTo>
                      <a:pt x="1703" y="1386"/>
                    </a:lnTo>
                    <a:lnTo>
                      <a:pt x="1723" y="1346"/>
                    </a:lnTo>
                    <a:lnTo>
                      <a:pt x="1741" y="1304"/>
                    </a:lnTo>
                    <a:lnTo>
                      <a:pt x="1757" y="1260"/>
                    </a:lnTo>
                    <a:lnTo>
                      <a:pt x="1771" y="1212"/>
                    </a:lnTo>
                    <a:lnTo>
                      <a:pt x="1783" y="1161"/>
                    </a:lnTo>
                    <a:lnTo>
                      <a:pt x="1791" y="1108"/>
                    </a:lnTo>
                    <a:lnTo>
                      <a:pt x="1797" y="1051"/>
                    </a:lnTo>
                    <a:lnTo>
                      <a:pt x="1799" y="989"/>
                    </a:lnTo>
                    <a:lnTo>
                      <a:pt x="1796" y="923"/>
                    </a:lnTo>
                    <a:lnTo>
                      <a:pt x="1787" y="858"/>
                    </a:lnTo>
                    <a:lnTo>
                      <a:pt x="1771" y="795"/>
                    </a:lnTo>
                    <a:lnTo>
                      <a:pt x="1751" y="735"/>
                    </a:lnTo>
                    <a:lnTo>
                      <a:pt x="1726" y="677"/>
                    </a:lnTo>
                    <a:lnTo>
                      <a:pt x="1694" y="621"/>
                    </a:lnTo>
                    <a:lnTo>
                      <a:pt x="1659" y="569"/>
                    </a:lnTo>
                    <a:lnTo>
                      <a:pt x="1618" y="519"/>
                    </a:lnTo>
                    <a:lnTo>
                      <a:pt x="1573" y="474"/>
                    </a:lnTo>
                    <a:lnTo>
                      <a:pt x="1526" y="431"/>
                    </a:lnTo>
                    <a:lnTo>
                      <a:pt x="1473" y="392"/>
                    </a:lnTo>
                    <a:lnTo>
                      <a:pt x="1418" y="359"/>
                    </a:lnTo>
                    <a:lnTo>
                      <a:pt x="1360" y="330"/>
                    </a:lnTo>
                    <a:lnTo>
                      <a:pt x="1298" y="305"/>
                    </a:lnTo>
                    <a:lnTo>
                      <a:pt x="1234" y="286"/>
                    </a:lnTo>
                    <a:lnTo>
                      <a:pt x="1168" y="271"/>
                    </a:lnTo>
                    <a:lnTo>
                      <a:pt x="1100" y="262"/>
                    </a:lnTo>
                    <a:lnTo>
                      <a:pt x="1030" y="259"/>
                    </a:lnTo>
                    <a:close/>
                    <a:moveTo>
                      <a:pt x="1030" y="0"/>
                    </a:moveTo>
                    <a:lnTo>
                      <a:pt x="1114" y="4"/>
                    </a:lnTo>
                    <a:lnTo>
                      <a:pt x="1197" y="14"/>
                    </a:lnTo>
                    <a:lnTo>
                      <a:pt x="1277" y="30"/>
                    </a:lnTo>
                    <a:lnTo>
                      <a:pt x="1355" y="51"/>
                    </a:lnTo>
                    <a:lnTo>
                      <a:pt x="1430" y="79"/>
                    </a:lnTo>
                    <a:lnTo>
                      <a:pt x="1502" y="111"/>
                    </a:lnTo>
                    <a:lnTo>
                      <a:pt x="1571" y="149"/>
                    </a:lnTo>
                    <a:lnTo>
                      <a:pt x="1637" y="192"/>
                    </a:lnTo>
                    <a:lnTo>
                      <a:pt x="1699" y="239"/>
                    </a:lnTo>
                    <a:lnTo>
                      <a:pt x="1757" y="291"/>
                    </a:lnTo>
                    <a:lnTo>
                      <a:pt x="1811" y="346"/>
                    </a:lnTo>
                    <a:lnTo>
                      <a:pt x="1861" y="406"/>
                    </a:lnTo>
                    <a:lnTo>
                      <a:pt x="1905" y="468"/>
                    </a:lnTo>
                    <a:lnTo>
                      <a:pt x="1945" y="535"/>
                    </a:lnTo>
                    <a:lnTo>
                      <a:pt x="1979" y="605"/>
                    </a:lnTo>
                    <a:lnTo>
                      <a:pt x="2006" y="678"/>
                    </a:lnTo>
                    <a:lnTo>
                      <a:pt x="2030" y="752"/>
                    </a:lnTo>
                    <a:lnTo>
                      <a:pt x="2046" y="829"/>
                    </a:lnTo>
                    <a:lnTo>
                      <a:pt x="2056" y="908"/>
                    </a:lnTo>
                    <a:lnTo>
                      <a:pt x="2060" y="989"/>
                    </a:lnTo>
                    <a:lnTo>
                      <a:pt x="2057" y="1058"/>
                    </a:lnTo>
                    <a:lnTo>
                      <a:pt x="2052" y="1123"/>
                    </a:lnTo>
                    <a:lnTo>
                      <a:pt x="2044" y="1185"/>
                    </a:lnTo>
                    <a:lnTo>
                      <a:pt x="2032" y="1244"/>
                    </a:lnTo>
                    <a:lnTo>
                      <a:pt x="2018" y="1299"/>
                    </a:lnTo>
                    <a:lnTo>
                      <a:pt x="2002" y="1351"/>
                    </a:lnTo>
                    <a:lnTo>
                      <a:pt x="1983" y="1400"/>
                    </a:lnTo>
                    <a:lnTo>
                      <a:pt x="1964" y="1447"/>
                    </a:lnTo>
                    <a:lnTo>
                      <a:pt x="1943" y="1490"/>
                    </a:lnTo>
                    <a:lnTo>
                      <a:pt x="1921" y="1531"/>
                    </a:lnTo>
                    <a:lnTo>
                      <a:pt x="1898" y="1571"/>
                    </a:lnTo>
                    <a:lnTo>
                      <a:pt x="1876" y="1608"/>
                    </a:lnTo>
                    <a:lnTo>
                      <a:pt x="1853" y="1643"/>
                    </a:lnTo>
                    <a:lnTo>
                      <a:pt x="1831" y="1676"/>
                    </a:lnTo>
                    <a:lnTo>
                      <a:pt x="1809" y="1708"/>
                    </a:lnTo>
                    <a:lnTo>
                      <a:pt x="1783" y="1747"/>
                    </a:lnTo>
                    <a:lnTo>
                      <a:pt x="1760" y="1782"/>
                    </a:lnTo>
                    <a:lnTo>
                      <a:pt x="1740" y="1813"/>
                    </a:lnTo>
                    <a:lnTo>
                      <a:pt x="1726" y="1842"/>
                    </a:lnTo>
                    <a:lnTo>
                      <a:pt x="1715" y="1868"/>
                    </a:lnTo>
                    <a:lnTo>
                      <a:pt x="1707" y="1893"/>
                    </a:lnTo>
                    <a:lnTo>
                      <a:pt x="1705" y="1918"/>
                    </a:lnTo>
                    <a:lnTo>
                      <a:pt x="1702" y="1965"/>
                    </a:lnTo>
                    <a:lnTo>
                      <a:pt x="1693" y="2012"/>
                    </a:lnTo>
                    <a:lnTo>
                      <a:pt x="1678" y="2057"/>
                    </a:lnTo>
                    <a:lnTo>
                      <a:pt x="1655" y="2102"/>
                    </a:lnTo>
                    <a:lnTo>
                      <a:pt x="1629" y="2144"/>
                    </a:lnTo>
                    <a:lnTo>
                      <a:pt x="1596" y="2184"/>
                    </a:lnTo>
                    <a:lnTo>
                      <a:pt x="1557" y="2222"/>
                    </a:lnTo>
                    <a:lnTo>
                      <a:pt x="1514" y="2257"/>
                    </a:lnTo>
                    <a:lnTo>
                      <a:pt x="1513" y="2278"/>
                    </a:lnTo>
                    <a:lnTo>
                      <a:pt x="1512" y="2303"/>
                    </a:lnTo>
                    <a:lnTo>
                      <a:pt x="1510" y="2331"/>
                    </a:lnTo>
                    <a:lnTo>
                      <a:pt x="1509" y="2359"/>
                    </a:lnTo>
                    <a:lnTo>
                      <a:pt x="1506" y="2388"/>
                    </a:lnTo>
                    <a:lnTo>
                      <a:pt x="1505" y="2416"/>
                    </a:lnTo>
                    <a:lnTo>
                      <a:pt x="1503" y="2444"/>
                    </a:lnTo>
                    <a:lnTo>
                      <a:pt x="1502" y="2468"/>
                    </a:lnTo>
                    <a:lnTo>
                      <a:pt x="1501" y="2488"/>
                    </a:lnTo>
                    <a:lnTo>
                      <a:pt x="1500" y="2505"/>
                    </a:lnTo>
                    <a:lnTo>
                      <a:pt x="1500" y="2516"/>
                    </a:lnTo>
                    <a:lnTo>
                      <a:pt x="1499" y="2519"/>
                    </a:lnTo>
                    <a:lnTo>
                      <a:pt x="1499" y="2532"/>
                    </a:lnTo>
                    <a:lnTo>
                      <a:pt x="1497" y="2546"/>
                    </a:lnTo>
                    <a:lnTo>
                      <a:pt x="1493" y="2562"/>
                    </a:lnTo>
                    <a:lnTo>
                      <a:pt x="1487" y="2579"/>
                    </a:lnTo>
                    <a:lnTo>
                      <a:pt x="1479" y="2598"/>
                    </a:lnTo>
                    <a:lnTo>
                      <a:pt x="1468" y="2616"/>
                    </a:lnTo>
                    <a:lnTo>
                      <a:pt x="1454" y="2635"/>
                    </a:lnTo>
                    <a:lnTo>
                      <a:pt x="1437" y="2655"/>
                    </a:lnTo>
                    <a:lnTo>
                      <a:pt x="1416" y="2673"/>
                    </a:lnTo>
                    <a:lnTo>
                      <a:pt x="1390" y="2692"/>
                    </a:lnTo>
                    <a:lnTo>
                      <a:pt x="1361" y="2709"/>
                    </a:lnTo>
                    <a:lnTo>
                      <a:pt x="1327" y="2726"/>
                    </a:lnTo>
                    <a:lnTo>
                      <a:pt x="1286" y="2741"/>
                    </a:lnTo>
                    <a:lnTo>
                      <a:pt x="1263" y="2770"/>
                    </a:lnTo>
                    <a:lnTo>
                      <a:pt x="1234" y="2798"/>
                    </a:lnTo>
                    <a:lnTo>
                      <a:pt x="1202" y="2823"/>
                    </a:lnTo>
                    <a:lnTo>
                      <a:pt x="1180" y="2835"/>
                    </a:lnTo>
                    <a:lnTo>
                      <a:pt x="1155" y="2842"/>
                    </a:lnTo>
                    <a:lnTo>
                      <a:pt x="1130" y="2844"/>
                    </a:lnTo>
                    <a:lnTo>
                      <a:pt x="930" y="2844"/>
                    </a:lnTo>
                    <a:lnTo>
                      <a:pt x="904" y="2842"/>
                    </a:lnTo>
                    <a:lnTo>
                      <a:pt x="880" y="2835"/>
                    </a:lnTo>
                    <a:lnTo>
                      <a:pt x="857" y="2823"/>
                    </a:lnTo>
                    <a:lnTo>
                      <a:pt x="826" y="2798"/>
                    </a:lnTo>
                    <a:lnTo>
                      <a:pt x="797" y="2770"/>
                    </a:lnTo>
                    <a:lnTo>
                      <a:pt x="773" y="2741"/>
                    </a:lnTo>
                    <a:lnTo>
                      <a:pt x="731" y="2724"/>
                    </a:lnTo>
                    <a:lnTo>
                      <a:pt x="695" y="2707"/>
                    </a:lnTo>
                    <a:lnTo>
                      <a:pt x="663" y="2688"/>
                    </a:lnTo>
                    <a:lnTo>
                      <a:pt x="637" y="2668"/>
                    </a:lnTo>
                    <a:lnTo>
                      <a:pt x="616" y="2648"/>
                    </a:lnTo>
                    <a:lnTo>
                      <a:pt x="599" y="2627"/>
                    </a:lnTo>
                    <a:lnTo>
                      <a:pt x="586" y="2607"/>
                    </a:lnTo>
                    <a:lnTo>
                      <a:pt x="576" y="2586"/>
                    </a:lnTo>
                    <a:lnTo>
                      <a:pt x="569" y="2567"/>
                    </a:lnTo>
                    <a:lnTo>
                      <a:pt x="564" y="2549"/>
                    </a:lnTo>
                    <a:lnTo>
                      <a:pt x="562" y="2534"/>
                    </a:lnTo>
                    <a:lnTo>
                      <a:pt x="561" y="2519"/>
                    </a:lnTo>
                    <a:lnTo>
                      <a:pt x="561" y="2519"/>
                    </a:lnTo>
                    <a:lnTo>
                      <a:pt x="561" y="2516"/>
                    </a:lnTo>
                    <a:lnTo>
                      <a:pt x="560" y="2505"/>
                    </a:lnTo>
                    <a:lnTo>
                      <a:pt x="559" y="2488"/>
                    </a:lnTo>
                    <a:lnTo>
                      <a:pt x="557" y="2468"/>
                    </a:lnTo>
                    <a:lnTo>
                      <a:pt x="556" y="2444"/>
                    </a:lnTo>
                    <a:lnTo>
                      <a:pt x="554" y="2416"/>
                    </a:lnTo>
                    <a:lnTo>
                      <a:pt x="553" y="2388"/>
                    </a:lnTo>
                    <a:lnTo>
                      <a:pt x="551" y="2359"/>
                    </a:lnTo>
                    <a:lnTo>
                      <a:pt x="550" y="2331"/>
                    </a:lnTo>
                    <a:lnTo>
                      <a:pt x="548" y="2303"/>
                    </a:lnTo>
                    <a:lnTo>
                      <a:pt x="547" y="2278"/>
                    </a:lnTo>
                    <a:lnTo>
                      <a:pt x="546" y="2257"/>
                    </a:lnTo>
                    <a:lnTo>
                      <a:pt x="502" y="2222"/>
                    </a:lnTo>
                    <a:lnTo>
                      <a:pt x="464" y="2184"/>
                    </a:lnTo>
                    <a:lnTo>
                      <a:pt x="431" y="2144"/>
                    </a:lnTo>
                    <a:lnTo>
                      <a:pt x="404" y="2102"/>
                    </a:lnTo>
                    <a:lnTo>
                      <a:pt x="382" y="2057"/>
                    </a:lnTo>
                    <a:lnTo>
                      <a:pt x="367" y="2012"/>
                    </a:lnTo>
                    <a:lnTo>
                      <a:pt x="357" y="1965"/>
                    </a:lnTo>
                    <a:lnTo>
                      <a:pt x="354" y="1918"/>
                    </a:lnTo>
                    <a:lnTo>
                      <a:pt x="352" y="1893"/>
                    </a:lnTo>
                    <a:lnTo>
                      <a:pt x="345" y="1868"/>
                    </a:lnTo>
                    <a:lnTo>
                      <a:pt x="334" y="1842"/>
                    </a:lnTo>
                    <a:lnTo>
                      <a:pt x="319" y="1813"/>
                    </a:lnTo>
                    <a:lnTo>
                      <a:pt x="300" y="1782"/>
                    </a:lnTo>
                    <a:lnTo>
                      <a:pt x="278" y="1747"/>
                    </a:lnTo>
                    <a:lnTo>
                      <a:pt x="251" y="1709"/>
                    </a:lnTo>
                    <a:lnTo>
                      <a:pt x="230" y="1677"/>
                    </a:lnTo>
                    <a:lnTo>
                      <a:pt x="207" y="1643"/>
                    </a:lnTo>
                    <a:lnTo>
                      <a:pt x="184" y="1608"/>
                    </a:lnTo>
                    <a:lnTo>
                      <a:pt x="162" y="1571"/>
                    </a:lnTo>
                    <a:lnTo>
                      <a:pt x="139" y="1532"/>
                    </a:lnTo>
                    <a:lnTo>
                      <a:pt x="117" y="1490"/>
                    </a:lnTo>
                    <a:lnTo>
                      <a:pt x="96" y="1447"/>
                    </a:lnTo>
                    <a:lnTo>
                      <a:pt x="77" y="1400"/>
                    </a:lnTo>
                    <a:lnTo>
                      <a:pt x="57" y="1351"/>
                    </a:lnTo>
                    <a:lnTo>
                      <a:pt x="41" y="1299"/>
                    </a:lnTo>
                    <a:lnTo>
                      <a:pt x="28" y="1244"/>
                    </a:lnTo>
                    <a:lnTo>
                      <a:pt x="16" y="1185"/>
                    </a:lnTo>
                    <a:lnTo>
                      <a:pt x="7" y="1123"/>
                    </a:lnTo>
                    <a:lnTo>
                      <a:pt x="2" y="1058"/>
                    </a:lnTo>
                    <a:lnTo>
                      <a:pt x="0" y="989"/>
                    </a:lnTo>
                    <a:lnTo>
                      <a:pt x="3" y="908"/>
                    </a:lnTo>
                    <a:lnTo>
                      <a:pt x="14" y="829"/>
                    </a:lnTo>
                    <a:lnTo>
                      <a:pt x="30" y="752"/>
                    </a:lnTo>
                    <a:lnTo>
                      <a:pt x="53" y="678"/>
                    </a:lnTo>
                    <a:lnTo>
                      <a:pt x="81" y="605"/>
                    </a:lnTo>
                    <a:lnTo>
                      <a:pt x="115" y="535"/>
                    </a:lnTo>
                    <a:lnTo>
                      <a:pt x="154" y="468"/>
                    </a:lnTo>
                    <a:lnTo>
                      <a:pt x="199" y="406"/>
                    </a:lnTo>
                    <a:lnTo>
                      <a:pt x="249" y="346"/>
                    </a:lnTo>
                    <a:lnTo>
                      <a:pt x="302" y="291"/>
                    </a:lnTo>
                    <a:lnTo>
                      <a:pt x="361" y="239"/>
                    </a:lnTo>
                    <a:lnTo>
                      <a:pt x="422" y="192"/>
                    </a:lnTo>
                    <a:lnTo>
                      <a:pt x="488" y="149"/>
                    </a:lnTo>
                    <a:lnTo>
                      <a:pt x="557" y="111"/>
                    </a:lnTo>
                    <a:lnTo>
                      <a:pt x="630" y="79"/>
                    </a:lnTo>
                    <a:lnTo>
                      <a:pt x="705" y="51"/>
                    </a:lnTo>
                    <a:lnTo>
                      <a:pt x="783" y="30"/>
                    </a:lnTo>
                    <a:lnTo>
                      <a:pt x="863" y="14"/>
                    </a:lnTo>
                    <a:lnTo>
                      <a:pt x="946" y="4"/>
                    </a:lnTo>
                    <a:lnTo>
                      <a:pt x="10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Freeform 28"/>
              <p:cNvSpPr>
                <a:spLocks/>
              </p:cNvSpPr>
              <p:nvPr/>
            </p:nvSpPr>
            <p:spPr bwMode="auto">
              <a:xfrm>
                <a:off x="6823075" y="1300163"/>
                <a:ext cx="14287" cy="36513"/>
              </a:xfrm>
              <a:custGeom>
                <a:avLst/>
                <a:gdLst>
                  <a:gd name="T0" fmla="*/ 65 w 130"/>
                  <a:gd name="T1" fmla="*/ 0 h 322"/>
                  <a:gd name="T2" fmla="*/ 65 w 130"/>
                  <a:gd name="T3" fmla="*/ 0 h 322"/>
                  <a:gd name="T4" fmla="*/ 82 w 130"/>
                  <a:gd name="T5" fmla="*/ 2 h 322"/>
                  <a:gd name="T6" fmla="*/ 98 w 130"/>
                  <a:gd name="T7" fmla="*/ 8 h 322"/>
                  <a:gd name="T8" fmla="*/ 111 w 130"/>
                  <a:gd name="T9" fmla="*/ 19 h 322"/>
                  <a:gd name="T10" fmla="*/ 121 w 130"/>
                  <a:gd name="T11" fmla="*/ 32 h 322"/>
                  <a:gd name="T12" fmla="*/ 128 w 130"/>
                  <a:gd name="T13" fmla="*/ 47 h 322"/>
                  <a:gd name="T14" fmla="*/ 130 w 130"/>
                  <a:gd name="T15" fmla="*/ 64 h 322"/>
                  <a:gd name="T16" fmla="*/ 130 w 130"/>
                  <a:gd name="T17" fmla="*/ 258 h 322"/>
                  <a:gd name="T18" fmla="*/ 128 w 130"/>
                  <a:gd name="T19" fmla="*/ 276 h 322"/>
                  <a:gd name="T20" fmla="*/ 121 w 130"/>
                  <a:gd name="T21" fmla="*/ 290 h 322"/>
                  <a:gd name="T22" fmla="*/ 111 w 130"/>
                  <a:gd name="T23" fmla="*/ 304 h 322"/>
                  <a:gd name="T24" fmla="*/ 98 w 130"/>
                  <a:gd name="T25" fmla="*/ 314 h 322"/>
                  <a:gd name="T26" fmla="*/ 82 w 130"/>
                  <a:gd name="T27" fmla="*/ 320 h 322"/>
                  <a:gd name="T28" fmla="*/ 65 w 130"/>
                  <a:gd name="T29" fmla="*/ 322 h 322"/>
                  <a:gd name="T30" fmla="*/ 48 w 130"/>
                  <a:gd name="T31" fmla="*/ 320 h 322"/>
                  <a:gd name="T32" fmla="*/ 32 w 130"/>
                  <a:gd name="T33" fmla="*/ 314 h 322"/>
                  <a:gd name="T34" fmla="*/ 19 w 130"/>
                  <a:gd name="T35" fmla="*/ 304 h 322"/>
                  <a:gd name="T36" fmla="*/ 8 w 130"/>
                  <a:gd name="T37" fmla="*/ 290 h 322"/>
                  <a:gd name="T38" fmla="*/ 2 w 130"/>
                  <a:gd name="T39" fmla="*/ 276 h 322"/>
                  <a:gd name="T40" fmla="*/ 0 w 130"/>
                  <a:gd name="T41" fmla="*/ 258 h 322"/>
                  <a:gd name="T42" fmla="*/ 0 w 130"/>
                  <a:gd name="T43" fmla="*/ 64 h 322"/>
                  <a:gd name="T44" fmla="*/ 2 w 130"/>
                  <a:gd name="T45" fmla="*/ 47 h 322"/>
                  <a:gd name="T46" fmla="*/ 8 w 130"/>
                  <a:gd name="T47" fmla="*/ 32 h 322"/>
                  <a:gd name="T48" fmla="*/ 19 w 130"/>
                  <a:gd name="T49" fmla="*/ 19 h 322"/>
                  <a:gd name="T50" fmla="*/ 32 w 130"/>
                  <a:gd name="T51" fmla="*/ 8 h 322"/>
                  <a:gd name="T52" fmla="*/ 48 w 130"/>
                  <a:gd name="T53" fmla="*/ 2 h 322"/>
                  <a:gd name="T54" fmla="*/ 65 w 130"/>
                  <a:gd name="T5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322">
                    <a:moveTo>
                      <a:pt x="65" y="0"/>
                    </a:moveTo>
                    <a:lnTo>
                      <a:pt x="65" y="0"/>
                    </a:lnTo>
                    <a:lnTo>
                      <a:pt x="82" y="2"/>
                    </a:lnTo>
                    <a:lnTo>
                      <a:pt x="98" y="8"/>
                    </a:lnTo>
                    <a:lnTo>
                      <a:pt x="111" y="19"/>
                    </a:lnTo>
                    <a:lnTo>
                      <a:pt x="121" y="32"/>
                    </a:lnTo>
                    <a:lnTo>
                      <a:pt x="128" y="47"/>
                    </a:lnTo>
                    <a:lnTo>
                      <a:pt x="130" y="64"/>
                    </a:lnTo>
                    <a:lnTo>
                      <a:pt x="130" y="258"/>
                    </a:lnTo>
                    <a:lnTo>
                      <a:pt x="128" y="276"/>
                    </a:lnTo>
                    <a:lnTo>
                      <a:pt x="121" y="290"/>
                    </a:lnTo>
                    <a:lnTo>
                      <a:pt x="111" y="304"/>
                    </a:lnTo>
                    <a:lnTo>
                      <a:pt x="98" y="314"/>
                    </a:lnTo>
                    <a:lnTo>
                      <a:pt x="82" y="320"/>
                    </a:lnTo>
                    <a:lnTo>
                      <a:pt x="65" y="322"/>
                    </a:lnTo>
                    <a:lnTo>
                      <a:pt x="48" y="320"/>
                    </a:lnTo>
                    <a:lnTo>
                      <a:pt x="32" y="314"/>
                    </a:lnTo>
                    <a:lnTo>
                      <a:pt x="19" y="304"/>
                    </a:lnTo>
                    <a:lnTo>
                      <a:pt x="8" y="290"/>
                    </a:lnTo>
                    <a:lnTo>
                      <a:pt x="2" y="276"/>
                    </a:lnTo>
                    <a:lnTo>
                      <a:pt x="0" y="258"/>
                    </a:lnTo>
                    <a:lnTo>
                      <a:pt x="0" y="64"/>
                    </a:lnTo>
                    <a:lnTo>
                      <a:pt x="2" y="47"/>
                    </a:lnTo>
                    <a:lnTo>
                      <a:pt x="8" y="32"/>
                    </a:lnTo>
                    <a:lnTo>
                      <a:pt x="19" y="19"/>
                    </a:lnTo>
                    <a:lnTo>
                      <a:pt x="32" y="8"/>
                    </a:lnTo>
                    <a:lnTo>
                      <a:pt x="48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Freeform 29"/>
              <p:cNvSpPr>
                <a:spLocks/>
              </p:cNvSpPr>
              <p:nvPr/>
            </p:nvSpPr>
            <p:spPr bwMode="auto">
              <a:xfrm>
                <a:off x="6738938" y="1320800"/>
                <a:ext cx="26987" cy="34925"/>
              </a:xfrm>
              <a:custGeom>
                <a:avLst/>
                <a:gdLst>
                  <a:gd name="T0" fmla="*/ 65 w 228"/>
                  <a:gd name="T1" fmla="*/ 0 h 298"/>
                  <a:gd name="T2" fmla="*/ 82 w 228"/>
                  <a:gd name="T3" fmla="*/ 2 h 298"/>
                  <a:gd name="T4" fmla="*/ 97 w 228"/>
                  <a:gd name="T5" fmla="*/ 9 h 298"/>
                  <a:gd name="T6" fmla="*/ 111 w 228"/>
                  <a:gd name="T7" fmla="*/ 19 h 298"/>
                  <a:gd name="T8" fmla="*/ 121 w 228"/>
                  <a:gd name="T9" fmla="*/ 33 h 298"/>
                  <a:gd name="T10" fmla="*/ 219 w 228"/>
                  <a:gd name="T11" fmla="*/ 201 h 298"/>
                  <a:gd name="T12" fmla="*/ 225 w 228"/>
                  <a:gd name="T13" fmla="*/ 217 h 298"/>
                  <a:gd name="T14" fmla="*/ 228 w 228"/>
                  <a:gd name="T15" fmla="*/ 234 h 298"/>
                  <a:gd name="T16" fmla="*/ 225 w 228"/>
                  <a:gd name="T17" fmla="*/ 250 h 298"/>
                  <a:gd name="T18" fmla="*/ 219 w 228"/>
                  <a:gd name="T19" fmla="*/ 265 h 298"/>
                  <a:gd name="T20" fmla="*/ 209 w 228"/>
                  <a:gd name="T21" fmla="*/ 279 h 298"/>
                  <a:gd name="T22" fmla="*/ 196 w 228"/>
                  <a:gd name="T23" fmla="*/ 290 h 298"/>
                  <a:gd name="T24" fmla="*/ 180 w 228"/>
                  <a:gd name="T25" fmla="*/ 296 h 298"/>
                  <a:gd name="T26" fmla="*/ 163 w 228"/>
                  <a:gd name="T27" fmla="*/ 298 h 298"/>
                  <a:gd name="T28" fmla="*/ 146 w 228"/>
                  <a:gd name="T29" fmla="*/ 296 h 298"/>
                  <a:gd name="T30" fmla="*/ 131 w 228"/>
                  <a:gd name="T31" fmla="*/ 290 h 298"/>
                  <a:gd name="T32" fmla="*/ 117 w 228"/>
                  <a:gd name="T33" fmla="*/ 279 h 298"/>
                  <a:gd name="T34" fmla="*/ 106 w 228"/>
                  <a:gd name="T35" fmla="*/ 265 h 298"/>
                  <a:gd name="T36" fmla="*/ 8 w 228"/>
                  <a:gd name="T37" fmla="*/ 97 h 298"/>
                  <a:gd name="T38" fmla="*/ 2 w 228"/>
                  <a:gd name="T39" fmla="*/ 82 h 298"/>
                  <a:gd name="T40" fmla="*/ 0 w 228"/>
                  <a:gd name="T41" fmla="*/ 65 h 298"/>
                  <a:gd name="T42" fmla="*/ 2 w 228"/>
                  <a:gd name="T43" fmla="*/ 49 h 298"/>
                  <a:gd name="T44" fmla="*/ 8 w 228"/>
                  <a:gd name="T45" fmla="*/ 33 h 298"/>
                  <a:gd name="T46" fmla="*/ 19 w 228"/>
                  <a:gd name="T47" fmla="*/ 20 h 298"/>
                  <a:gd name="T48" fmla="*/ 32 w 228"/>
                  <a:gd name="T49" fmla="*/ 10 h 298"/>
                  <a:gd name="T50" fmla="*/ 49 w 228"/>
                  <a:gd name="T51" fmla="*/ 2 h 298"/>
                  <a:gd name="T52" fmla="*/ 65 w 228"/>
                  <a:gd name="T53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8" h="298">
                    <a:moveTo>
                      <a:pt x="65" y="0"/>
                    </a:moveTo>
                    <a:lnTo>
                      <a:pt x="82" y="2"/>
                    </a:lnTo>
                    <a:lnTo>
                      <a:pt x="97" y="9"/>
                    </a:lnTo>
                    <a:lnTo>
                      <a:pt x="111" y="19"/>
                    </a:lnTo>
                    <a:lnTo>
                      <a:pt x="121" y="33"/>
                    </a:lnTo>
                    <a:lnTo>
                      <a:pt x="219" y="201"/>
                    </a:lnTo>
                    <a:lnTo>
                      <a:pt x="225" y="217"/>
                    </a:lnTo>
                    <a:lnTo>
                      <a:pt x="228" y="234"/>
                    </a:lnTo>
                    <a:lnTo>
                      <a:pt x="225" y="250"/>
                    </a:lnTo>
                    <a:lnTo>
                      <a:pt x="219" y="265"/>
                    </a:lnTo>
                    <a:lnTo>
                      <a:pt x="209" y="279"/>
                    </a:lnTo>
                    <a:lnTo>
                      <a:pt x="196" y="290"/>
                    </a:lnTo>
                    <a:lnTo>
                      <a:pt x="180" y="296"/>
                    </a:lnTo>
                    <a:lnTo>
                      <a:pt x="163" y="298"/>
                    </a:lnTo>
                    <a:lnTo>
                      <a:pt x="146" y="296"/>
                    </a:lnTo>
                    <a:lnTo>
                      <a:pt x="131" y="290"/>
                    </a:lnTo>
                    <a:lnTo>
                      <a:pt x="117" y="279"/>
                    </a:lnTo>
                    <a:lnTo>
                      <a:pt x="106" y="265"/>
                    </a:lnTo>
                    <a:lnTo>
                      <a:pt x="8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9"/>
                    </a:lnTo>
                    <a:lnTo>
                      <a:pt x="8" y="33"/>
                    </a:lnTo>
                    <a:lnTo>
                      <a:pt x="19" y="20"/>
                    </a:lnTo>
                    <a:lnTo>
                      <a:pt x="32" y="10"/>
                    </a:lnTo>
                    <a:lnTo>
                      <a:pt x="49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1" name="Freeform 30"/>
              <p:cNvSpPr>
                <a:spLocks/>
              </p:cNvSpPr>
              <p:nvPr/>
            </p:nvSpPr>
            <p:spPr bwMode="auto">
              <a:xfrm>
                <a:off x="6678613" y="1382713"/>
                <a:ext cx="33337" cy="25400"/>
              </a:xfrm>
              <a:custGeom>
                <a:avLst/>
                <a:gdLst>
                  <a:gd name="T0" fmla="*/ 65 w 299"/>
                  <a:gd name="T1" fmla="*/ 0 h 226"/>
                  <a:gd name="T2" fmla="*/ 81 w 299"/>
                  <a:gd name="T3" fmla="*/ 2 h 226"/>
                  <a:gd name="T4" fmla="*/ 98 w 299"/>
                  <a:gd name="T5" fmla="*/ 8 h 226"/>
                  <a:gd name="T6" fmla="*/ 267 w 299"/>
                  <a:gd name="T7" fmla="*/ 104 h 226"/>
                  <a:gd name="T8" fmla="*/ 281 w 299"/>
                  <a:gd name="T9" fmla="*/ 116 h 226"/>
                  <a:gd name="T10" fmla="*/ 290 w 299"/>
                  <a:gd name="T11" fmla="*/ 129 h 226"/>
                  <a:gd name="T12" fmla="*/ 297 w 299"/>
                  <a:gd name="T13" fmla="*/ 144 h 226"/>
                  <a:gd name="T14" fmla="*/ 299 w 299"/>
                  <a:gd name="T15" fmla="*/ 160 h 226"/>
                  <a:gd name="T16" fmla="*/ 297 w 299"/>
                  <a:gd name="T17" fmla="*/ 177 h 226"/>
                  <a:gd name="T18" fmla="*/ 290 w 299"/>
                  <a:gd name="T19" fmla="*/ 193 h 226"/>
                  <a:gd name="T20" fmla="*/ 280 w 299"/>
                  <a:gd name="T21" fmla="*/ 207 h 226"/>
                  <a:gd name="T22" fmla="*/ 266 w 299"/>
                  <a:gd name="T23" fmla="*/ 217 h 226"/>
                  <a:gd name="T24" fmla="*/ 250 w 299"/>
                  <a:gd name="T25" fmla="*/ 224 h 226"/>
                  <a:gd name="T26" fmla="*/ 234 w 299"/>
                  <a:gd name="T27" fmla="*/ 226 h 226"/>
                  <a:gd name="T28" fmla="*/ 217 w 299"/>
                  <a:gd name="T29" fmla="*/ 224 h 226"/>
                  <a:gd name="T30" fmla="*/ 201 w 299"/>
                  <a:gd name="T31" fmla="*/ 216 h 226"/>
                  <a:gd name="T32" fmla="*/ 32 w 299"/>
                  <a:gd name="T33" fmla="*/ 120 h 226"/>
                  <a:gd name="T34" fmla="*/ 18 w 299"/>
                  <a:gd name="T35" fmla="*/ 110 h 226"/>
                  <a:gd name="T36" fmla="*/ 8 w 299"/>
                  <a:gd name="T37" fmla="*/ 96 h 226"/>
                  <a:gd name="T38" fmla="*/ 2 w 299"/>
                  <a:gd name="T39" fmla="*/ 81 h 226"/>
                  <a:gd name="T40" fmla="*/ 0 w 299"/>
                  <a:gd name="T41" fmla="*/ 64 h 226"/>
                  <a:gd name="T42" fmla="*/ 2 w 299"/>
                  <a:gd name="T43" fmla="*/ 47 h 226"/>
                  <a:gd name="T44" fmla="*/ 8 w 299"/>
                  <a:gd name="T45" fmla="*/ 31 h 226"/>
                  <a:gd name="T46" fmla="*/ 19 w 299"/>
                  <a:gd name="T47" fmla="*/ 18 h 226"/>
                  <a:gd name="T48" fmla="*/ 33 w 299"/>
                  <a:gd name="T49" fmla="*/ 8 h 226"/>
                  <a:gd name="T50" fmla="*/ 48 w 299"/>
                  <a:gd name="T51" fmla="*/ 2 h 226"/>
                  <a:gd name="T52" fmla="*/ 65 w 299"/>
                  <a:gd name="T5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6">
                    <a:moveTo>
                      <a:pt x="65" y="0"/>
                    </a:moveTo>
                    <a:lnTo>
                      <a:pt x="81" y="2"/>
                    </a:lnTo>
                    <a:lnTo>
                      <a:pt x="98" y="8"/>
                    </a:lnTo>
                    <a:lnTo>
                      <a:pt x="267" y="104"/>
                    </a:lnTo>
                    <a:lnTo>
                      <a:pt x="281" y="116"/>
                    </a:lnTo>
                    <a:lnTo>
                      <a:pt x="290" y="129"/>
                    </a:lnTo>
                    <a:lnTo>
                      <a:pt x="297" y="144"/>
                    </a:lnTo>
                    <a:lnTo>
                      <a:pt x="299" y="160"/>
                    </a:lnTo>
                    <a:lnTo>
                      <a:pt x="297" y="177"/>
                    </a:lnTo>
                    <a:lnTo>
                      <a:pt x="290" y="193"/>
                    </a:lnTo>
                    <a:lnTo>
                      <a:pt x="280" y="207"/>
                    </a:lnTo>
                    <a:lnTo>
                      <a:pt x="266" y="217"/>
                    </a:lnTo>
                    <a:lnTo>
                      <a:pt x="250" y="224"/>
                    </a:lnTo>
                    <a:lnTo>
                      <a:pt x="234" y="226"/>
                    </a:lnTo>
                    <a:lnTo>
                      <a:pt x="217" y="224"/>
                    </a:lnTo>
                    <a:lnTo>
                      <a:pt x="201" y="216"/>
                    </a:lnTo>
                    <a:lnTo>
                      <a:pt x="32" y="120"/>
                    </a:lnTo>
                    <a:lnTo>
                      <a:pt x="18" y="110"/>
                    </a:lnTo>
                    <a:lnTo>
                      <a:pt x="8" y="96"/>
                    </a:lnTo>
                    <a:lnTo>
                      <a:pt x="2" y="81"/>
                    </a:lnTo>
                    <a:lnTo>
                      <a:pt x="0" y="64"/>
                    </a:lnTo>
                    <a:lnTo>
                      <a:pt x="2" y="47"/>
                    </a:lnTo>
                    <a:lnTo>
                      <a:pt x="8" y="31"/>
                    </a:lnTo>
                    <a:lnTo>
                      <a:pt x="19" y="18"/>
                    </a:lnTo>
                    <a:lnTo>
                      <a:pt x="33" y="8"/>
                    </a:lnTo>
                    <a:lnTo>
                      <a:pt x="48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2" name="Freeform 31"/>
              <p:cNvSpPr>
                <a:spLocks/>
              </p:cNvSpPr>
              <p:nvPr/>
            </p:nvSpPr>
            <p:spPr bwMode="auto">
              <a:xfrm>
                <a:off x="6656388" y="1463675"/>
                <a:ext cx="36512" cy="15875"/>
              </a:xfrm>
              <a:custGeom>
                <a:avLst/>
                <a:gdLst>
                  <a:gd name="T0" fmla="*/ 65 w 325"/>
                  <a:gd name="T1" fmla="*/ 0 h 129"/>
                  <a:gd name="T2" fmla="*/ 261 w 325"/>
                  <a:gd name="T3" fmla="*/ 0 h 129"/>
                  <a:gd name="T4" fmla="*/ 278 w 325"/>
                  <a:gd name="T5" fmla="*/ 3 h 129"/>
                  <a:gd name="T6" fmla="*/ 294 w 325"/>
                  <a:gd name="T7" fmla="*/ 9 h 129"/>
                  <a:gd name="T8" fmla="*/ 306 w 325"/>
                  <a:gd name="T9" fmla="*/ 19 h 129"/>
                  <a:gd name="T10" fmla="*/ 317 w 325"/>
                  <a:gd name="T11" fmla="*/ 32 h 129"/>
                  <a:gd name="T12" fmla="*/ 323 w 325"/>
                  <a:gd name="T13" fmla="*/ 47 h 129"/>
                  <a:gd name="T14" fmla="*/ 325 w 325"/>
                  <a:gd name="T15" fmla="*/ 65 h 129"/>
                  <a:gd name="T16" fmla="*/ 323 w 325"/>
                  <a:gd name="T17" fmla="*/ 82 h 129"/>
                  <a:gd name="T18" fmla="*/ 317 w 325"/>
                  <a:gd name="T19" fmla="*/ 97 h 129"/>
                  <a:gd name="T20" fmla="*/ 306 w 325"/>
                  <a:gd name="T21" fmla="*/ 110 h 129"/>
                  <a:gd name="T22" fmla="*/ 294 w 325"/>
                  <a:gd name="T23" fmla="*/ 120 h 129"/>
                  <a:gd name="T24" fmla="*/ 278 w 325"/>
                  <a:gd name="T25" fmla="*/ 127 h 129"/>
                  <a:gd name="T26" fmla="*/ 261 w 325"/>
                  <a:gd name="T27" fmla="*/ 129 h 129"/>
                  <a:gd name="T28" fmla="*/ 65 w 325"/>
                  <a:gd name="T29" fmla="*/ 129 h 129"/>
                  <a:gd name="T30" fmla="*/ 48 w 325"/>
                  <a:gd name="T31" fmla="*/ 127 h 129"/>
                  <a:gd name="T32" fmla="*/ 33 w 325"/>
                  <a:gd name="T33" fmla="*/ 120 h 129"/>
                  <a:gd name="T34" fmla="*/ 19 w 325"/>
                  <a:gd name="T35" fmla="*/ 110 h 129"/>
                  <a:gd name="T36" fmla="*/ 10 w 325"/>
                  <a:gd name="T37" fmla="*/ 97 h 129"/>
                  <a:gd name="T38" fmla="*/ 2 w 325"/>
                  <a:gd name="T39" fmla="*/ 82 h 129"/>
                  <a:gd name="T40" fmla="*/ 0 w 325"/>
                  <a:gd name="T41" fmla="*/ 65 h 129"/>
                  <a:gd name="T42" fmla="*/ 2 w 325"/>
                  <a:gd name="T43" fmla="*/ 47 h 129"/>
                  <a:gd name="T44" fmla="*/ 10 w 325"/>
                  <a:gd name="T45" fmla="*/ 32 h 129"/>
                  <a:gd name="T46" fmla="*/ 19 w 325"/>
                  <a:gd name="T47" fmla="*/ 19 h 129"/>
                  <a:gd name="T48" fmla="*/ 33 w 325"/>
                  <a:gd name="T49" fmla="*/ 9 h 129"/>
                  <a:gd name="T50" fmla="*/ 48 w 325"/>
                  <a:gd name="T51" fmla="*/ 3 h 129"/>
                  <a:gd name="T52" fmla="*/ 65 w 325"/>
                  <a:gd name="T5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5" h="129">
                    <a:moveTo>
                      <a:pt x="65" y="0"/>
                    </a:moveTo>
                    <a:lnTo>
                      <a:pt x="261" y="0"/>
                    </a:lnTo>
                    <a:lnTo>
                      <a:pt x="278" y="3"/>
                    </a:lnTo>
                    <a:lnTo>
                      <a:pt x="294" y="9"/>
                    </a:lnTo>
                    <a:lnTo>
                      <a:pt x="306" y="19"/>
                    </a:lnTo>
                    <a:lnTo>
                      <a:pt x="317" y="32"/>
                    </a:lnTo>
                    <a:lnTo>
                      <a:pt x="323" y="47"/>
                    </a:lnTo>
                    <a:lnTo>
                      <a:pt x="325" y="65"/>
                    </a:lnTo>
                    <a:lnTo>
                      <a:pt x="323" y="82"/>
                    </a:lnTo>
                    <a:lnTo>
                      <a:pt x="317" y="97"/>
                    </a:lnTo>
                    <a:lnTo>
                      <a:pt x="306" y="110"/>
                    </a:lnTo>
                    <a:lnTo>
                      <a:pt x="294" y="120"/>
                    </a:lnTo>
                    <a:lnTo>
                      <a:pt x="278" y="127"/>
                    </a:lnTo>
                    <a:lnTo>
                      <a:pt x="261" y="129"/>
                    </a:lnTo>
                    <a:lnTo>
                      <a:pt x="65" y="129"/>
                    </a:lnTo>
                    <a:lnTo>
                      <a:pt x="48" y="127"/>
                    </a:lnTo>
                    <a:lnTo>
                      <a:pt x="33" y="120"/>
                    </a:lnTo>
                    <a:lnTo>
                      <a:pt x="19" y="110"/>
                    </a:lnTo>
                    <a:lnTo>
                      <a:pt x="10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7"/>
                    </a:lnTo>
                    <a:lnTo>
                      <a:pt x="10" y="32"/>
                    </a:lnTo>
                    <a:lnTo>
                      <a:pt x="19" y="19"/>
                    </a:lnTo>
                    <a:lnTo>
                      <a:pt x="33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3" name="Freeform 32"/>
              <p:cNvSpPr>
                <a:spLocks/>
              </p:cNvSpPr>
              <p:nvPr/>
            </p:nvSpPr>
            <p:spPr bwMode="auto">
              <a:xfrm>
                <a:off x="6678613" y="1536700"/>
                <a:ext cx="33337" cy="25400"/>
              </a:xfrm>
              <a:custGeom>
                <a:avLst/>
                <a:gdLst>
                  <a:gd name="T0" fmla="*/ 234 w 299"/>
                  <a:gd name="T1" fmla="*/ 0 h 227"/>
                  <a:gd name="T2" fmla="*/ 251 w 299"/>
                  <a:gd name="T3" fmla="*/ 3 h 227"/>
                  <a:gd name="T4" fmla="*/ 266 w 299"/>
                  <a:gd name="T5" fmla="*/ 9 h 227"/>
                  <a:gd name="T6" fmla="*/ 280 w 299"/>
                  <a:gd name="T7" fmla="*/ 19 h 227"/>
                  <a:gd name="T8" fmla="*/ 290 w 299"/>
                  <a:gd name="T9" fmla="*/ 33 h 227"/>
                  <a:gd name="T10" fmla="*/ 297 w 299"/>
                  <a:gd name="T11" fmla="*/ 49 h 227"/>
                  <a:gd name="T12" fmla="*/ 299 w 299"/>
                  <a:gd name="T13" fmla="*/ 66 h 227"/>
                  <a:gd name="T14" fmla="*/ 297 w 299"/>
                  <a:gd name="T15" fmla="*/ 82 h 227"/>
                  <a:gd name="T16" fmla="*/ 290 w 299"/>
                  <a:gd name="T17" fmla="*/ 97 h 227"/>
                  <a:gd name="T18" fmla="*/ 280 w 299"/>
                  <a:gd name="T19" fmla="*/ 111 h 227"/>
                  <a:gd name="T20" fmla="*/ 267 w 299"/>
                  <a:gd name="T21" fmla="*/ 122 h 227"/>
                  <a:gd name="T22" fmla="*/ 98 w 299"/>
                  <a:gd name="T23" fmla="*/ 218 h 227"/>
                  <a:gd name="T24" fmla="*/ 82 w 299"/>
                  <a:gd name="T25" fmla="*/ 224 h 227"/>
                  <a:gd name="T26" fmla="*/ 65 w 299"/>
                  <a:gd name="T27" fmla="*/ 227 h 227"/>
                  <a:gd name="T28" fmla="*/ 48 w 299"/>
                  <a:gd name="T29" fmla="*/ 224 h 227"/>
                  <a:gd name="T30" fmla="*/ 33 w 299"/>
                  <a:gd name="T31" fmla="*/ 219 h 227"/>
                  <a:gd name="T32" fmla="*/ 19 w 299"/>
                  <a:gd name="T33" fmla="*/ 208 h 227"/>
                  <a:gd name="T34" fmla="*/ 8 w 299"/>
                  <a:gd name="T35" fmla="*/ 195 h 227"/>
                  <a:gd name="T36" fmla="*/ 2 w 299"/>
                  <a:gd name="T37" fmla="*/ 179 h 227"/>
                  <a:gd name="T38" fmla="*/ 0 w 299"/>
                  <a:gd name="T39" fmla="*/ 162 h 227"/>
                  <a:gd name="T40" fmla="*/ 2 w 299"/>
                  <a:gd name="T41" fmla="*/ 146 h 227"/>
                  <a:gd name="T42" fmla="*/ 8 w 299"/>
                  <a:gd name="T43" fmla="*/ 130 h 227"/>
                  <a:gd name="T44" fmla="*/ 18 w 299"/>
                  <a:gd name="T45" fmla="*/ 117 h 227"/>
                  <a:gd name="T46" fmla="*/ 32 w 299"/>
                  <a:gd name="T47" fmla="*/ 107 h 227"/>
                  <a:gd name="T48" fmla="*/ 201 w 299"/>
                  <a:gd name="T49" fmla="*/ 10 h 227"/>
                  <a:gd name="T50" fmla="*/ 218 w 299"/>
                  <a:gd name="T51" fmla="*/ 2 h 227"/>
                  <a:gd name="T52" fmla="*/ 234 w 299"/>
                  <a:gd name="T53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7">
                    <a:moveTo>
                      <a:pt x="234" y="0"/>
                    </a:moveTo>
                    <a:lnTo>
                      <a:pt x="251" y="3"/>
                    </a:lnTo>
                    <a:lnTo>
                      <a:pt x="266" y="9"/>
                    </a:lnTo>
                    <a:lnTo>
                      <a:pt x="280" y="19"/>
                    </a:lnTo>
                    <a:lnTo>
                      <a:pt x="290" y="33"/>
                    </a:lnTo>
                    <a:lnTo>
                      <a:pt x="297" y="49"/>
                    </a:lnTo>
                    <a:lnTo>
                      <a:pt x="299" y="66"/>
                    </a:lnTo>
                    <a:lnTo>
                      <a:pt x="297" y="82"/>
                    </a:lnTo>
                    <a:lnTo>
                      <a:pt x="290" y="97"/>
                    </a:lnTo>
                    <a:lnTo>
                      <a:pt x="280" y="111"/>
                    </a:lnTo>
                    <a:lnTo>
                      <a:pt x="267" y="122"/>
                    </a:lnTo>
                    <a:lnTo>
                      <a:pt x="98" y="218"/>
                    </a:lnTo>
                    <a:lnTo>
                      <a:pt x="82" y="224"/>
                    </a:lnTo>
                    <a:lnTo>
                      <a:pt x="65" y="227"/>
                    </a:lnTo>
                    <a:lnTo>
                      <a:pt x="48" y="224"/>
                    </a:lnTo>
                    <a:lnTo>
                      <a:pt x="33" y="219"/>
                    </a:lnTo>
                    <a:lnTo>
                      <a:pt x="19" y="208"/>
                    </a:lnTo>
                    <a:lnTo>
                      <a:pt x="8" y="195"/>
                    </a:lnTo>
                    <a:lnTo>
                      <a:pt x="2" y="179"/>
                    </a:lnTo>
                    <a:lnTo>
                      <a:pt x="0" y="162"/>
                    </a:lnTo>
                    <a:lnTo>
                      <a:pt x="2" y="146"/>
                    </a:lnTo>
                    <a:lnTo>
                      <a:pt x="8" y="130"/>
                    </a:lnTo>
                    <a:lnTo>
                      <a:pt x="18" y="117"/>
                    </a:lnTo>
                    <a:lnTo>
                      <a:pt x="32" y="107"/>
                    </a:lnTo>
                    <a:lnTo>
                      <a:pt x="201" y="10"/>
                    </a:lnTo>
                    <a:lnTo>
                      <a:pt x="218" y="2"/>
                    </a:lnTo>
                    <a:lnTo>
                      <a:pt x="2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4" name="Freeform 33"/>
              <p:cNvSpPr>
                <a:spLocks/>
              </p:cNvSpPr>
              <p:nvPr/>
            </p:nvSpPr>
            <p:spPr bwMode="auto">
              <a:xfrm>
                <a:off x="6946900" y="1536700"/>
                <a:ext cx="34925" cy="25400"/>
              </a:xfrm>
              <a:custGeom>
                <a:avLst/>
                <a:gdLst>
                  <a:gd name="T0" fmla="*/ 65 w 299"/>
                  <a:gd name="T1" fmla="*/ 0 h 227"/>
                  <a:gd name="T2" fmla="*/ 82 w 299"/>
                  <a:gd name="T3" fmla="*/ 2 h 227"/>
                  <a:gd name="T4" fmla="*/ 98 w 299"/>
                  <a:gd name="T5" fmla="*/ 10 h 227"/>
                  <a:gd name="T6" fmla="*/ 267 w 299"/>
                  <a:gd name="T7" fmla="*/ 107 h 227"/>
                  <a:gd name="T8" fmla="*/ 281 w 299"/>
                  <a:gd name="T9" fmla="*/ 117 h 227"/>
                  <a:gd name="T10" fmla="*/ 290 w 299"/>
                  <a:gd name="T11" fmla="*/ 130 h 227"/>
                  <a:gd name="T12" fmla="*/ 297 w 299"/>
                  <a:gd name="T13" fmla="*/ 146 h 227"/>
                  <a:gd name="T14" fmla="*/ 299 w 299"/>
                  <a:gd name="T15" fmla="*/ 162 h 227"/>
                  <a:gd name="T16" fmla="*/ 297 w 299"/>
                  <a:gd name="T17" fmla="*/ 179 h 227"/>
                  <a:gd name="T18" fmla="*/ 290 w 299"/>
                  <a:gd name="T19" fmla="*/ 195 h 227"/>
                  <a:gd name="T20" fmla="*/ 280 w 299"/>
                  <a:gd name="T21" fmla="*/ 208 h 227"/>
                  <a:gd name="T22" fmla="*/ 266 w 299"/>
                  <a:gd name="T23" fmla="*/ 219 h 227"/>
                  <a:gd name="T24" fmla="*/ 251 w 299"/>
                  <a:gd name="T25" fmla="*/ 224 h 227"/>
                  <a:gd name="T26" fmla="*/ 234 w 299"/>
                  <a:gd name="T27" fmla="*/ 227 h 227"/>
                  <a:gd name="T28" fmla="*/ 217 w 299"/>
                  <a:gd name="T29" fmla="*/ 224 h 227"/>
                  <a:gd name="T30" fmla="*/ 201 w 299"/>
                  <a:gd name="T31" fmla="*/ 218 h 227"/>
                  <a:gd name="T32" fmla="*/ 32 w 299"/>
                  <a:gd name="T33" fmla="*/ 122 h 227"/>
                  <a:gd name="T34" fmla="*/ 19 w 299"/>
                  <a:gd name="T35" fmla="*/ 111 h 227"/>
                  <a:gd name="T36" fmla="*/ 8 w 299"/>
                  <a:gd name="T37" fmla="*/ 97 h 227"/>
                  <a:gd name="T38" fmla="*/ 2 w 299"/>
                  <a:gd name="T39" fmla="*/ 82 h 227"/>
                  <a:gd name="T40" fmla="*/ 0 w 299"/>
                  <a:gd name="T41" fmla="*/ 66 h 227"/>
                  <a:gd name="T42" fmla="*/ 2 w 299"/>
                  <a:gd name="T43" fmla="*/ 49 h 227"/>
                  <a:gd name="T44" fmla="*/ 8 w 299"/>
                  <a:gd name="T45" fmla="*/ 33 h 227"/>
                  <a:gd name="T46" fmla="*/ 19 w 299"/>
                  <a:gd name="T47" fmla="*/ 19 h 227"/>
                  <a:gd name="T48" fmla="*/ 33 w 299"/>
                  <a:gd name="T49" fmla="*/ 9 h 227"/>
                  <a:gd name="T50" fmla="*/ 48 w 299"/>
                  <a:gd name="T51" fmla="*/ 3 h 227"/>
                  <a:gd name="T52" fmla="*/ 65 w 299"/>
                  <a:gd name="T53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7">
                    <a:moveTo>
                      <a:pt x="65" y="0"/>
                    </a:moveTo>
                    <a:lnTo>
                      <a:pt x="82" y="2"/>
                    </a:lnTo>
                    <a:lnTo>
                      <a:pt x="98" y="10"/>
                    </a:lnTo>
                    <a:lnTo>
                      <a:pt x="267" y="107"/>
                    </a:lnTo>
                    <a:lnTo>
                      <a:pt x="281" y="117"/>
                    </a:lnTo>
                    <a:lnTo>
                      <a:pt x="290" y="130"/>
                    </a:lnTo>
                    <a:lnTo>
                      <a:pt x="297" y="146"/>
                    </a:lnTo>
                    <a:lnTo>
                      <a:pt x="299" y="162"/>
                    </a:lnTo>
                    <a:lnTo>
                      <a:pt x="297" y="179"/>
                    </a:lnTo>
                    <a:lnTo>
                      <a:pt x="290" y="195"/>
                    </a:lnTo>
                    <a:lnTo>
                      <a:pt x="280" y="208"/>
                    </a:lnTo>
                    <a:lnTo>
                      <a:pt x="266" y="219"/>
                    </a:lnTo>
                    <a:lnTo>
                      <a:pt x="251" y="224"/>
                    </a:lnTo>
                    <a:lnTo>
                      <a:pt x="234" y="227"/>
                    </a:lnTo>
                    <a:lnTo>
                      <a:pt x="217" y="224"/>
                    </a:lnTo>
                    <a:lnTo>
                      <a:pt x="201" y="218"/>
                    </a:lnTo>
                    <a:lnTo>
                      <a:pt x="32" y="122"/>
                    </a:lnTo>
                    <a:lnTo>
                      <a:pt x="19" y="111"/>
                    </a:lnTo>
                    <a:lnTo>
                      <a:pt x="8" y="97"/>
                    </a:lnTo>
                    <a:lnTo>
                      <a:pt x="2" y="82"/>
                    </a:lnTo>
                    <a:lnTo>
                      <a:pt x="0" y="66"/>
                    </a:lnTo>
                    <a:lnTo>
                      <a:pt x="2" y="49"/>
                    </a:lnTo>
                    <a:lnTo>
                      <a:pt x="8" y="33"/>
                    </a:lnTo>
                    <a:lnTo>
                      <a:pt x="19" y="19"/>
                    </a:lnTo>
                    <a:lnTo>
                      <a:pt x="33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5" name="Freeform 34"/>
              <p:cNvSpPr>
                <a:spLocks/>
              </p:cNvSpPr>
              <p:nvPr/>
            </p:nvSpPr>
            <p:spPr bwMode="auto">
              <a:xfrm>
                <a:off x="6965950" y="1463675"/>
                <a:ext cx="38100" cy="15875"/>
              </a:xfrm>
              <a:custGeom>
                <a:avLst/>
                <a:gdLst>
                  <a:gd name="T0" fmla="*/ 65 w 326"/>
                  <a:gd name="T1" fmla="*/ 0 h 129"/>
                  <a:gd name="T2" fmla="*/ 261 w 326"/>
                  <a:gd name="T3" fmla="*/ 0 h 129"/>
                  <a:gd name="T4" fmla="*/ 278 w 326"/>
                  <a:gd name="T5" fmla="*/ 3 h 129"/>
                  <a:gd name="T6" fmla="*/ 294 w 326"/>
                  <a:gd name="T7" fmla="*/ 9 h 129"/>
                  <a:gd name="T8" fmla="*/ 306 w 326"/>
                  <a:gd name="T9" fmla="*/ 19 h 129"/>
                  <a:gd name="T10" fmla="*/ 316 w 326"/>
                  <a:gd name="T11" fmla="*/ 32 h 129"/>
                  <a:gd name="T12" fmla="*/ 324 w 326"/>
                  <a:gd name="T13" fmla="*/ 47 h 129"/>
                  <a:gd name="T14" fmla="*/ 326 w 326"/>
                  <a:gd name="T15" fmla="*/ 65 h 129"/>
                  <a:gd name="T16" fmla="*/ 324 w 326"/>
                  <a:gd name="T17" fmla="*/ 82 h 129"/>
                  <a:gd name="T18" fmla="*/ 316 w 326"/>
                  <a:gd name="T19" fmla="*/ 97 h 129"/>
                  <a:gd name="T20" fmla="*/ 306 w 326"/>
                  <a:gd name="T21" fmla="*/ 110 h 129"/>
                  <a:gd name="T22" fmla="*/ 294 w 326"/>
                  <a:gd name="T23" fmla="*/ 120 h 129"/>
                  <a:gd name="T24" fmla="*/ 278 w 326"/>
                  <a:gd name="T25" fmla="*/ 127 h 129"/>
                  <a:gd name="T26" fmla="*/ 261 w 326"/>
                  <a:gd name="T27" fmla="*/ 129 h 129"/>
                  <a:gd name="T28" fmla="*/ 65 w 326"/>
                  <a:gd name="T29" fmla="*/ 129 h 129"/>
                  <a:gd name="T30" fmla="*/ 48 w 326"/>
                  <a:gd name="T31" fmla="*/ 127 h 129"/>
                  <a:gd name="T32" fmla="*/ 32 w 326"/>
                  <a:gd name="T33" fmla="*/ 120 h 129"/>
                  <a:gd name="T34" fmla="*/ 19 w 326"/>
                  <a:gd name="T35" fmla="*/ 110 h 129"/>
                  <a:gd name="T36" fmla="*/ 9 w 326"/>
                  <a:gd name="T37" fmla="*/ 97 h 129"/>
                  <a:gd name="T38" fmla="*/ 2 w 326"/>
                  <a:gd name="T39" fmla="*/ 82 h 129"/>
                  <a:gd name="T40" fmla="*/ 0 w 326"/>
                  <a:gd name="T41" fmla="*/ 65 h 129"/>
                  <a:gd name="T42" fmla="*/ 2 w 326"/>
                  <a:gd name="T43" fmla="*/ 47 h 129"/>
                  <a:gd name="T44" fmla="*/ 9 w 326"/>
                  <a:gd name="T45" fmla="*/ 32 h 129"/>
                  <a:gd name="T46" fmla="*/ 19 w 326"/>
                  <a:gd name="T47" fmla="*/ 19 h 129"/>
                  <a:gd name="T48" fmla="*/ 32 w 326"/>
                  <a:gd name="T49" fmla="*/ 9 h 129"/>
                  <a:gd name="T50" fmla="*/ 48 w 326"/>
                  <a:gd name="T51" fmla="*/ 3 h 129"/>
                  <a:gd name="T52" fmla="*/ 65 w 326"/>
                  <a:gd name="T5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6" h="129">
                    <a:moveTo>
                      <a:pt x="65" y="0"/>
                    </a:moveTo>
                    <a:lnTo>
                      <a:pt x="261" y="0"/>
                    </a:lnTo>
                    <a:lnTo>
                      <a:pt x="278" y="3"/>
                    </a:lnTo>
                    <a:lnTo>
                      <a:pt x="294" y="9"/>
                    </a:lnTo>
                    <a:lnTo>
                      <a:pt x="306" y="19"/>
                    </a:lnTo>
                    <a:lnTo>
                      <a:pt x="316" y="32"/>
                    </a:lnTo>
                    <a:lnTo>
                      <a:pt x="324" y="47"/>
                    </a:lnTo>
                    <a:lnTo>
                      <a:pt x="326" y="65"/>
                    </a:lnTo>
                    <a:lnTo>
                      <a:pt x="324" y="82"/>
                    </a:lnTo>
                    <a:lnTo>
                      <a:pt x="316" y="97"/>
                    </a:lnTo>
                    <a:lnTo>
                      <a:pt x="306" y="110"/>
                    </a:lnTo>
                    <a:lnTo>
                      <a:pt x="294" y="120"/>
                    </a:lnTo>
                    <a:lnTo>
                      <a:pt x="278" y="127"/>
                    </a:lnTo>
                    <a:lnTo>
                      <a:pt x="261" y="129"/>
                    </a:lnTo>
                    <a:lnTo>
                      <a:pt x="65" y="129"/>
                    </a:lnTo>
                    <a:lnTo>
                      <a:pt x="48" y="127"/>
                    </a:lnTo>
                    <a:lnTo>
                      <a:pt x="32" y="120"/>
                    </a:lnTo>
                    <a:lnTo>
                      <a:pt x="19" y="110"/>
                    </a:lnTo>
                    <a:lnTo>
                      <a:pt x="9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7"/>
                    </a:lnTo>
                    <a:lnTo>
                      <a:pt x="9" y="32"/>
                    </a:lnTo>
                    <a:lnTo>
                      <a:pt x="19" y="19"/>
                    </a:lnTo>
                    <a:lnTo>
                      <a:pt x="32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6" name="Freeform 35"/>
              <p:cNvSpPr>
                <a:spLocks/>
              </p:cNvSpPr>
              <p:nvPr/>
            </p:nvSpPr>
            <p:spPr bwMode="auto">
              <a:xfrm>
                <a:off x="6946900" y="1382713"/>
                <a:ext cx="34925" cy="25400"/>
              </a:xfrm>
              <a:custGeom>
                <a:avLst/>
                <a:gdLst>
                  <a:gd name="T0" fmla="*/ 234 w 299"/>
                  <a:gd name="T1" fmla="*/ 0 h 226"/>
                  <a:gd name="T2" fmla="*/ 251 w 299"/>
                  <a:gd name="T3" fmla="*/ 2 h 226"/>
                  <a:gd name="T4" fmla="*/ 266 w 299"/>
                  <a:gd name="T5" fmla="*/ 8 h 226"/>
                  <a:gd name="T6" fmla="*/ 280 w 299"/>
                  <a:gd name="T7" fmla="*/ 18 h 226"/>
                  <a:gd name="T8" fmla="*/ 290 w 299"/>
                  <a:gd name="T9" fmla="*/ 31 h 226"/>
                  <a:gd name="T10" fmla="*/ 297 w 299"/>
                  <a:gd name="T11" fmla="*/ 47 h 226"/>
                  <a:gd name="T12" fmla="*/ 299 w 299"/>
                  <a:gd name="T13" fmla="*/ 64 h 226"/>
                  <a:gd name="T14" fmla="*/ 297 w 299"/>
                  <a:gd name="T15" fmla="*/ 81 h 226"/>
                  <a:gd name="T16" fmla="*/ 290 w 299"/>
                  <a:gd name="T17" fmla="*/ 96 h 226"/>
                  <a:gd name="T18" fmla="*/ 281 w 299"/>
                  <a:gd name="T19" fmla="*/ 110 h 226"/>
                  <a:gd name="T20" fmla="*/ 267 w 299"/>
                  <a:gd name="T21" fmla="*/ 120 h 226"/>
                  <a:gd name="T22" fmla="*/ 98 w 299"/>
                  <a:gd name="T23" fmla="*/ 216 h 226"/>
                  <a:gd name="T24" fmla="*/ 82 w 299"/>
                  <a:gd name="T25" fmla="*/ 224 h 226"/>
                  <a:gd name="T26" fmla="*/ 65 w 299"/>
                  <a:gd name="T27" fmla="*/ 226 h 226"/>
                  <a:gd name="T28" fmla="*/ 49 w 299"/>
                  <a:gd name="T29" fmla="*/ 224 h 226"/>
                  <a:gd name="T30" fmla="*/ 33 w 299"/>
                  <a:gd name="T31" fmla="*/ 217 h 226"/>
                  <a:gd name="T32" fmla="*/ 19 w 299"/>
                  <a:gd name="T33" fmla="*/ 207 h 226"/>
                  <a:gd name="T34" fmla="*/ 8 w 299"/>
                  <a:gd name="T35" fmla="*/ 193 h 226"/>
                  <a:gd name="T36" fmla="*/ 2 w 299"/>
                  <a:gd name="T37" fmla="*/ 177 h 226"/>
                  <a:gd name="T38" fmla="*/ 0 w 299"/>
                  <a:gd name="T39" fmla="*/ 160 h 226"/>
                  <a:gd name="T40" fmla="*/ 2 w 299"/>
                  <a:gd name="T41" fmla="*/ 144 h 226"/>
                  <a:gd name="T42" fmla="*/ 8 w 299"/>
                  <a:gd name="T43" fmla="*/ 129 h 226"/>
                  <a:gd name="T44" fmla="*/ 19 w 299"/>
                  <a:gd name="T45" fmla="*/ 116 h 226"/>
                  <a:gd name="T46" fmla="*/ 32 w 299"/>
                  <a:gd name="T47" fmla="*/ 104 h 226"/>
                  <a:gd name="T48" fmla="*/ 201 w 299"/>
                  <a:gd name="T49" fmla="*/ 8 h 226"/>
                  <a:gd name="T50" fmla="*/ 218 w 299"/>
                  <a:gd name="T51" fmla="*/ 2 h 226"/>
                  <a:gd name="T52" fmla="*/ 234 w 299"/>
                  <a:gd name="T5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6">
                    <a:moveTo>
                      <a:pt x="234" y="0"/>
                    </a:moveTo>
                    <a:lnTo>
                      <a:pt x="251" y="2"/>
                    </a:lnTo>
                    <a:lnTo>
                      <a:pt x="266" y="8"/>
                    </a:lnTo>
                    <a:lnTo>
                      <a:pt x="280" y="18"/>
                    </a:lnTo>
                    <a:lnTo>
                      <a:pt x="290" y="31"/>
                    </a:lnTo>
                    <a:lnTo>
                      <a:pt x="297" y="47"/>
                    </a:lnTo>
                    <a:lnTo>
                      <a:pt x="299" y="64"/>
                    </a:lnTo>
                    <a:lnTo>
                      <a:pt x="297" y="81"/>
                    </a:lnTo>
                    <a:lnTo>
                      <a:pt x="290" y="96"/>
                    </a:lnTo>
                    <a:lnTo>
                      <a:pt x="281" y="110"/>
                    </a:lnTo>
                    <a:lnTo>
                      <a:pt x="267" y="120"/>
                    </a:lnTo>
                    <a:lnTo>
                      <a:pt x="98" y="216"/>
                    </a:lnTo>
                    <a:lnTo>
                      <a:pt x="82" y="224"/>
                    </a:lnTo>
                    <a:lnTo>
                      <a:pt x="65" y="226"/>
                    </a:lnTo>
                    <a:lnTo>
                      <a:pt x="49" y="224"/>
                    </a:lnTo>
                    <a:lnTo>
                      <a:pt x="33" y="217"/>
                    </a:lnTo>
                    <a:lnTo>
                      <a:pt x="19" y="207"/>
                    </a:lnTo>
                    <a:lnTo>
                      <a:pt x="8" y="193"/>
                    </a:lnTo>
                    <a:lnTo>
                      <a:pt x="2" y="177"/>
                    </a:lnTo>
                    <a:lnTo>
                      <a:pt x="0" y="160"/>
                    </a:lnTo>
                    <a:lnTo>
                      <a:pt x="2" y="144"/>
                    </a:lnTo>
                    <a:lnTo>
                      <a:pt x="8" y="129"/>
                    </a:lnTo>
                    <a:lnTo>
                      <a:pt x="19" y="116"/>
                    </a:lnTo>
                    <a:lnTo>
                      <a:pt x="32" y="104"/>
                    </a:lnTo>
                    <a:lnTo>
                      <a:pt x="201" y="8"/>
                    </a:lnTo>
                    <a:lnTo>
                      <a:pt x="218" y="2"/>
                    </a:lnTo>
                    <a:lnTo>
                      <a:pt x="2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7" name="Freeform 36"/>
              <p:cNvSpPr>
                <a:spLocks/>
              </p:cNvSpPr>
              <p:nvPr/>
            </p:nvSpPr>
            <p:spPr bwMode="auto">
              <a:xfrm>
                <a:off x="6894513" y="1320800"/>
                <a:ext cx="25400" cy="34925"/>
              </a:xfrm>
              <a:custGeom>
                <a:avLst/>
                <a:gdLst>
                  <a:gd name="T0" fmla="*/ 162 w 228"/>
                  <a:gd name="T1" fmla="*/ 0 h 297"/>
                  <a:gd name="T2" fmla="*/ 179 w 228"/>
                  <a:gd name="T3" fmla="*/ 2 h 297"/>
                  <a:gd name="T4" fmla="*/ 195 w 228"/>
                  <a:gd name="T5" fmla="*/ 10 h 297"/>
                  <a:gd name="T6" fmla="*/ 209 w 228"/>
                  <a:gd name="T7" fmla="*/ 20 h 297"/>
                  <a:gd name="T8" fmla="*/ 219 w 228"/>
                  <a:gd name="T9" fmla="*/ 33 h 297"/>
                  <a:gd name="T10" fmla="*/ 226 w 228"/>
                  <a:gd name="T11" fmla="*/ 49 h 297"/>
                  <a:gd name="T12" fmla="*/ 228 w 228"/>
                  <a:gd name="T13" fmla="*/ 65 h 297"/>
                  <a:gd name="T14" fmla="*/ 226 w 228"/>
                  <a:gd name="T15" fmla="*/ 82 h 297"/>
                  <a:gd name="T16" fmla="*/ 219 w 228"/>
                  <a:gd name="T17" fmla="*/ 97 h 297"/>
                  <a:gd name="T18" fmla="*/ 121 w 228"/>
                  <a:gd name="T19" fmla="*/ 265 h 297"/>
                  <a:gd name="T20" fmla="*/ 111 w 228"/>
                  <a:gd name="T21" fmla="*/ 279 h 297"/>
                  <a:gd name="T22" fmla="*/ 97 w 228"/>
                  <a:gd name="T23" fmla="*/ 290 h 297"/>
                  <a:gd name="T24" fmla="*/ 82 w 228"/>
                  <a:gd name="T25" fmla="*/ 295 h 297"/>
                  <a:gd name="T26" fmla="*/ 65 w 228"/>
                  <a:gd name="T27" fmla="*/ 297 h 297"/>
                  <a:gd name="T28" fmla="*/ 49 w 228"/>
                  <a:gd name="T29" fmla="*/ 295 h 297"/>
                  <a:gd name="T30" fmla="*/ 33 w 228"/>
                  <a:gd name="T31" fmla="*/ 289 h 297"/>
                  <a:gd name="T32" fmla="*/ 18 w 228"/>
                  <a:gd name="T33" fmla="*/ 278 h 297"/>
                  <a:gd name="T34" fmla="*/ 9 w 228"/>
                  <a:gd name="T35" fmla="*/ 265 h 297"/>
                  <a:gd name="T36" fmla="*/ 2 w 228"/>
                  <a:gd name="T37" fmla="*/ 250 h 297"/>
                  <a:gd name="T38" fmla="*/ 0 w 228"/>
                  <a:gd name="T39" fmla="*/ 234 h 297"/>
                  <a:gd name="T40" fmla="*/ 2 w 228"/>
                  <a:gd name="T41" fmla="*/ 217 h 297"/>
                  <a:gd name="T42" fmla="*/ 9 w 228"/>
                  <a:gd name="T43" fmla="*/ 201 h 297"/>
                  <a:gd name="T44" fmla="*/ 106 w 228"/>
                  <a:gd name="T45" fmla="*/ 33 h 297"/>
                  <a:gd name="T46" fmla="*/ 117 w 228"/>
                  <a:gd name="T47" fmla="*/ 19 h 297"/>
                  <a:gd name="T48" fmla="*/ 131 w 228"/>
                  <a:gd name="T49" fmla="*/ 9 h 297"/>
                  <a:gd name="T50" fmla="*/ 146 w 228"/>
                  <a:gd name="T51" fmla="*/ 2 h 297"/>
                  <a:gd name="T52" fmla="*/ 162 w 228"/>
                  <a:gd name="T53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8" h="297">
                    <a:moveTo>
                      <a:pt x="162" y="0"/>
                    </a:moveTo>
                    <a:lnTo>
                      <a:pt x="179" y="2"/>
                    </a:lnTo>
                    <a:lnTo>
                      <a:pt x="195" y="10"/>
                    </a:lnTo>
                    <a:lnTo>
                      <a:pt x="209" y="20"/>
                    </a:lnTo>
                    <a:lnTo>
                      <a:pt x="219" y="33"/>
                    </a:lnTo>
                    <a:lnTo>
                      <a:pt x="226" y="49"/>
                    </a:lnTo>
                    <a:lnTo>
                      <a:pt x="228" y="65"/>
                    </a:lnTo>
                    <a:lnTo>
                      <a:pt x="226" y="82"/>
                    </a:lnTo>
                    <a:lnTo>
                      <a:pt x="219" y="97"/>
                    </a:lnTo>
                    <a:lnTo>
                      <a:pt x="121" y="265"/>
                    </a:lnTo>
                    <a:lnTo>
                      <a:pt x="111" y="279"/>
                    </a:lnTo>
                    <a:lnTo>
                      <a:pt x="97" y="290"/>
                    </a:lnTo>
                    <a:lnTo>
                      <a:pt x="82" y="295"/>
                    </a:lnTo>
                    <a:lnTo>
                      <a:pt x="65" y="297"/>
                    </a:lnTo>
                    <a:lnTo>
                      <a:pt x="49" y="295"/>
                    </a:lnTo>
                    <a:lnTo>
                      <a:pt x="33" y="289"/>
                    </a:lnTo>
                    <a:lnTo>
                      <a:pt x="18" y="278"/>
                    </a:lnTo>
                    <a:lnTo>
                      <a:pt x="9" y="265"/>
                    </a:lnTo>
                    <a:lnTo>
                      <a:pt x="2" y="250"/>
                    </a:lnTo>
                    <a:lnTo>
                      <a:pt x="0" y="234"/>
                    </a:lnTo>
                    <a:lnTo>
                      <a:pt x="2" y="217"/>
                    </a:lnTo>
                    <a:lnTo>
                      <a:pt x="9" y="201"/>
                    </a:lnTo>
                    <a:lnTo>
                      <a:pt x="106" y="33"/>
                    </a:lnTo>
                    <a:lnTo>
                      <a:pt x="117" y="19"/>
                    </a:lnTo>
                    <a:lnTo>
                      <a:pt x="131" y="9"/>
                    </a:lnTo>
                    <a:lnTo>
                      <a:pt x="146" y="2"/>
                    </a:lnTo>
                    <a:lnTo>
                      <a:pt x="16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8" name="Freeform 37"/>
              <p:cNvSpPr>
                <a:spLocks/>
              </p:cNvSpPr>
              <p:nvPr/>
            </p:nvSpPr>
            <p:spPr bwMode="auto">
              <a:xfrm>
                <a:off x="6811963" y="1409700"/>
                <a:ext cx="34925" cy="114300"/>
              </a:xfrm>
              <a:custGeom>
                <a:avLst/>
                <a:gdLst>
                  <a:gd name="T0" fmla="*/ 157 w 313"/>
                  <a:gd name="T1" fmla="*/ 0 h 1007"/>
                  <a:gd name="T2" fmla="*/ 189 w 313"/>
                  <a:gd name="T3" fmla="*/ 2 h 1007"/>
                  <a:gd name="T4" fmla="*/ 216 w 313"/>
                  <a:gd name="T5" fmla="*/ 7 h 1007"/>
                  <a:gd name="T6" fmla="*/ 242 w 313"/>
                  <a:gd name="T7" fmla="*/ 17 h 1007"/>
                  <a:gd name="T8" fmla="*/ 263 w 313"/>
                  <a:gd name="T9" fmla="*/ 31 h 1007"/>
                  <a:gd name="T10" fmla="*/ 281 w 313"/>
                  <a:gd name="T11" fmla="*/ 48 h 1007"/>
                  <a:gd name="T12" fmla="*/ 295 w 313"/>
                  <a:gd name="T13" fmla="*/ 68 h 1007"/>
                  <a:gd name="T14" fmla="*/ 306 w 313"/>
                  <a:gd name="T15" fmla="*/ 92 h 1007"/>
                  <a:gd name="T16" fmla="*/ 311 w 313"/>
                  <a:gd name="T17" fmla="*/ 120 h 1007"/>
                  <a:gd name="T18" fmla="*/ 313 w 313"/>
                  <a:gd name="T19" fmla="*/ 152 h 1007"/>
                  <a:gd name="T20" fmla="*/ 313 w 313"/>
                  <a:gd name="T21" fmla="*/ 380 h 1007"/>
                  <a:gd name="T22" fmla="*/ 312 w 313"/>
                  <a:gd name="T23" fmla="*/ 411 h 1007"/>
                  <a:gd name="T24" fmla="*/ 309 w 313"/>
                  <a:gd name="T25" fmla="*/ 442 h 1007"/>
                  <a:gd name="T26" fmla="*/ 306 w 313"/>
                  <a:gd name="T27" fmla="*/ 473 h 1007"/>
                  <a:gd name="T28" fmla="*/ 244 w 313"/>
                  <a:gd name="T29" fmla="*/ 934 h 1007"/>
                  <a:gd name="T30" fmla="*/ 240 w 313"/>
                  <a:gd name="T31" fmla="*/ 956 h 1007"/>
                  <a:gd name="T32" fmla="*/ 232 w 313"/>
                  <a:gd name="T33" fmla="*/ 974 h 1007"/>
                  <a:gd name="T34" fmla="*/ 223 w 313"/>
                  <a:gd name="T35" fmla="*/ 987 h 1007"/>
                  <a:gd name="T36" fmla="*/ 210 w 313"/>
                  <a:gd name="T37" fmla="*/ 996 h 1007"/>
                  <a:gd name="T38" fmla="*/ 195 w 313"/>
                  <a:gd name="T39" fmla="*/ 1002 h 1007"/>
                  <a:gd name="T40" fmla="*/ 177 w 313"/>
                  <a:gd name="T41" fmla="*/ 1006 h 1007"/>
                  <a:gd name="T42" fmla="*/ 157 w 313"/>
                  <a:gd name="T43" fmla="*/ 1007 h 1007"/>
                  <a:gd name="T44" fmla="*/ 137 w 313"/>
                  <a:gd name="T45" fmla="*/ 1006 h 1007"/>
                  <a:gd name="T46" fmla="*/ 118 w 313"/>
                  <a:gd name="T47" fmla="*/ 1002 h 1007"/>
                  <a:gd name="T48" fmla="*/ 104 w 313"/>
                  <a:gd name="T49" fmla="*/ 996 h 1007"/>
                  <a:gd name="T50" fmla="*/ 91 w 313"/>
                  <a:gd name="T51" fmla="*/ 987 h 1007"/>
                  <a:gd name="T52" fmla="*/ 81 w 313"/>
                  <a:gd name="T53" fmla="*/ 974 h 1007"/>
                  <a:gd name="T54" fmla="*/ 74 w 313"/>
                  <a:gd name="T55" fmla="*/ 956 h 1007"/>
                  <a:gd name="T56" fmla="*/ 70 w 313"/>
                  <a:gd name="T57" fmla="*/ 934 h 1007"/>
                  <a:gd name="T58" fmla="*/ 8 w 313"/>
                  <a:gd name="T59" fmla="*/ 473 h 1007"/>
                  <a:gd name="T60" fmla="*/ 5 w 313"/>
                  <a:gd name="T61" fmla="*/ 442 h 1007"/>
                  <a:gd name="T62" fmla="*/ 1 w 313"/>
                  <a:gd name="T63" fmla="*/ 411 h 1007"/>
                  <a:gd name="T64" fmla="*/ 0 w 313"/>
                  <a:gd name="T65" fmla="*/ 380 h 1007"/>
                  <a:gd name="T66" fmla="*/ 0 w 313"/>
                  <a:gd name="T67" fmla="*/ 152 h 1007"/>
                  <a:gd name="T68" fmla="*/ 3 w 313"/>
                  <a:gd name="T69" fmla="*/ 120 h 1007"/>
                  <a:gd name="T70" fmla="*/ 8 w 313"/>
                  <a:gd name="T71" fmla="*/ 92 h 1007"/>
                  <a:gd name="T72" fmla="*/ 18 w 313"/>
                  <a:gd name="T73" fmla="*/ 68 h 1007"/>
                  <a:gd name="T74" fmla="*/ 32 w 313"/>
                  <a:gd name="T75" fmla="*/ 48 h 1007"/>
                  <a:gd name="T76" fmla="*/ 50 w 313"/>
                  <a:gd name="T77" fmla="*/ 31 h 1007"/>
                  <a:gd name="T78" fmla="*/ 72 w 313"/>
                  <a:gd name="T79" fmla="*/ 17 h 1007"/>
                  <a:gd name="T80" fmla="*/ 97 w 313"/>
                  <a:gd name="T81" fmla="*/ 7 h 1007"/>
                  <a:gd name="T82" fmla="*/ 125 w 313"/>
                  <a:gd name="T83" fmla="*/ 2 h 1007"/>
                  <a:gd name="T84" fmla="*/ 157 w 313"/>
                  <a:gd name="T85" fmla="*/ 0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3" h="1007">
                    <a:moveTo>
                      <a:pt x="157" y="0"/>
                    </a:moveTo>
                    <a:lnTo>
                      <a:pt x="189" y="2"/>
                    </a:lnTo>
                    <a:lnTo>
                      <a:pt x="216" y="7"/>
                    </a:lnTo>
                    <a:lnTo>
                      <a:pt x="242" y="17"/>
                    </a:lnTo>
                    <a:lnTo>
                      <a:pt x="263" y="31"/>
                    </a:lnTo>
                    <a:lnTo>
                      <a:pt x="281" y="48"/>
                    </a:lnTo>
                    <a:lnTo>
                      <a:pt x="295" y="68"/>
                    </a:lnTo>
                    <a:lnTo>
                      <a:pt x="306" y="92"/>
                    </a:lnTo>
                    <a:lnTo>
                      <a:pt x="311" y="120"/>
                    </a:lnTo>
                    <a:lnTo>
                      <a:pt x="313" y="152"/>
                    </a:lnTo>
                    <a:lnTo>
                      <a:pt x="313" y="380"/>
                    </a:lnTo>
                    <a:lnTo>
                      <a:pt x="312" y="411"/>
                    </a:lnTo>
                    <a:lnTo>
                      <a:pt x="309" y="442"/>
                    </a:lnTo>
                    <a:lnTo>
                      <a:pt x="306" y="473"/>
                    </a:lnTo>
                    <a:lnTo>
                      <a:pt x="244" y="934"/>
                    </a:lnTo>
                    <a:lnTo>
                      <a:pt x="240" y="956"/>
                    </a:lnTo>
                    <a:lnTo>
                      <a:pt x="232" y="974"/>
                    </a:lnTo>
                    <a:lnTo>
                      <a:pt x="223" y="987"/>
                    </a:lnTo>
                    <a:lnTo>
                      <a:pt x="210" y="996"/>
                    </a:lnTo>
                    <a:lnTo>
                      <a:pt x="195" y="1002"/>
                    </a:lnTo>
                    <a:lnTo>
                      <a:pt x="177" y="1006"/>
                    </a:lnTo>
                    <a:lnTo>
                      <a:pt x="157" y="1007"/>
                    </a:lnTo>
                    <a:lnTo>
                      <a:pt x="137" y="1006"/>
                    </a:lnTo>
                    <a:lnTo>
                      <a:pt x="118" y="1002"/>
                    </a:lnTo>
                    <a:lnTo>
                      <a:pt x="104" y="996"/>
                    </a:lnTo>
                    <a:lnTo>
                      <a:pt x="91" y="987"/>
                    </a:lnTo>
                    <a:lnTo>
                      <a:pt x="81" y="974"/>
                    </a:lnTo>
                    <a:lnTo>
                      <a:pt x="74" y="956"/>
                    </a:lnTo>
                    <a:lnTo>
                      <a:pt x="70" y="934"/>
                    </a:lnTo>
                    <a:lnTo>
                      <a:pt x="8" y="473"/>
                    </a:lnTo>
                    <a:lnTo>
                      <a:pt x="5" y="442"/>
                    </a:lnTo>
                    <a:lnTo>
                      <a:pt x="1" y="411"/>
                    </a:lnTo>
                    <a:lnTo>
                      <a:pt x="0" y="380"/>
                    </a:lnTo>
                    <a:lnTo>
                      <a:pt x="0" y="152"/>
                    </a:lnTo>
                    <a:lnTo>
                      <a:pt x="3" y="120"/>
                    </a:lnTo>
                    <a:lnTo>
                      <a:pt x="8" y="92"/>
                    </a:lnTo>
                    <a:lnTo>
                      <a:pt x="18" y="68"/>
                    </a:lnTo>
                    <a:lnTo>
                      <a:pt x="32" y="48"/>
                    </a:lnTo>
                    <a:lnTo>
                      <a:pt x="50" y="31"/>
                    </a:lnTo>
                    <a:lnTo>
                      <a:pt x="72" y="17"/>
                    </a:lnTo>
                    <a:lnTo>
                      <a:pt x="97" y="7"/>
                    </a:lnTo>
                    <a:lnTo>
                      <a:pt x="125" y="2"/>
                    </a:lnTo>
                    <a:lnTo>
                      <a:pt x="1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9" name="Freeform 38"/>
              <p:cNvSpPr>
                <a:spLocks/>
              </p:cNvSpPr>
              <p:nvPr/>
            </p:nvSpPr>
            <p:spPr bwMode="auto">
              <a:xfrm>
                <a:off x="6811963" y="1538288"/>
                <a:ext cx="36512" cy="36513"/>
              </a:xfrm>
              <a:custGeom>
                <a:avLst/>
                <a:gdLst>
                  <a:gd name="T0" fmla="*/ 163 w 326"/>
                  <a:gd name="T1" fmla="*/ 0 h 323"/>
                  <a:gd name="T2" fmla="*/ 196 w 326"/>
                  <a:gd name="T3" fmla="*/ 4 h 323"/>
                  <a:gd name="T4" fmla="*/ 226 w 326"/>
                  <a:gd name="T5" fmla="*/ 13 h 323"/>
                  <a:gd name="T6" fmla="*/ 253 w 326"/>
                  <a:gd name="T7" fmla="*/ 28 h 323"/>
                  <a:gd name="T8" fmla="*/ 278 w 326"/>
                  <a:gd name="T9" fmla="*/ 47 h 323"/>
                  <a:gd name="T10" fmla="*/ 298 w 326"/>
                  <a:gd name="T11" fmla="*/ 71 h 323"/>
                  <a:gd name="T12" fmla="*/ 313 w 326"/>
                  <a:gd name="T13" fmla="*/ 99 h 323"/>
                  <a:gd name="T14" fmla="*/ 322 w 326"/>
                  <a:gd name="T15" fmla="*/ 129 h 323"/>
                  <a:gd name="T16" fmla="*/ 326 w 326"/>
                  <a:gd name="T17" fmla="*/ 161 h 323"/>
                  <a:gd name="T18" fmla="*/ 322 w 326"/>
                  <a:gd name="T19" fmla="*/ 194 h 323"/>
                  <a:gd name="T20" fmla="*/ 313 w 326"/>
                  <a:gd name="T21" fmla="*/ 225 h 323"/>
                  <a:gd name="T22" fmla="*/ 298 w 326"/>
                  <a:gd name="T23" fmla="*/ 252 h 323"/>
                  <a:gd name="T24" fmla="*/ 278 w 326"/>
                  <a:gd name="T25" fmla="*/ 275 h 323"/>
                  <a:gd name="T26" fmla="*/ 253 w 326"/>
                  <a:gd name="T27" fmla="*/ 295 h 323"/>
                  <a:gd name="T28" fmla="*/ 226 w 326"/>
                  <a:gd name="T29" fmla="*/ 310 h 323"/>
                  <a:gd name="T30" fmla="*/ 196 w 326"/>
                  <a:gd name="T31" fmla="*/ 320 h 323"/>
                  <a:gd name="T32" fmla="*/ 163 w 326"/>
                  <a:gd name="T33" fmla="*/ 323 h 323"/>
                  <a:gd name="T34" fmla="*/ 130 w 326"/>
                  <a:gd name="T35" fmla="*/ 320 h 323"/>
                  <a:gd name="T36" fmla="*/ 100 w 326"/>
                  <a:gd name="T37" fmla="*/ 310 h 323"/>
                  <a:gd name="T38" fmla="*/ 72 w 326"/>
                  <a:gd name="T39" fmla="*/ 295 h 323"/>
                  <a:gd name="T40" fmla="*/ 48 w 326"/>
                  <a:gd name="T41" fmla="*/ 275 h 323"/>
                  <a:gd name="T42" fmla="*/ 28 w 326"/>
                  <a:gd name="T43" fmla="*/ 252 h 323"/>
                  <a:gd name="T44" fmla="*/ 13 w 326"/>
                  <a:gd name="T45" fmla="*/ 225 h 323"/>
                  <a:gd name="T46" fmla="*/ 3 w 326"/>
                  <a:gd name="T47" fmla="*/ 194 h 323"/>
                  <a:gd name="T48" fmla="*/ 0 w 326"/>
                  <a:gd name="T49" fmla="*/ 161 h 323"/>
                  <a:gd name="T50" fmla="*/ 3 w 326"/>
                  <a:gd name="T51" fmla="*/ 129 h 323"/>
                  <a:gd name="T52" fmla="*/ 13 w 326"/>
                  <a:gd name="T53" fmla="*/ 99 h 323"/>
                  <a:gd name="T54" fmla="*/ 28 w 326"/>
                  <a:gd name="T55" fmla="*/ 71 h 323"/>
                  <a:gd name="T56" fmla="*/ 48 w 326"/>
                  <a:gd name="T57" fmla="*/ 47 h 323"/>
                  <a:gd name="T58" fmla="*/ 72 w 326"/>
                  <a:gd name="T59" fmla="*/ 28 h 323"/>
                  <a:gd name="T60" fmla="*/ 100 w 326"/>
                  <a:gd name="T61" fmla="*/ 13 h 323"/>
                  <a:gd name="T62" fmla="*/ 130 w 326"/>
                  <a:gd name="T63" fmla="*/ 4 h 323"/>
                  <a:gd name="T64" fmla="*/ 163 w 326"/>
                  <a:gd name="T65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6" h="323">
                    <a:moveTo>
                      <a:pt x="163" y="0"/>
                    </a:moveTo>
                    <a:lnTo>
                      <a:pt x="196" y="4"/>
                    </a:lnTo>
                    <a:lnTo>
                      <a:pt x="226" y="13"/>
                    </a:lnTo>
                    <a:lnTo>
                      <a:pt x="253" y="28"/>
                    </a:lnTo>
                    <a:lnTo>
                      <a:pt x="278" y="47"/>
                    </a:lnTo>
                    <a:lnTo>
                      <a:pt x="298" y="71"/>
                    </a:lnTo>
                    <a:lnTo>
                      <a:pt x="313" y="99"/>
                    </a:lnTo>
                    <a:lnTo>
                      <a:pt x="322" y="129"/>
                    </a:lnTo>
                    <a:lnTo>
                      <a:pt x="326" y="161"/>
                    </a:lnTo>
                    <a:lnTo>
                      <a:pt x="322" y="194"/>
                    </a:lnTo>
                    <a:lnTo>
                      <a:pt x="313" y="225"/>
                    </a:lnTo>
                    <a:lnTo>
                      <a:pt x="298" y="252"/>
                    </a:lnTo>
                    <a:lnTo>
                      <a:pt x="278" y="275"/>
                    </a:lnTo>
                    <a:lnTo>
                      <a:pt x="253" y="295"/>
                    </a:lnTo>
                    <a:lnTo>
                      <a:pt x="226" y="310"/>
                    </a:lnTo>
                    <a:lnTo>
                      <a:pt x="196" y="320"/>
                    </a:lnTo>
                    <a:lnTo>
                      <a:pt x="163" y="323"/>
                    </a:lnTo>
                    <a:lnTo>
                      <a:pt x="130" y="320"/>
                    </a:lnTo>
                    <a:lnTo>
                      <a:pt x="100" y="310"/>
                    </a:lnTo>
                    <a:lnTo>
                      <a:pt x="72" y="295"/>
                    </a:lnTo>
                    <a:lnTo>
                      <a:pt x="48" y="275"/>
                    </a:lnTo>
                    <a:lnTo>
                      <a:pt x="28" y="252"/>
                    </a:lnTo>
                    <a:lnTo>
                      <a:pt x="13" y="225"/>
                    </a:lnTo>
                    <a:lnTo>
                      <a:pt x="3" y="194"/>
                    </a:lnTo>
                    <a:lnTo>
                      <a:pt x="0" y="161"/>
                    </a:lnTo>
                    <a:lnTo>
                      <a:pt x="3" y="129"/>
                    </a:lnTo>
                    <a:lnTo>
                      <a:pt x="13" y="99"/>
                    </a:lnTo>
                    <a:lnTo>
                      <a:pt x="28" y="71"/>
                    </a:lnTo>
                    <a:lnTo>
                      <a:pt x="48" y="47"/>
                    </a:lnTo>
                    <a:lnTo>
                      <a:pt x="72" y="28"/>
                    </a:lnTo>
                    <a:lnTo>
                      <a:pt x="100" y="13"/>
                    </a:lnTo>
                    <a:lnTo>
                      <a:pt x="130" y="4"/>
                    </a:lnTo>
                    <a:lnTo>
                      <a:pt x="16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50" name="Group 149"/>
          <p:cNvGrpSpPr/>
          <p:nvPr userDrawn="1"/>
        </p:nvGrpSpPr>
        <p:grpSpPr>
          <a:xfrm>
            <a:off x="1265860" y="1690826"/>
            <a:ext cx="2131341" cy="1766873"/>
            <a:chOff x="6513131" y="3727862"/>
            <a:chExt cx="1166245" cy="1166245"/>
          </a:xfrm>
        </p:grpSpPr>
        <p:sp>
          <p:nvSpPr>
            <p:cNvPr id="151" name="Oval 150"/>
            <p:cNvSpPr/>
            <p:nvPr/>
          </p:nvSpPr>
          <p:spPr>
            <a:xfrm>
              <a:off x="6513131" y="3727862"/>
              <a:ext cx="1166245" cy="1166245"/>
            </a:xfrm>
            <a:prstGeom prst="ellipse">
              <a:avLst/>
            </a:prstGeom>
            <a:gradFill>
              <a:gsLst>
                <a:gs pos="81000">
                  <a:srgbClr val="0F608D"/>
                </a:gs>
                <a:gs pos="0">
                  <a:srgbClr val="0F608D">
                    <a:lumMod val="60000"/>
                    <a:lumOff val="40000"/>
                  </a:srgbClr>
                </a:gs>
                <a:gs pos="100000">
                  <a:srgbClr val="0F608D">
                    <a:lumMod val="50000"/>
                  </a:srgbClr>
                </a:gs>
              </a:gsLst>
              <a:path path="circl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625275">
                <a:defRPr/>
              </a:pPr>
              <a:endParaRPr lang="en-US" sz="1867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2" name="Group 151"/>
            <p:cNvGrpSpPr/>
            <p:nvPr/>
          </p:nvGrpSpPr>
          <p:grpSpPr>
            <a:xfrm>
              <a:off x="6806054" y="4057571"/>
              <a:ext cx="580401" cy="506829"/>
              <a:chOff x="9005888" y="1238250"/>
              <a:chExt cx="1465263" cy="1279526"/>
            </a:xfrm>
            <a:solidFill>
              <a:sysClr val="window" lastClr="FFFFFF"/>
            </a:solidFill>
          </p:grpSpPr>
          <p:sp>
            <p:nvSpPr>
              <p:cNvPr id="153" name="Freeform 53"/>
              <p:cNvSpPr>
                <a:spLocks/>
              </p:cNvSpPr>
              <p:nvPr/>
            </p:nvSpPr>
            <p:spPr bwMode="auto">
              <a:xfrm>
                <a:off x="9983788" y="1420813"/>
                <a:ext cx="201613" cy="411163"/>
              </a:xfrm>
              <a:custGeom>
                <a:avLst/>
                <a:gdLst>
                  <a:gd name="T0" fmla="*/ 291 w 506"/>
                  <a:gd name="T1" fmla="*/ 3 h 1034"/>
                  <a:gd name="T2" fmla="*/ 316 w 506"/>
                  <a:gd name="T3" fmla="*/ 40 h 1034"/>
                  <a:gd name="T4" fmla="*/ 318 w 506"/>
                  <a:gd name="T5" fmla="*/ 118 h 1034"/>
                  <a:gd name="T6" fmla="*/ 321 w 506"/>
                  <a:gd name="T7" fmla="*/ 122 h 1034"/>
                  <a:gd name="T8" fmla="*/ 335 w 506"/>
                  <a:gd name="T9" fmla="*/ 124 h 1034"/>
                  <a:gd name="T10" fmla="*/ 383 w 506"/>
                  <a:gd name="T11" fmla="*/ 134 h 1034"/>
                  <a:gd name="T12" fmla="*/ 440 w 506"/>
                  <a:gd name="T13" fmla="*/ 150 h 1034"/>
                  <a:gd name="T14" fmla="*/ 473 w 506"/>
                  <a:gd name="T15" fmla="*/ 172 h 1034"/>
                  <a:gd name="T16" fmla="*/ 454 w 506"/>
                  <a:gd name="T17" fmla="*/ 248 h 1034"/>
                  <a:gd name="T18" fmla="*/ 429 w 506"/>
                  <a:gd name="T19" fmla="*/ 272 h 1034"/>
                  <a:gd name="T20" fmla="*/ 399 w 506"/>
                  <a:gd name="T21" fmla="*/ 268 h 1034"/>
                  <a:gd name="T22" fmla="*/ 376 w 506"/>
                  <a:gd name="T23" fmla="*/ 258 h 1034"/>
                  <a:gd name="T24" fmla="*/ 320 w 506"/>
                  <a:gd name="T25" fmla="*/ 244 h 1034"/>
                  <a:gd name="T26" fmla="*/ 243 w 506"/>
                  <a:gd name="T27" fmla="*/ 240 h 1034"/>
                  <a:gd name="T28" fmla="*/ 188 w 506"/>
                  <a:gd name="T29" fmla="*/ 261 h 1034"/>
                  <a:gd name="T30" fmla="*/ 162 w 506"/>
                  <a:gd name="T31" fmla="*/ 296 h 1034"/>
                  <a:gd name="T32" fmla="*/ 159 w 506"/>
                  <a:gd name="T33" fmla="*/ 338 h 1034"/>
                  <a:gd name="T34" fmla="*/ 180 w 506"/>
                  <a:gd name="T35" fmla="*/ 378 h 1034"/>
                  <a:gd name="T36" fmla="*/ 237 w 506"/>
                  <a:gd name="T37" fmla="*/ 415 h 1034"/>
                  <a:gd name="T38" fmla="*/ 345 w 506"/>
                  <a:gd name="T39" fmla="*/ 462 h 1034"/>
                  <a:gd name="T40" fmla="*/ 446 w 506"/>
                  <a:gd name="T41" fmla="*/ 529 h 1034"/>
                  <a:gd name="T42" fmla="*/ 497 w 506"/>
                  <a:gd name="T43" fmla="*/ 614 h 1034"/>
                  <a:gd name="T44" fmla="*/ 504 w 506"/>
                  <a:gd name="T45" fmla="*/ 718 h 1034"/>
                  <a:gd name="T46" fmla="*/ 466 w 506"/>
                  <a:gd name="T47" fmla="*/ 811 h 1034"/>
                  <a:gd name="T48" fmla="*/ 388 w 506"/>
                  <a:gd name="T49" fmla="*/ 878 h 1034"/>
                  <a:gd name="T50" fmla="*/ 315 w 506"/>
                  <a:gd name="T51" fmla="*/ 904 h 1034"/>
                  <a:gd name="T52" fmla="*/ 310 w 506"/>
                  <a:gd name="T53" fmla="*/ 907 h 1034"/>
                  <a:gd name="T54" fmla="*/ 309 w 506"/>
                  <a:gd name="T55" fmla="*/ 994 h 1034"/>
                  <a:gd name="T56" fmla="*/ 283 w 506"/>
                  <a:gd name="T57" fmla="*/ 1032 h 1034"/>
                  <a:gd name="T58" fmla="*/ 214 w 506"/>
                  <a:gd name="T59" fmla="*/ 1032 h 1034"/>
                  <a:gd name="T60" fmla="*/ 188 w 506"/>
                  <a:gd name="T61" fmla="*/ 994 h 1034"/>
                  <a:gd name="T62" fmla="*/ 187 w 506"/>
                  <a:gd name="T63" fmla="*/ 911 h 1034"/>
                  <a:gd name="T64" fmla="*/ 181 w 506"/>
                  <a:gd name="T65" fmla="*/ 908 h 1034"/>
                  <a:gd name="T66" fmla="*/ 165 w 506"/>
                  <a:gd name="T67" fmla="*/ 906 h 1034"/>
                  <a:gd name="T68" fmla="*/ 106 w 506"/>
                  <a:gd name="T69" fmla="*/ 893 h 1034"/>
                  <a:gd name="T70" fmla="*/ 38 w 506"/>
                  <a:gd name="T71" fmla="*/ 872 h 1034"/>
                  <a:gd name="T72" fmla="*/ 2 w 506"/>
                  <a:gd name="T73" fmla="*/ 846 h 1034"/>
                  <a:gd name="T74" fmla="*/ 21 w 506"/>
                  <a:gd name="T75" fmla="*/ 769 h 1034"/>
                  <a:gd name="T76" fmla="*/ 46 w 506"/>
                  <a:gd name="T77" fmla="*/ 746 h 1034"/>
                  <a:gd name="T78" fmla="*/ 69 w 506"/>
                  <a:gd name="T79" fmla="*/ 746 h 1034"/>
                  <a:gd name="T80" fmla="*/ 85 w 506"/>
                  <a:gd name="T81" fmla="*/ 753 h 1034"/>
                  <a:gd name="T82" fmla="*/ 128 w 506"/>
                  <a:gd name="T83" fmla="*/ 768 h 1034"/>
                  <a:gd name="T84" fmla="*/ 187 w 506"/>
                  <a:gd name="T85" fmla="*/ 785 h 1034"/>
                  <a:gd name="T86" fmla="*/ 259 w 506"/>
                  <a:gd name="T87" fmla="*/ 787 h 1034"/>
                  <a:gd name="T88" fmla="*/ 329 w 506"/>
                  <a:gd name="T89" fmla="*/ 754 h 1034"/>
                  <a:gd name="T90" fmla="*/ 356 w 506"/>
                  <a:gd name="T91" fmla="*/ 691 h 1034"/>
                  <a:gd name="T92" fmla="*/ 334 w 506"/>
                  <a:gd name="T93" fmla="*/ 631 h 1034"/>
                  <a:gd name="T94" fmla="*/ 263 w 506"/>
                  <a:gd name="T95" fmla="*/ 581 h 1034"/>
                  <a:gd name="T96" fmla="*/ 167 w 506"/>
                  <a:gd name="T97" fmla="*/ 540 h 1034"/>
                  <a:gd name="T98" fmla="*/ 86 w 506"/>
                  <a:gd name="T99" fmla="*/ 493 h 1034"/>
                  <a:gd name="T100" fmla="*/ 29 w 506"/>
                  <a:gd name="T101" fmla="*/ 427 h 1034"/>
                  <a:gd name="T102" fmla="*/ 8 w 506"/>
                  <a:gd name="T103" fmla="*/ 338 h 1034"/>
                  <a:gd name="T104" fmla="*/ 30 w 506"/>
                  <a:gd name="T105" fmla="*/ 244 h 1034"/>
                  <a:gd name="T106" fmla="*/ 92 w 506"/>
                  <a:gd name="T107" fmla="*/ 171 h 1034"/>
                  <a:gd name="T108" fmla="*/ 188 w 506"/>
                  <a:gd name="T109" fmla="*/ 127 h 1034"/>
                  <a:gd name="T110" fmla="*/ 194 w 506"/>
                  <a:gd name="T111" fmla="*/ 125 h 1034"/>
                  <a:gd name="T112" fmla="*/ 197 w 506"/>
                  <a:gd name="T113" fmla="*/ 118 h 1034"/>
                  <a:gd name="T114" fmla="*/ 209 w 506"/>
                  <a:gd name="T115" fmla="*/ 11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06" h="1034">
                    <a:moveTo>
                      <a:pt x="239" y="0"/>
                    </a:moveTo>
                    <a:lnTo>
                      <a:pt x="274" y="0"/>
                    </a:lnTo>
                    <a:lnTo>
                      <a:pt x="291" y="3"/>
                    </a:lnTo>
                    <a:lnTo>
                      <a:pt x="305" y="11"/>
                    </a:lnTo>
                    <a:lnTo>
                      <a:pt x="314" y="24"/>
                    </a:lnTo>
                    <a:lnTo>
                      <a:pt x="316" y="40"/>
                    </a:lnTo>
                    <a:lnTo>
                      <a:pt x="317" y="114"/>
                    </a:lnTo>
                    <a:lnTo>
                      <a:pt x="317" y="117"/>
                    </a:lnTo>
                    <a:lnTo>
                      <a:pt x="318" y="118"/>
                    </a:lnTo>
                    <a:lnTo>
                      <a:pt x="319" y="119"/>
                    </a:lnTo>
                    <a:lnTo>
                      <a:pt x="320" y="121"/>
                    </a:lnTo>
                    <a:lnTo>
                      <a:pt x="321" y="122"/>
                    </a:lnTo>
                    <a:lnTo>
                      <a:pt x="323" y="122"/>
                    </a:lnTo>
                    <a:lnTo>
                      <a:pt x="326" y="122"/>
                    </a:lnTo>
                    <a:lnTo>
                      <a:pt x="335" y="124"/>
                    </a:lnTo>
                    <a:lnTo>
                      <a:pt x="348" y="126"/>
                    </a:lnTo>
                    <a:lnTo>
                      <a:pt x="364" y="129"/>
                    </a:lnTo>
                    <a:lnTo>
                      <a:pt x="383" y="134"/>
                    </a:lnTo>
                    <a:lnTo>
                      <a:pt x="402" y="138"/>
                    </a:lnTo>
                    <a:lnTo>
                      <a:pt x="422" y="144"/>
                    </a:lnTo>
                    <a:lnTo>
                      <a:pt x="440" y="150"/>
                    </a:lnTo>
                    <a:lnTo>
                      <a:pt x="457" y="156"/>
                    </a:lnTo>
                    <a:lnTo>
                      <a:pt x="466" y="162"/>
                    </a:lnTo>
                    <a:lnTo>
                      <a:pt x="473" y="172"/>
                    </a:lnTo>
                    <a:lnTo>
                      <a:pt x="476" y="183"/>
                    </a:lnTo>
                    <a:lnTo>
                      <a:pt x="474" y="197"/>
                    </a:lnTo>
                    <a:lnTo>
                      <a:pt x="454" y="248"/>
                    </a:lnTo>
                    <a:lnTo>
                      <a:pt x="448" y="258"/>
                    </a:lnTo>
                    <a:lnTo>
                      <a:pt x="439" y="266"/>
                    </a:lnTo>
                    <a:lnTo>
                      <a:pt x="429" y="272"/>
                    </a:lnTo>
                    <a:lnTo>
                      <a:pt x="418" y="273"/>
                    </a:lnTo>
                    <a:lnTo>
                      <a:pt x="408" y="272"/>
                    </a:lnTo>
                    <a:lnTo>
                      <a:pt x="399" y="268"/>
                    </a:lnTo>
                    <a:lnTo>
                      <a:pt x="396" y="267"/>
                    </a:lnTo>
                    <a:lnTo>
                      <a:pt x="389" y="264"/>
                    </a:lnTo>
                    <a:lnTo>
                      <a:pt x="376" y="258"/>
                    </a:lnTo>
                    <a:lnTo>
                      <a:pt x="361" y="254"/>
                    </a:lnTo>
                    <a:lnTo>
                      <a:pt x="342" y="248"/>
                    </a:lnTo>
                    <a:lnTo>
                      <a:pt x="320" y="244"/>
                    </a:lnTo>
                    <a:lnTo>
                      <a:pt x="296" y="240"/>
                    </a:lnTo>
                    <a:lnTo>
                      <a:pt x="269" y="239"/>
                    </a:lnTo>
                    <a:lnTo>
                      <a:pt x="243" y="240"/>
                    </a:lnTo>
                    <a:lnTo>
                      <a:pt x="222" y="245"/>
                    </a:lnTo>
                    <a:lnTo>
                      <a:pt x="204" y="253"/>
                    </a:lnTo>
                    <a:lnTo>
                      <a:pt x="188" y="261"/>
                    </a:lnTo>
                    <a:lnTo>
                      <a:pt x="177" y="272"/>
                    </a:lnTo>
                    <a:lnTo>
                      <a:pt x="168" y="284"/>
                    </a:lnTo>
                    <a:lnTo>
                      <a:pt x="162" y="296"/>
                    </a:lnTo>
                    <a:lnTo>
                      <a:pt x="158" y="310"/>
                    </a:lnTo>
                    <a:lnTo>
                      <a:pt x="157" y="323"/>
                    </a:lnTo>
                    <a:lnTo>
                      <a:pt x="159" y="338"/>
                    </a:lnTo>
                    <a:lnTo>
                      <a:pt x="162" y="352"/>
                    </a:lnTo>
                    <a:lnTo>
                      <a:pt x="169" y="365"/>
                    </a:lnTo>
                    <a:lnTo>
                      <a:pt x="180" y="378"/>
                    </a:lnTo>
                    <a:lnTo>
                      <a:pt x="195" y="390"/>
                    </a:lnTo>
                    <a:lnTo>
                      <a:pt x="214" y="402"/>
                    </a:lnTo>
                    <a:lnTo>
                      <a:pt x="237" y="415"/>
                    </a:lnTo>
                    <a:lnTo>
                      <a:pt x="265" y="428"/>
                    </a:lnTo>
                    <a:lnTo>
                      <a:pt x="300" y="442"/>
                    </a:lnTo>
                    <a:lnTo>
                      <a:pt x="345" y="462"/>
                    </a:lnTo>
                    <a:lnTo>
                      <a:pt x="384" y="483"/>
                    </a:lnTo>
                    <a:lnTo>
                      <a:pt x="418" y="505"/>
                    </a:lnTo>
                    <a:lnTo>
                      <a:pt x="446" y="529"/>
                    </a:lnTo>
                    <a:lnTo>
                      <a:pt x="468" y="556"/>
                    </a:lnTo>
                    <a:lnTo>
                      <a:pt x="485" y="584"/>
                    </a:lnTo>
                    <a:lnTo>
                      <a:pt x="497" y="614"/>
                    </a:lnTo>
                    <a:lnTo>
                      <a:pt x="504" y="646"/>
                    </a:lnTo>
                    <a:lnTo>
                      <a:pt x="506" y="682"/>
                    </a:lnTo>
                    <a:lnTo>
                      <a:pt x="504" y="718"/>
                    </a:lnTo>
                    <a:lnTo>
                      <a:pt x="496" y="751"/>
                    </a:lnTo>
                    <a:lnTo>
                      <a:pt x="484" y="782"/>
                    </a:lnTo>
                    <a:lnTo>
                      <a:pt x="466" y="811"/>
                    </a:lnTo>
                    <a:lnTo>
                      <a:pt x="444" y="836"/>
                    </a:lnTo>
                    <a:lnTo>
                      <a:pt x="418" y="859"/>
                    </a:lnTo>
                    <a:lnTo>
                      <a:pt x="388" y="878"/>
                    </a:lnTo>
                    <a:lnTo>
                      <a:pt x="353" y="892"/>
                    </a:lnTo>
                    <a:lnTo>
                      <a:pt x="316" y="904"/>
                    </a:lnTo>
                    <a:lnTo>
                      <a:pt x="315" y="904"/>
                    </a:lnTo>
                    <a:lnTo>
                      <a:pt x="314" y="905"/>
                    </a:lnTo>
                    <a:lnTo>
                      <a:pt x="311" y="906"/>
                    </a:lnTo>
                    <a:lnTo>
                      <a:pt x="310" y="907"/>
                    </a:lnTo>
                    <a:lnTo>
                      <a:pt x="309" y="909"/>
                    </a:lnTo>
                    <a:lnTo>
                      <a:pt x="309" y="912"/>
                    </a:lnTo>
                    <a:lnTo>
                      <a:pt x="309" y="994"/>
                    </a:lnTo>
                    <a:lnTo>
                      <a:pt x="306" y="1010"/>
                    </a:lnTo>
                    <a:lnTo>
                      <a:pt x="297" y="1023"/>
                    </a:lnTo>
                    <a:lnTo>
                      <a:pt x="283" y="1032"/>
                    </a:lnTo>
                    <a:lnTo>
                      <a:pt x="268" y="1034"/>
                    </a:lnTo>
                    <a:lnTo>
                      <a:pt x="230" y="1034"/>
                    </a:lnTo>
                    <a:lnTo>
                      <a:pt x="214" y="1032"/>
                    </a:lnTo>
                    <a:lnTo>
                      <a:pt x="200" y="1023"/>
                    </a:lnTo>
                    <a:lnTo>
                      <a:pt x="192" y="1010"/>
                    </a:lnTo>
                    <a:lnTo>
                      <a:pt x="188" y="994"/>
                    </a:lnTo>
                    <a:lnTo>
                      <a:pt x="188" y="917"/>
                    </a:lnTo>
                    <a:lnTo>
                      <a:pt x="188" y="914"/>
                    </a:lnTo>
                    <a:lnTo>
                      <a:pt x="187" y="911"/>
                    </a:lnTo>
                    <a:lnTo>
                      <a:pt x="185" y="910"/>
                    </a:lnTo>
                    <a:lnTo>
                      <a:pt x="184" y="909"/>
                    </a:lnTo>
                    <a:lnTo>
                      <a:pt x="181" y="908"/>
                    </a:lnTo>
                    <a:lnTo>
                      <a:pt x="180" y="908"/>
                    </a:lnTo>
                    <a:lnTo>
                      <a:pt x="176" y="908"/>
                    </a:lnTo>
                    <a:lnTo>
                      <a:pt x="165" y="906"/>
                    </a:lnTo>
                    <a:lnTo>
                      <a:pt x="149" y="902"/>
                    </a:lnTo>
                    <a:lnTo>
                      <a:pt x="129" y="898"/>
                    </a:lnTo>
                    <a:lnTo>
                      <a:pt x="106" y="893"/>
                    </a:lnTo>
                    <a:lnTo>
                      <a:pt x="84" y="887"/>
                    </a:lnTo>
                    <a:lnTo>
                      <a:pt x="60" y="880"/>
                    </a:lnTo>
                    <a:lnTo>
                      <a:pt x="38" y="872"/>
                    </a:lnTo>
                    <a:lnTo>
                      <a:pt x="19" y="863"/>
                    </a:lnTo>
                    <a:lnTo>
                      <a:pt x="10" y="857"/>
                    </a:lnTo>
                    <a:lnTo>
                      <a:pt x="2" y="846"/>
                    </a:lnTo>
                    <a:lnTo>
                      <a:pt x="0" y="835"/>
                    </a:lnTo>
                    <a:lnTo>
                      <a:pt x="2" y="822"/>
                    </a:lnTo>
                    <a:lnTo>
                      <a:pt x="21" y="769"/>
                    </a:lnTo>
                    <a:lnTo>
                      <a:pt x="27" y="759"/>
                    </a:lnTo>
                    <a:lnTo>
                      <a:pt x="36" y="751"/>
                    </a:lnTo>
                    <a:lnTo>
                      <a:pt x="46" y="746"/>
                    </a:lnTo>
                    <a:lnTo>
                      <a:pt x="58" y="744"/>
                    </a:lnTo>
                    <a:lnTo>
                      <a:pt x="64" y="745"/>
                    </a:lnTo>
                    <a:lnTo>
                      <a:pt x="69" y="746"/>
                    </a:lnTo>
                    <a:lnTo>
                      <a:pt x="75" y="748"/>
                    </a:lnTo>
                    <a:lnTo>
                      <a:pt x="78" y="749"/>
                    </a:lnTo>
                    <a:lnTo>
                      <a:pt x="85" y="753"/>
                    </a:lnTo>
                    <a:lnTo>
                      <a:pt x="96" y="757"/>
                    </a:lnTo>
                    <a:lnTo>
                      <a:pt x="111" y="763"/>
                    </a:lnTo>
                    <a:lnTo>
                      <a:pt x="128" y="768"/>
                    </a:lnTo>
                    <a:lnTo>
                      <a:pt x="147" y="775"/>
                    </a:lnTo>
                    <a:lnTo>
                      <a:pt x="167" y="780"/>
                    </a:lnTo>
                    <a:lnTo>
                      <a:pt x="187" y="785"/>
                    </a:lnTo>
                    <a:lnTo>
                      <a:pt x="208" y="788"/>
                    </a:lnTo>
                    <a:lnTo>
                      <a:pt x="227" y="789"/>
                    </a:lnTo>
                    <a:lnTo>
                      <a:pt x="259" y="787"/>
                    </a:lnTo>
                    <a:lnTo>
                      <a:pt x="287" y="779"/>
                    </a:lnTo>
                    <a:lnTo>
                      <a:pt x="310" y="768"/>
                    </a:lnTo>
                    <a:lnTo>
                      <a:pt x="329" y="754"/>
                    </a:lnTo>
                    <a:lnTo>
                      <a:pt x="344" y="736"/>
                    </a:lnTo>
                    <a:lnTo>
                      <a:pt x="353" y="714"/>
                    </a:lnTo>
                    <a:lnTo>
                      <a:pt x="356" y="691"/>
                    </a:lnTo>
                    <a:lnTo>
                      <a:pt x="354" y="669"/>
                    </a:lnTo>
                    <a:lnTo>
                      <a:pt x="346" y="650"/>
                    </a:lnTo>
                    <a:lnTo>
                      <a:pt x="334" y="631"/>
                    </a:lnTo>
                    <a:lnTo>
                      <a:pt x="317" y="614"/>
                    </a:lnTo>
                    <a:lnTo>
                      <a:pt x="293" y="597"/>
                    </a:lnTo>
                    <a:lnTo>
                      <a:pt x="263" y="581"/>
                    </a:lnTo>
                    <a:lnTo>
                      <a:pt x="227" y="566"/>
                    </a:lnTo>
                    <a:lnTo>
                      <a:pt x="197" y="553"/>
                    </a:lnTo>
                    <a:lnTo>
                      <a:pt x="167" y="540"/>
                    </a:lnTo>
                    <a:lnTo>
                      <a:pt x="138" y="525"/>
                    </a:lnTo>
                    <a:lnTo>
                      <a:pt x="111" y="510"/>
                    </a:lnTo>
                    <a:lnTo>
                      <a:pt x="86" y="493"/>
                    </a:lnTo>
                    <a:lnTo>
                      <a:pt x="64" y="473"/>
                    </a:lnTo>
                    <a:lnTo>
                      <a:pt x="45" y="452"/>
                    </a:lnTo>
                    <a:lnTo>
                      <a:pt x="29" y="427"/>
                    </a:lnTo>
                    <a:lnTo>
                      <a:pt x="18" y="400"/>
                    </a:lnTo>
                    <a:lnTo>
                      <a:pt x="10" y="370"/>
                    </a:lnTo>
                    <a:lnTo>
                      <a:pt x="8" y="338"/>
                    </a:lnTo>
                    <a:lnTo>
                      <a:pt x="10" y="304"/>
                    </a:lnTo>
                    <a:lnTo>
                      <a:pt x="18" y="273"/>
                    </a:lnTo>
                    <a:lnTo>
                      <a:pt x="30" y="244"/>
                    </a:lnTo>
                    <a:lnTo>
                      <a:pt x="47" y="217"/>
                    </a:lnTo>
                    <a:lnTo>
                      <a:pt x="67" y="192"/>
                    </a:lnTo>
                    <a:lnTo>
                      <a:pt x="92" y="171"/>
                    </a:lnTo>
                    <a:lnTo>
                      <a:pt x="121" y="153"/>
                    </a:lnTo>
                    <a:lnTo>
                      <a:pt x="152" y="138"/>
                    </a:lnTo>
                    <a:lnTo>
                      <a:pt x="188" y="127"/>
                    </a:lnTo>
                    <a:lnTo>
                      <a:pt x="189" y="127"/>
                    </a:lnTo>
                    <a:lnTo>
                      <a:pt x="192" y="126"/>
                    </a:lnTo>
                    <a:lnTo>
                      <a:pt x="194" y="125"/>
                    </a:lnTo>
                    <a:lnTo>
                      <a:pt x="195" y="123"/>
                    </a:lnTo>
                    <a:lnTo>
                      <a:pt x="197" y="121"/>
                    </a:lnTo>
                    <a:lnTo>
                      <a:pt x="197" y="118"/>
                    </a:lnTo>
                    <a:lnTo>
                      <a:pt x="197" y="40"/>
                    </a:lnTo>
                    <a:lnTo>
                      <a:pt x="200" y="24"/>
                    </a:lnTo>
                    <a:lnTo>
                      <a:pt x="209" y="11"/>
                    </a:lnTo>
                    <a:lnTo>
                      <a:pt x="223" y="3"/>
                    </a:lnTo>
                    <a:lnTo>
                      <a:pt x="23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4" name="Freeform 54"/>
              <p:cNvSpPr>
                <a:spLocks noEditPoints="1"/>
              </p:cNvSpPr>
              <p:nvPr/>
            </p:nvSpPr>
            <p:spPr bwMode="auto">
              <a:xfrm>
                <a:off x="9696451" y="1238250"/>
                <a:ext cx="774700" cy="774700"/>
              </a:xfrm>
              <a:custGeom>
                <a:avLst/>
                <a:gdLst>
                  <a:gd name="T0" fmla="*/ 835 w 1954"/>
                  <a:gd name="T1" fmla="*/ 241 h 1952"/>
                  <a:gd name="T2" fmla="*/ 639 w 1954"/>
                  <a:gd name="T3" fmla="*/ 308 h 1952"/>
                  <a:gd name="T4" fmla="*/ 471 w 1954"/>
                  <a:gd name="T5" fmla="*/ 423 h 1952"/>
                  <a:gd name="T6" fmla="*/ 341 w 1954"/>
                  <a:gd name="T7" fmla="*/ 578 h 1952"/>
                  <a:gd name="T8" fmla="*/ 257 w 1954"/>
                  <a:gd name="T9" fmla="*/ 765 h 1952"/>
                  <a:gd name="T10" fmla="*/ 227 w 1954"/>
                  <a:gd name="T11" fmla="*/ 977 h 1952"/>
                  <a:gd name="T12" fmla="*/ 257 w 1954"/>
                  <a:gd name="T13" fmla="*/ 1187 h 1952"/>
                  <a:gd name="T14" fmla="*/ 341 w 1954"/>
                  <a:gd name="T15" fmla="*/ 1374 h 1952"/>
                  <a:gd name="T16" fmla="*/ 471 w 1954"/>
                  <a:gd name="T17" fmla="*/ 1529 h 1952"/>
                  <a:gd name="T18" fmla="*/ 639 w 1954"/>
                  <a:gd name="T19" fmla="*/ 1646 h 1952"/>
                  <a:gd name="T20" fmla="*/ 835 w 1954"/>
                  <a:gd name="T21" fmla="*/ 1712 h 1952"/>
                  <a:gd name="T22" fmla="*/ 1050 w 1954"/>
                  <a:gd name="T23" fmla="*/ 1722 h 1952"/>
                  <a:gd name="T24" fmla="*/ 1254 w 1954"/>
                  <a:gd name="T25" fmla="*/ 1673 h 1952"/>
                  <a:gd name="T26" fmla="*/ 1431 w 1954"/>
                  <a:gd name="T27" fmla="*/ 1573 h 1952"/>
                  <a:gd name="T28" fmla="*/ 1574 w 1954"/>
                  <a:gd name="T29" fmla="*/ 1430 h 1952"/>
                  <a:gd name="T30" fmla="*/ 1675 w 1954"/>
                  <a:gd name="T31" fmla="*/ 1252 h 1952"/>
                  <a:gd name="T32" fmla="*/ 1724 w 1954"/>
                  <a:gd name="T33" fmla="*/ 1048 h 1952"/>
                  <a:gd name="T34" fmla="*/ 1714 w 1954"/>
                  <a:gd name="T35" fmla="*/ 833 h 1952"/>
                  <a:gd name="T36" fmla="*/ 1647 w 1954"/>
                  <a:gd name="T37" fmla="*/ 638 h 1952"/>
                  <a:gd name="T38" fmla="*/ 1532 w 1954"/>
                  <a:gd name="T39" fmla="*/ 471 h 1952"/>
                  <a:gd name="T40" fmla="*/ 1376 w 1954"/>
                  <a:gd name="T41" fmla="*/ 341 h 1952"/>
                  <a:gd name="T42" fmla="*/ 1188 w 1954"/>
                  <a:gd name="T43" fmla="*/ 256 h 1952"/>
                  <a:gd name="T44" fmla="*/ 977 w 1954"/>
                  <a:gd name="T45" fmla="*/ 227 h 1952"/>
                  <a:gd name="T46" fmla="*/ 1135 w 1954"/>
                  <a:gd name="T47" fmla="*/ 14 h 1952"/>
                  <a:gd name="T48" fmla="*/ 1357 w 1954"/>
                  <a:gd name="T49" fmla="*/ 77 h 1952"/>
                  <a:gd name="T50" fmla="*/ 1554 w 1954"/>
                  <a:gd name="T51" fmla="*/ 189 h 1952"/>
                  <a:gd name="T52" fmla="*/ 1719 w 1954"/>
                  <a:gd name="T53" fmla="*/ 341 h 1952"/>
                  <a:gd name="T54" fmla="*/ 1845 w 1954"/>
                  <a:gd name="T55" fmla="*/ 528 h 1952"/>
                  <a:gd name="T56" fmla="*/ 1926 w 1954"/>
                  <a:gd name="T57" fmla="*/ 742 h 1952"/>
                  <a:gd name="T58" fmla="*/ 1954 w 1954"/>
                  <a:gd name="T59" fmla="*/ 977 h 1952"/>
                  <a:gd name="T60" fmla="*/ 1926 w 1954"/>
                  <a:gd name="T61" fmla="*/ 1210 h 1952"/>
                  <a:gd name="T62" fmla="*/ 1845 w 1954"/>
                  <a:gd name="T63" fmla="*/ 1424 h 1952"/>
                  <a:gd name="T64" fmla="*/ 1719 w 1954"/>
                  <a:gd name="T65" fmla="*/ 1611 h 1952"/>
                  <a:gd name="T66" fmla="*/ 1554 w 1954"/>
                  <a:gd name="T67" fmla="*/ 1763 h 1952"/>
                  <a:gd name="T68" fmla="*/ 1357 w 1954"/>
                  <a:gd name="T69" fmla="*/ 1875 h 1952"/>
                  <a:gd name="T70" fmla="*/ 1135 w 1954"/>
                  <a:gd name="T71" fmla="*/ 1939 h 1952"/>
                  <a:gd name="T72" fmla="*/ 896 w 1954"/>
                  <a:gd name="T73" fmla="*/ 1949 h 1952"/>
                  <a:gd name="T74" fmla="*/ 668 w 1954"/>
                  <a:gd name="T75" fmla="*/ 1902 h 1952"/>
                  <a:gd name="T76" fmla="*/ 463 w 1954"/>
                  <a:gd name="T77" fmla="*/ 1805 h 1952"/>
                  <a:gd name="T78" fmla="*/ 286 w 1954"/>
                  <a:gd name="T79" fmla="*/ 1666 h 1952"/>
                  <a:gd name="T80" fmla="*/ 147 w 1954"/>
                  <a:gd name="T81" fmla="*/ 1490 h 1952"/>
                  <a:gd name="T82" fmla="*/ 50 w 1954"/>
                  <a:gd name="T83" fmla="*/ 1284 h 1952"/>
                  <a:gd name="T84" fmla="*/ 4 w 1954"/>
                  <a:gd name="T85" fmla="*/ 1056 h 1952"/>
                  <a:gd name="T86" fmla="*/ 13 w 1954"/>
                  <a:gd name="T87" fmla="*/ 818 h 1952"/>
                  <a:gd name="T88" fmla="*/ 77 w 1954"/>
                  <a:gd name="T89" fmla="*/ 596 h 1952"/>
                  <a:gd name="T90" fmla="*/ 189 w 1954"/>
                  <a:gd name="T91" fmla="*/ 399 h 1952"/>
                  <a:gd name="T92" fmla="*/ 341 w 1954"/>
                  <a:gd name="T93" fmla="*/ 235 h 1952"/>
                  <a:gd name="T94" fmla="*/ 528 w 1954"/>
                  <a:gd name="T95" fmla="*/ 110 h 1952"/>
                  <a:gd name="T96" fmla="*/ 742 w 1954"/>
                  <a:gd name="T97" fmla="*/ 29 h 1952"/>
                  <a:gd name="T98" fmla="*/ 977 w 1954"/>
                  <a:gd name="T99" fmla="*/ 0 h 1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54" h="1952">
                    <a:moveTo>
                      <a:pt x="977" y="227"/>
                    </a:moveTo>
                    <a:lnTo>
                      <a:pt x="904" y="231"/>
                    </a:lnTo>
                    <a:lnTo>
                      <a:pt x="835" y="241"/>
                    </a:lnTo>
                    <a:lnTo>
                      <a:pt x="767" y="256"/>
                    </a:lnTo>
                    <a:lnTo>
                      <a:pt x="700" y="279"/>
                    </a:lnTo>
                    <a:lnTo>
                      <a:pt x="639" y="308"/>
                    </a:lnTo>
                    <a:lnTo>
                      <a:pt x="578" y="341"/>
                    </a:lnTo>
                    <a:lnTo>
                      <a:pt x="524" y="379"/>
                    </a:lnTo>
                    <a:lnTo>
                      <a:pt x="471" y="423"/>
                    </a:lnTo>
                    <a:lnTo>
                      <a:pt x="423" y="471"/>
                    </a:lnTo>
                    <a:lnTo>
                      <a:pt x="380" y="522"/>
                    </a:lnTo>
                    <a:lnTo>
                      <a:pt x="341" y="578"/>
                    </a:lnTo>
                    <a:lnTo>
                      <a:pt x="307" y="638"/>
                    </a:lnTo>
                    <a:lnTo>
                      <a:pt x="279" y="700"/>
                    </a:lnTo>
                    <a:lnTo>
                      <a:pt x="257" y="765"/>
                    </a:lnTo>
                    <a:lnTo>
                      <a:pt x="240" y="833"/>
                    </a:lnTo>
                    <a:lnTo>
                      <a:pt x="230" y="904"/>
                    </a:lnTo>
                    <a:lnTo>
                      <a:pt x="227" y="977"/>
                    </a:lnTo>
                    <a:lnTo>
                      <a:pt x="230" y="1048"/>
                    </a:lnTo>
                    <a:lnTo>
                      <a:pt x="240" y="1119"/>
                    </a:lnTo>
                    <a:lnTo>
                      <a:pt x="257" y="1187"/>
                    </a:lnTo>
                    <a:lnTo>
                      <a:pt x="279" y="1252"/>
                    </a:lnTo>
                    <a:lnTo>
                      <a:pt x="307" y="1314"/>
                    </a:lnTo>
                    <a:lnTo>
                      <a:pt x="341" y="1374"/>
                    </a:lnTo>
                    <a:lnTo>
                      <a:pt x="380" y="1430"/>
                    </a:lnTo>
                    <a:lnTo>
                      <a:pt x="423" y="1481"/>
                    </a:lnTo>
                    <a:lnTo>
                      <a:pt x="471" y="1529"/>
                    </a:lnTo>
                    <a:lnTo>
                      <a:pt x="524" y="1573"/>
                    </a:lnTo>
                    <a:lnTo>
                      <a:pt x="578" y="1612"/>
                    </a:lnTo>
                    <a:lnTo>
                      <a:pt x="639" y="1646"/>
                    </a:lnTo>
                    <a:lnTo>
                      <a:pt x="700" y="1673"/>
                    </a:lnTo>
                    <a:lnTo>
                      <a:pt x="767" y="1696"/>
                    </a:lnTo>
                    <a:lnTo>
                      <a:pt x="835" y="1712"/>
                    </a:lnTo>
                    <a:lnTo>
                      <a:pt x="904" y="1722"/>
                    </a:lnTo>
                    <a:lnTo>
                      <a:pt x="977" y="1726"/>
                    </a:lnTo>
                    <a:lnTo>
                      <a:pt x="1050" y="1722"/>
                    </a:lnTo>
                    <a:lnTo>
                      <a:pt x="1119" y="1712"/>
                    </a:lnTo>
                    <a:lnTo>
                      <a:pt x="1188" y="1696"/>
                    </a:lnTo>
                    <a:lnTo>
                      <a:pt x="1254" y="1673"/>
                    </a:lnTo>
                    <a:lnTo>
                      <a:pt x="1315" y="1646"/>
                    </a:lnTo>
                    <a:lnTo>
                      <a:pt x="1376" y="1612"/>
                    </a:lnTo>
                    <a:lnTo>
                      <a:pt x="1431" y="1573"/>
                    </a:lnTo>
                    <a:lnTo>
                      <a:pt x="1483" y="1529"/>
                    </a:lnTo>
                    <a:lnTo>
                      <a:pt x="1532" y="1481"/>
                    </a:lnTo>
                    <a:lnTo>
                      <a:pt x="1574" y="1430"/>
                    </a:lnTo>
                    <a:lnTo>
                      <a:pt x="1613" y="1374"/>
                    </a:lnTo>
                    <a:lnTo>
                      <a:pt x="1647" y="1314"/>
                    </a:lnTo>
                    <a:lnTo>
                      <a:pt x="1675" y="1252"/>
                    </a:lnTo>
                    <a:lnTo>
                      <a:pt x="1697" y="1187"/>
                    </a:lnTo>
                    <a:lnTo>
                      <a:pt x="1714" y="1119"/>
                    </a:lnTo>
                    <a:lnTo>
                      <a:pt x="1724" y="1048"/>
                    </a:lnTo>
                    <a:lnTo>
                      <a:pt x="1728" y="977"/>
                    </a:lnTo>
                    <a:lnTo>
                      <a:pt x="1724" y="904"/>
                    </a:lnTo>
                    <a:lnTo>
                      <a:pt x="1714" y="833"/>
                    </a:lnTo>
                    <a:lnTo>
                      <a:pt x="1697" y="765"/>
                    </a:lnTo>
                    <a:lnTo>
                      <a:pt x="1675" y="700"/>
                    </a:lnTo>
                    <a:lnTo>
                      <a:pt x="1647" y="638"/>
                    </a:lnTo>
                    <a:lnTo>
                      <a:pt x="1613" y="578"/>
                    </a:lnTo>
                    <a:lnTo>
                      <a:pt x="1574" y="522"/>
                    </a:lnTo>
                    <a:lnTo>
                      <a:pt x="1532" y="471"/>
                    </a:lnTo>
                    <a:lnTo>
                      <a:pt x="1483" y="423"/>
                    </a:lnTo>
                    <a:lnTo>
                      <a:pt x="1431" y="379"/>
                    </a:lnTo>
                    <a:lnTo>
                      <a:pt x="1376" y="341"/>
                    </a:lnTo>
                    <a:lnTo>
                      <a:pt x="1315" y="308"/>
                    </a:lnTo>
                    <a:lnTo>
                      <a:pt x="1254" y="279"/>
                    </a:lnTo>
                    <a:lnTo>
                      <a:pt x="1188" y="256"/>
                    </a:lnTo>
                    <a:lnTo>
                      <a:pt x="1119" y="241"/>
                    </a:lnTo>
                    <a:lnTo>
                      <a:pt x="1050" y="231"/>
                    </a:lnTo>
                    <a:lnTo>
                      <a:pt x="977" y="227"/>
                    </a:lnTo>
                    <a:close/>
                    <a:moveTo>
                      <a:pt x="977" y="0"/>
                    </a:moveTo>
                    <a:lnTo>
                      <a:pt x="1058" y="3"/>
                    </a:lnTo>
                    <a:lnTo>
                      <a:pt x="1135" y="14"/>
                    </a:lnTo>
                    <a:lnTo>
                      <a:pt x="1212" y="29"/>
                    </a:lnTo>
                    <a:lnTo>
                      <a:pt x="1286" y="50"/>
                    </a:lnTo>
                    <a:lnTo>
                      <a:pt x="1357" y="77"/>
                    </a:lnTo>
                    <a:lnTo>
                      <a:pt x="1426" y="110"/>
                    </a:lnTo>
                    <a:lnTo>
                      <a:pt x="1491" y="147"/>
                    </a:lnTo>
                    <a:lnTo>
                      <a:pt x="1554" y="189"/>
                    </a:lnTo>
                    <a:lnTo>
                      <a:pt x="1613" y="235"/>
                    </a:lnTo>
                    <a:lnTo>
                      <a:pt x="1668" y="286"/>
                    </a:lnTo>
                    <a:lnTo>
                      <a:pt x="1719" y="341"/>
                    </a:lnTo>
                    <a:lnTo>
                      <a:pt x="1766" y="399"/>
                    </a:lnTo>
                    <a:lnTo>
                      <a:pt x="1807" y="462"/>
                    </a:lnTo>
                    <a:lnTo>
                      <a:pt x="1845" y="528"/>
                    </a:lnTo>
                    <a:lnTo>
                      <a:pt x="1878" y="596"/>
                    </a:lnTo>
                    <a:lnTo>
                      <a:pt x="1904" y="668"/>
                    </a:lnTo>
                    <a:lnTo>
                      <a:pt x="1926" y="742"/>
                    </a:lnTo>
                    <a:lnTo>
                      <a:pt x="1941" y="818"/>
                    </a:lnTo>
                    <a:lnTo>
                      <a:pt x="1950" y="896"/>
                    </a:lnTo>
                    <a:lnTo>
                      <a:pt x="1954" y="977"/>
                    </a:lnTo>
                    <a:lnTo>
                      <a:pt x="1950" y="1056"/>
                    </a:lnTo>
                    <a:lnTo>
                      <a:pt x="1941" y="1134"/>
                    </a:lnTo>
                    <a:lnTo>
                      <a:pt x="1926" y="1210"/>
                    </a:lnTo>
                    <a:lnTo>
                      <a:pt x="1904" y="1284"/>
                    </a:lnTo>
                    <a:lnTo>
                      <a:pt x="1878" y="1356"/>
                    </a:lnTo>
                    <a:lnTo>
                      <a:pt x="1845" y="1424"/>
                    </a:lnTo>
                    <a:lnTo>
                      <a:pt x="1807" y="1490"/>
                    </a:lnTo>
                    <a:lnTo>
                      <a:pt x="1766" y="1553"/>
                    </a:lnTo>
                    <a:lnTo>
                      <a:pt x="1719" y="1611"/>
                    </a:lnTo>
                    <a:lnTo>
                      <a:pt x="1668" y="1666"/>
                    </a:lnTo>
                    <a:lnTo>
                      <a:pt x="1613" y="1717"/>
                    </a:lnTo>
                    <a:lnTo>
                      <a:pt x="1554" y="1763"/>
                    </a:lnTo>
                    <a:lnTo>
                      <a:pt x="1491" y="1805"/>
                    </a:lnTo>
                    <a:lnTo>
                      <a:pt x="1426" y="1842"/>
                    </a:lnTo>
                    <a:lnTo>
                      <a:pt x="1357" y="1875"/>
                    </a:lnTo>
                    <a:lnTo>
                      <a:pt x="1286" y="1902"/>
                    </a:lnTo>
                    <a:lnTo>
                      <a:pt x="1212" y="1923"/>
                    </a:lnTo>
                    <a:lnTo>
                      <a:pt x="1135" y="1939"/>
                    </a:lnTo>
                    <a:lnTo>
                      <a:pt x="1058" y="1949"/>
                    </a:lnTo>
                    <a:lnTo>
                      <a:pt x="977" y="1952"/>
                    </a:lnTo>
                    <a:lnTo>
                      <a:pt x="896" y="1949"/>
                    </a:lnTo>
                    <a:lnTo>
                      <a:pt x="819" y="1939"/>
                    </a:lnTo>
                    <a:lnTo>
                      <a:pt x="742" y="1923"/>
                    </a:lnTo>
                    <a:lnTo>
                      <a:pt x="668" y="1902"/>
                    </a:lnTo>
                    <a:lnTo>
                      <a:pt x="597" y="1875"/>
                    </a:lnTo>
                    <a:lnTo>
                      <a:pt x="528" y="1842"/>
                    </a:lnTo>
                    <a:lnTo>
                      <a:pt x="463" y="1805"/>
                    </a:lnTo>
                    <a:lnTo>
                      <a:pt x="400" y="1763"/>
                    </a:lnTo>
                    <a:lnTo>
                      <a:pt x="341" y="1717"/>
                    </a:lnTo>
                    <a:lnTo>
                      <a:pt x="286" y="1666"/>
                    </a:lnTo>
                    <a:lnTo>
                      <a:pt x="236" y="1611"/>
                    </a:lnTo>
                    <a:lnTo>
                      <a:pt x="189" y="1553"/>
                    </a:lnTo>
                    <a:lnTo>
                      <a:pt x="147" y="1490"/>
                    </a:lnTo>
                    <a:lnTo>
                      <a:pt x="109" y="1424"/>
                    </a:lnTo>
                    <a:lnTo>
                      <a:pt x="77" y="1356"/>
                    </a:lnTo>
                    <a:lnTo>
                      <a:pt x="50" y="1284"/>
                    </a:lnTo>
                    <a:lnTo>
                      <a:pt x="28" y="1210"/>
                    </a:lnTo>
                    <a:lnTo>
                      <a:pt x="13" y="1134"/>
                    </a:lnTo>
                    <a:lnTo>
                      <a:pt x="4" y="1056"/>
                    </a:lnTo>
                    <a:lnTo>
                      <a:pt x="0" y="977"/>
                    </a:lnTo>
                    <a:lnTo>
                      <a:pt x="4" y="896"/>
                    </a:lnTo>
                    <a:lnTo>
                      <a:pt x="13" y="818"/>
                    </a:lnTo>
                    <a:lnTo>
                      <a:pt x="28" y="742"/>
                    </a:lnTo>
                    <a:lnTo>
                      <a:pt x="50" y="668"/>
                    </a:lnTo>
                    <a:lnTo>
                      <a:pt x="77" y="596"/>
                    </a:lnTo>
                    <a:lnTo>
                      <a:pt x="109" y="528"/>
                    </a:lnTo>
                    <a:lnTo>
                      <a:pt x="147" y="462"/>
                    </a:lnTo>
                    <a:lnTo>
                      <a:pt x="189" y="399"/>
                    </a:lnTo>
                    <a:lnTo>
                      <a:pt x="236" y="341"/>
                    </a:lnTo>
                    <a:lnTo>
                      <a:pt x="286" y="286"/>
                    </a:lnTo>
                    <a:lnTo>
                      <a:pt x="341" y="235"/>
                    </a:lnTo>
                    <a:lnTo>
                      <a:pt x="400" y="189"/>
                    </a:lnTo>
                    <a:lnTo>
                      <a:pt x="463" y="147"/>
                    </a:lnTo>
                    <a:lnTo>
                      <a:pt x="528" y="110"/>
                    </a:lnTo>
                    <a:lnTo>
                      <a:pt x="597" y="77"/>
                    </a:lnTo>
                    <a:lnTo>
                      <a:pt x="668" y="50"/>
                    </a:lnTo>
                    <a:lnTo>
                      <a:pt x="742" y="29"/>
                    </a:lnTo>
                    <a:lnTo>
                      <a:pt x="819" y="14"/>
                    </a:lnTo>
                    <a:lnTo>
                      <a:pt x="896" y="3"/>
                    </a:lnTo>
                    <a:lnTo>
                      <a:pt x="97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5" name="Freeform 55"/>
              <p:cNvSpPr>
                <a:spLocks/>
              </p:cNvSpPr>
              <p:nvPr/>
            </p:nvSpPr>
            <p:spPr bwMode="auto">
              <a:xfrm>
                <a:off x="9409113" y="2049463"/>
                <a:ext cx="1062038" cy="468313"/>
              </a:xfrm>
              <a:custGeom>
                <a:avLst/>
                <a:gdLst>
                  <a:gd name="T0" fmla="*/ 846 w 2677"/>
                  <a:gd name="T1" fmla="*/ 14 h 1177"/>
                  <a:gd name="T2" fmla="*/ 1051 w 2677"/>
                  <a:gd name="T3" fmla="*/ 60 h 1177"/>
                  <a:gd name="T4" fmla="*/ 1272 w 2677"/>
                  <a:gd name="T5" fmla="*/ 122 h 1177"/>
                  <a:gd name="T6" fmla="*/ 1477 w 2677"/>
                  <a:gd name="T7" fmla="*/ 187 h 1177"/>
                  <a:gd name="T8" fmla="*/ 1635 w 2677"/>
                  <a:gd name="T9" fmla="*/ 237 h 1177"/>
                  <a:gd name="T10" fmla="*/ 1722 w 2677"/>
                  <a:gd name="T11" fmla="*/ 263 h 1177"/>
                  <a:gd name="T12" fmla="*/ 1776 w 2677"/>
                  <a:gd name="T13" fmla="*/ 316 h 1177"/>
                  <a:gd name="T14" fmla="*/ 1783 w 2677"/>
                  <a:gd name="T15" fmla="*/ 395 h 1177"/>
                  <a:gd name="T16" fmla="*/ 1730 w 2677"/>
                  <a:gd name="T17" fmla="*/ 473 h 1177"/>
                  <a:gd name="T18" fmla="*/ 1606 w 2677"/>
                  <a:gd name="T19" fmla="*/ 521 h 1177"/>
                  <a:gd name="T20" fmla="*/ 1442 w 2677"/>
                  <a:gd name="T21" fmla="*/ 530 h 1177"/>
                  <a:gd name="T22" fmla="*/ 1273 w 2677"/>
                  <a:gd name="T23" fmla="*/ 513 h 1177"/>
                  <a:gd name="T24" fmla="*/ 1122 w 2677"/>
                  <a:gd name="T25" fmla="*/ 488 h 1177"/>
                  <a:gd name="T26" fmla="*/ 1013 w 2677"/>
                  <a:gd name="T27" fmla="*/ 469 h 1177"/>
                  <a:gd name="T28" fmla="*/ 972 w 2677"/>
                  <a:gd name="T29" fmla="*/ 475 h 1177"/>
                  <a:gd name="T30" fmla="*/ 1029 w 2677"/>
                  <a:gd name="T31" fmla="*/ 543 h 1177"/>
                  <a:gd name="T32" fmla="*/ 1173 w 2677"/>
                  <a:gd name="T33" fmla="*/ 601 h 1177"/>
                  <a:gd name="T34" fmla="*/ 1366 w 2677"/>
                  <a:gd name="T35" fmla="*/ 639 h 1177"/>
                  <a:gd name="T36" fmla="*/ 1568 w 2677"/>
                  <a:gd name="T37" fmla="*/ 653 h 1177"/>
                  <a:gd name="T38" fmla="*/ 1809 w 2677"/>
                  <a:gd name="T39" fmla="*/ 625 h 1177"/>
                  <a:gd name="T40" fmla="*/ 2218 w 2677"/>
                  <a:gd name="T41" fmla="*/ 502 h 1177"/>
                  <a:gd name="T42" fmla="*/ 2511 w 2677"/>
                  <a:gd name="T43" fmla="*/ 366 h 1177"/>
                  <a:gd name="T44" fmla="*/ 2616 w 2677"/>
                  <a:gd name="T45" fmla="*/ 375 h 1177"/>
                  <a:gd name="T46" fmla="*/ 2673 w 2677"/>
                  <a:gd name="T47" fmla="*/ 457 h 1177"/>
                  <a:gd name="T48" fmla="*/ 2647 w 2677"/>
                  <a:gd name="T49" fmla="*/ 583 h 1177"/>
                  <a:gd name="T50" fmla="*/ 2550 w 2677"/>
                  <a:gd name="T51" fmla="*/ 687 h 1177"/>
                  <a:gd name="T52" fmla="*/ 2416 w 2677"/>
                  <a:gd name="T53" fmla="*/ 779 h 1177"/>
                  <a:gd name="T54" fmla="*/ 2234 w 2677"/>
                  <a:gd name="T55" fmla="*/ 892 h 1177"/>
                  <a:gd name="T56" fmla="*/ 2033 w 2677"/>
                  <a:gd name="T57" fmla="*/ 1005 h 1177"/>
                  <a:gd name="T58" fmla="*/ 1840 w 2677"/>
                  <a:gd name="T59" fmla="*/ 1102 h 1177"/>
                  <a:gd name="T60" fmla="*/ 1684 w 2677"/>
                  <a:gd name="T61" fmla="*/ 1164 h 1177"/>
                  <a:gd name="T62" fmla="*/ 1576 w 2677"/>
                  <a:gd name="T63" fmla="*/ 1177 h 1177"/>
                  <a:gd name="T64" fmla="*/ 1395 w 2677"/>
                  <a:gd name="T65" fmla="*/ 1161 h 1177"/>
                  <a:gd name="T66" fmla="*/ 1159 w 2677"/>
                  <a:gd name="T67" fmla="*/ 1130 h 1177"/>
                  <a:gd name="T68" fmla="*/ 898 w 2677"/>
                  <a:gd name="T69" fmla="*/ 1089 h 1177"/>
                  <a:gd name="T70" fmla="*/ 647 w 2677"/>
                  <a:gd name="T71" fmla="*/ 1047 h 1177"/>
                  <a:gd name="T72" fmla="*/ 440 w 2677"/>
                  <a:gd name="T73" fmla="*/ 1009 h 1177"/>
                  <a:gd name="T74" fmla="*/ 309 w 2677"/>
                  <a:gd name="T75" fmla="*/ 984 h 1177"/>
                  <a:gd name="T76" fmla="*/ 200 w 2677"/>
                  <a:gd name="T77" fmla="*/ 988 h 1177"/>
                  <a:gd name="T78" fmla="*/ 87 w 2677"/>
                  <a:gd name="T79" fmla="*/ 1052 h 1177"/>
                  <a:gd name="T80" fmla="*/ 28 w 2677"/>
                  <a:gd name="T81" fmla="*/ 1089 h 1177"/>
                  <a:gd name="T82" fmla="*/ 5 w 2677"/>
                  <a:gd name="T83" fmla="*/ 1069 h 1177"/>
                  <a:gd name="T84" fmla="*/ 0 w 2677"/>
                  <a:gd name="T85" fmla="*/ 1048 h 1177"/>
                  <a:gd name="T86" fmla="*/ 18 w 2677"/>
                  <a:gd name="T87" fmla="*/ 776 h 1177"/>
                  <a:gd name="T88" fmla="*/ 38 w 2677"/>
                  <a:gd name="T89" fmla="*/ 461 h 1177"/>
                  <a:gd name="T90" fmla="*/ 56 w 2677"/>
                  <a:gd name="T91" fmla="*/ 179 h 1177"/>
                  <a:gd name="T92" fmla="*/ 75 w 2677"/>
                  <a:gd name="T93" fmla="*/ 86 h 1177"/>
                  <a:gd name="T94" fmla="*/ 127 w 2677"/>
                  <a:gd name="T95" fmla="*/ 70 h 1177"/>
                  <a:gd name="T96" fmla="*/ 269 w 2677"/>
                  <a:gd name="T97" fmla="*/ 48 h 1177"/>
                  <a:gd name="T98" fmla="*/ 468 w 2677"/>
                  <a:gd name="T99" fmla="*/ 20 h 1177"/>
                  <a:gd name="T100" fmla="*/ 653 w 2677"/>
                  <a:gd name="T101" fmla="*/ 2 h 1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77" h="1177">
                    <a:moveTo>
                      <a:pt x="722" y="0"/>
                    </a:moveTo>
                    <a:lnTo>
                      <a:pt x="760" y="2"/>
                    </a:lnTo>
                    <a:lnTo>
                      <a:pt x="802" y="8"/>
                    </a:lnTo>
                    <a:lnTo>
                      <a:pt x="846" y="14"/>
                    </a:lnTo>
                    <a:lnTo>
                      <a:pt x="895" y="23"/>
                    </a:lnTo>
                    <a:lnTo>
                      <a:pt x="945" y="35"/>
                    </a:lnTo>
                    <a:lnTo>
                      <a:pt x="998" y="47"/>
                    </a:lnTo>
                    <a:lnTo>
                      <a:pt x="1051" y="60"/>
                    </a:lnTo>
                    <a:lnTo>
                      <a:pt x="1106" y="75"/>
                    </a:lnTo>
                    <a:lnTo>
                      <a:pt x="1162" y="90"/>
                    </a:lnTo>
                    <a:lnTo>
                      <a:pt x="1217" y="106"/>
                    </a:lnTo>
                    <a:lnTo>
                      <a:pt x="1272" y="122"/>
                    </a:lnTo>
                    <a:lnTo>
                      <a:pt x="1326" y="139"/>
                    </a:lnTo>
                    <a:lnTo>
                      <a:pt x="1378" y="155"/>
                    </a:lnTo>
                    <a:lnTo>
                      <a:pt x="1429" y="171"/>
                    </a:lnTo>
                    <a:lnTo>
                      <a:pt x="1477" y="187"/>
                    </a:lnTo>
                    <a:lnTo>
                      <a:pt x="1522" y="201"/>
                    </a:lnTo>
                    <a:lnTo>
                      <a:pt x="1563" y="215"/>
                    </a:lnTo>
                    <a:lnTo>
                      <a:pt x="1601" y="226"/>
                    </a:lnTo>
                    <a:lnTo>
                      <a:pt x="1635" y="237"/>
                    </a:lnTo>
                    <a:lnTo>
                      <a:pt x="1663" y="245"/>
                    </a:lnTo>
                    <a:lnTo>
                      <a:pt x="1686" y="252"/>
                    </a:lnTo>
                    <a:lnTo>
                      <a:pt x="1704" y="256"/>
                    </a:lnTo>
                    <a:lnTo>
                      <a:pt x="1722" y="263"/>
                    </a:lnTo>
                    <a:lnTo>
                      <a:pt x="1739" y="273"/>
                    </a:lnTo>
                    <a:lnTo>
                      <a:pt x="1754" y="285"/>
                    </a:lnTo>
                    <a:lnTo>
                      <a:pt x="1766" y="300"/>
                    </a:lnTo>
                    <a:lnTo>
                      <a:pt x="1776" y="316"/>
                    </a:lnTo>
                    <a:lnTo>
                      <a:pt x="1782" y="334"/>
                    </a:lnTo>
                    <a:lnTo>
                      <a:pt x="1786" y="354"/>
                    </a:lnTo>
                    <a:lnTo>
                      <a:pt x="1786" y="375"/>
                    </a:lnTo>
                    <a:lnTo>
                      <a:pt x="1783" y="395"/>
                    </a:lnTo>
                    <a:lnTo>
                      <a:pt x="1775" y="416"/>
                    </a:lnTo>
                    <a:lnTo>
                      <a:pt x="1765" y="436"/>
                    </a:lnTo>
                    <a:lnTo>
                      <a:pt x="1749" y="455"/>
                    </a:lnTo>
                    <a:lnTo>
                      <a:pt x="1730" y="473"/>
                    </a:lnTo>
                    <a:lnTo>
                      <a:pt x="1705" y="489"/>
                    </a:lnTo>
                    <a:lnTo>
                      <a:pt x="1676" y="502"/>
                    </a:lnTo>
                    <a:lnTo>
                      <a:pt x="1643" y="513"/>
                    </a:lnTo>
                    <a:lnTo>
                      <a:pt x="1606" y="521"/>
                    </a:lnTo>
                    <a:lnTo>
                      <a:pt x="1567" y="527"/>
                    </a:lnTo>
                    <a:lnTo>
                      <a:pt x="1526" y="530"/>
                    </a:lnTo>
                    <a:lnTo>
                      <a:pt x="1485" y="531"/>
                    </a:lnTo>
                    <a:lnTo>
                      <a:pt x="1442" y="530"/>
                    </a:lnTo>
                    <a:lnTo>
                      <a:pt x="1400" y="528"/>
                    </a:lnTo>
                    <a:lnTo>
                      <a:pt x="1356" y="524"/>
                    </a:lnTo>
                    <a:lnTo>
                      <a:pt x="1315" y="519"/>
                    </a:lnTo>
                    <a:lnTo>
                      <a:pt x="1273" y="513"/>
                    </a:lnTo>
                    <a:lnTo>
                      <a:pt x="1232" y="507"/>
                    </a:lnTo>
                    <a:lnTo>
                      <a:pt x="1194" y="500"/>
                    </a:lnTo>
                    <a:lnTo>
                      <a:pt x="1157" y="493"/>
                    </a:lnTo>
                    <a:lnTo>
                      <a:pt x="1122" y="488"/>
                    </a:lnTo>
                    <a:lnTo>
                      <a:pt x="1089" y="481"/>
                    </a:lnTo>
                    <a:lnTo>
                      <a:pt x="1060" y="476"/>
                    </a:lnTo>
                    <a:lnTo>
                      <a:pt x="1035" y="472"/>
                    </a:lnTo>
                    <a:lnTo>
                      <a:pt x="1013" y="469"/>
                    </a:lnTo>
                    <a:lnTo>
                      <a:pt x="995" y="467"/>
                    </a:lnTo>
                    <a:lnTo>
                      <a:pt x="983" y="467"/>
                    </a:lnTo>
                    <a:lnTo>
                      <a:pt x="974" y="471"/>
                    </a:lnTo>
                    <a:lnTo>
                      <a:pt x="972" y="475"/>
                    </a:lnTo>
                    <a:lnTo>
                      <a:pt x="975" y="493"/>
                    </a:lnTo>
                    <a:lnTo>
                      <a:pt x="986" y="510"/>
                    </a:lnTo>
                    <a:lnTo>
                      <a:pt x="1004" y="527"/>
                    </a:lnTo>
                    <a:lnTo>
                      <a:pt x="1029" y="543"/>
                    </a:lnTo>
                    <a:lnTo>
                      <a:pt x="1058" y="559"/>
                    </a:lnTo>
                    <a:lnTo>
                      <a:pt x="1093" y="574"/>
                    </a:lnTo>
                    <a:lnTo>
                      <a:pt x="1131" y="587"/>
                    </a:lnTo>
                    <a:lnTo>
                      <a:pt x="1173" y="601"/>
                    </a:lnTo>
                    <a:lnTo>
                      <a:pt x="1218" y="612"/>
                    </a:lnTo>
                    <a:lnTo>
                      <a:pt x="1266" y="622"/>
                    </a:lnTo>
                    <a:lnTo>
                      <a:pt x="1316" y="631"/>
                    </a:lnTo>
                    <a:lnTo>
                      <a:pt x="1366" y="639"/>
                    </a:lnTo>
                    <a:lnTo>
                      <a:pt x="1418" y="645"/>
                    </a:lnTo>
                    <a:lnTo>
                      <a:pt x="1468" y="650"/>
                    </a:lnTo>
                    <a:lnTo>
                      <a:pt x="1518" y="652"/>
                    </a:lnTo>
                    <a:lnTo>
                      <a:pt x="1568" y="653"/>
                    </a:lnTo>
                    <a:lnTo>
                      <a:pt x="1616" y="652"/>
                    </a:lnTo>
                    <a:lnTo>
                      <a:pt x="1661" y="650"/>
                    </a:lnTo>
                    <a:lnTo>
                      <a:pt x="1702" y="644"/>
                    </a:lnTo>
                    <a:lnTo>
                      <a:pt x="1809" y="625"/>
                    </a:lnTo>
                    <a:lnTo>
                      <a:pt x="1915" y="601"/>
                    </a:lnTo>
                    <a:lnTo>
                      <a:pt x="2019" y="571"/>
                    </a:lnTo>
                    <a:lnTo>
                      <a:pt x="2120" y="538"/>
                    </a:lnTo>
                    <a:lnTo>
                      <a:pt x="2218" y="502"/>
                    </a:lnTo>
                    <a:lnTo>
                      <a:pt x="2311" y="463"/>
                    </a:lnTo>
                    <a:lnTo>
                      <a:pt x="2399" y="422"/>
                    </a:lnTo>
                    <a:lnTo>
                      <a:pt x="2481" y="379"/>
                    </a:lnTo>
                    <a:lnTo>
                      <a:pt x="2511" y="366"/>
                    </a:lnTo>
                    <a:lnTo>
                      <a:pt x="2540" y="360"/>
                    </a:lnTo>
                    <a:lnTo>
                      <a:pt x="2567" y="359"/>
                    </a:lnTo>
                    <a:lnTo>
                      <a:pt x="2593" y="365"/>
                    </a:lnTo>
                    <a:lnTo>
                      <a:pt x="2616" y="375"/>
                    </a:lnTo>
                    <a:lnTo>
                      <a:pt x="2636" y="389"/>
                    </a:lnTo>
                    <a:lnTo>
                      <a:pt x="2653" y="408"/>
                    </a:lnTo>
                    <a:lnTo>
                      <a:pt x="2665" y="432"/>
                    </a:lnTo>
                    <a:lnTo>
                      <a:pt x="2673" y="457"/>
                    </a:lnTo>
                    <a:lnTo>
                      <a:pt x="2677" y="485"/>
                    </a:lnTo>
                    <a:lnTo>
                      <a:pt x="2673" y="517"/>
                    </a:lnTo>
                    <a:lnTo>
                      <a:pt x="2663" y="549"/>
                    </a:lnTo>
                    <a:lnTo>
                      <a:pt x="2647" y="583"/>
                    </a:lnTo>
                    <a:lnTo>
                      <a:pt x="2623" y="617"/>
                    </a:lnTo>
                    <a:lnTo>
                      <a:pt x="2591" y="652"/>
                    </a:lnTo>
                    <a:lnTo>
                      <a:pt x="2573" y="668"/>
                    </a:lnTo>
                    <a:lnTo>
                      <a:pt x="2550" y="687"/>
                    </a:lnTo>
                    <a:lnTo>
                      <a:pt x="2523" y="707"/>
                    </a:lnTo>
                    <a:lnTo>
                      <a:pt x="2491" y="729"/>
                    </a:lnTo>
                    <a:lnTo>
                      <a:pt x="2455" y="754"/>
                    </a:lnTo>
                    <a:lnTo>
                      <a:pt x="2416" y="779"/>
                    </a:lnTo>
                    <a:lnTo>
                      <a:pt x="2374" y="807"/>
                    </a:lnTo>
                    <a:lnTo>
                      <a:pt x="2329" y="834"/>
                    </a:lnTo>
                    <a:lnTo>
                      <a:pt x="2282" y="863"/>
                    </a:lnTo>
                    <a:lnTo>
                      <a:pt x="2234" y="892"/>
                    </a:lnTo>
                    <a:lnTo>
                      <a:pt x="2185" y="922"/>
                    </a:lnTo>
                    <a:lnTo>
                      <a:pt x="2134" y="950"/>
                    </a:lnTo>
                    <a:lnTo>
                      <a:pt x="2083" y="977"/>
                    </a:lnTo>
                    <a:lnTo>
                      <a:pt x="2033" y="1005"/>
                    </a:lnTo>
                    <a:lnTo>
                      <a:pt x="1982" y="1032"/>
                    </a:lnTo>
                    <a:lnTo>
                      <a:pt x="1934" y="1057"/>
                    </a:lnTo>
                    <a:lnTo>
                      <a:pt x="1886" y="1080"/>
                    </a:lnTo>
                    <a:lnTo>
                      <a:pt x="1840" y="1102"/>
                    </a:lnTo>
                    <a:lnTo>
                      <a:pt x="1796" y="1122"/>
                    </a:lnTo>
                    <a:lnTo>
                      <a:pt x="1756" y="1139"/>
                    </a:lnTo>
                    <a:lnTo>
                      <a:pt x="1718" y="1153"/>
                    </a:lnTo>
                    <a:lnTo>
                      <a:pt x="1684" y="1164"/>
                    </a:lnTo>
                    <a:lnTo>
                      <a:pt x="1654" y="1172"/>
                    </a:lnTo>
                    <a:lnTo>
                      <a:pt x="1634" y="1175"/>
                    </a:lnTo>
                    <a:lnTo>
                      <a:pt x="1608" y="1177"/>
                    </a:lnTo>
                    <a:lnTo>
                      <a:pt x="1576" y="1177"/>
                    </a:lnTo>
                    <a:lnTo>
                      <a:pt x="1537" y="1174"/>
                    </a:lnTo>
                    <a:lnTo>
                      <a:pt x="1495" y="1171"/>
                    </a:lnTo>
                    <a:lnTo>
                      <a:pt x="1447" y="1167"/>
                    </a:lnTo>
                    <a:lnTo>
                      <a:pt x="1395" y="1161"/>
                    </a:lnTo>
                    <a:lnTo>
                      <a:pt x="1340" y="1154"/>
                    </a:lnTo>
                    <a:lnTo>
                      <a:pt x="1282" y="1147"/>
                    </a:lnTo>
                    <a:lnTo>
                      <a:pt x="1222" y="1139"/>
                    </a:lnTo>
                    <a:lnTo>
                      <a:pt x="1159" y="1130"/>
                    </a:lnTo>
                    <a:lnTo>
                      <a:pt x="1094" y="1121"/>
                    </a:lnTo>
                    <a:lnTo>
                      <a:pt x="1029" y="1111"/>
                    </a:lnTo>
                    <a:lnTo>
                      <a:pt x="964" y="1101"/>
                    </a:lnTo>
                    <a:lnTo>
                      <a:pt x="898" y="1089"/>
                    </a:lnTo>
                    <a:lnTo>
                      <a:pt x="833" y="1079"/>
                    </a:lnTo>
                    <a:lnTo>
                      <a:pt x="769" y="1068"/>
                    </a:lnTo>
                    <a:lnTo>
                      <a:pt x="708" y="1057"/>
                    </a:lnTo>
                    <a:lnTo>
                      <a:pt x="647" y="1047"/>
                    </a:lnTo>
                    <a:lnTo>
                      <a:pt x="590" y="1037"/>
                    </a:lnTo>
                    <a:lnTo>
                      <a:pt x="536" y="1027"/>
                    </a:lnTo>
                    <a:lnTo>
                      <a:pt x="486" y="1018"/>
                    </a:lnTo>
                    <a:lnTo>
                      <a:pt x="440" y="1009"/>
                    </a:lnTo>
                    <a:lnTo>
                      <a:pt x="398" y="1001"/>
                    </a:lnTo>
                    <a:lnTo>
                      <a:pt x="363" y="994"/>
                    </a:lnTo>
                    <a:lnTo>
                      <a:pt x="332" y="989"/>
                    </a:lnTo>
                    <a:lnTo>
                      <a:pt x="309" y="984"/>
                    </a:lnTo>
                    <a:lnTo>
                      <a:pt x="292" y="980"/>
                    </a:lnTo>
                    <a:lnTo>
                      <a:pt x="262" y="976"/>
                    </a:lnTo>
                    <a:lnTo>
                      <a:pt x="230" y="980"/>
                    </a:lnTo>
                    <a:lnTo>
                      <a:pt x="200" y="988"/>
                    </a:lnTo>
                    <a:lnTo>
                      <a:pt x="171" y="1000"/>
                    </a:lnTo>
                    <a:lnTo>
                      <a:pt x="142" y="1016"/>
                    </a:lnTo>
                    <a:lnTo>
                      <a:pt x="114" y="1033"/>
                    </a:lnTo>
                    <a:lnTo>
                      <a:pt x="87" y="1052"/>
                    </a:lnTo>
                    <a:lnTo>
                      <a:pt x="64" y="1073"/>
                    </a:lnTo>
                    <a:lnTo>
                      <a:pt x="49" y="1083"/>
                    </a:lnTo>
                    <a:lnTo>
                      <a:pt x="37" y="1088"/>
                    </a:lnTo>
                    <a:lnTo>
                      <a:pt x="28" y="1089"/>
                    </a:lnTo>
                    <a:lnTo>
                      <a:pt x="20" y="1087"/>
                    </a:lnTo>
                    <a:lnTo>
                      <a:pt x="13" y="1083"/>
                    </a:lnTo>
                    <a:lnTo>
                      <a:pt x="9" y="1077"/>
                    </a:lnTo>
                    <a:lnTo>
                      <a:pt x="5" y="1069"/>
                    </a:lnTo>
                    <a:lnTo>
                      <a:pt x="2" y="1062"/>
                    </a:lnTo>
                    <a:lnTo>
                      <a:pt x="1" y="1056"/>
                    </a:lnTo>
                    <a:lnTo>
                      <a:pt x="1" y="1050"/>
                    </a:lnTo>
                    <a:lnTo>
                      <a:pt x="0" y="1048"/>
                    </a:lnTo>
                    <a:lnTo>
                      <a:pt x="4" y="989"/>
                    </a:lnTo>
                    <a:lnTo>
                      <a:pt x="9" y="923"/>
                    </a:lnTo>
                    <a:lnTo>
                      <a:pt x="13" y="852"/>
                    </a:lnTo>
                    <a:lnTo>
                      <a:pt x="18" y="776"/>
                    </a:lnTo>
                    <a:lnTo>
                      <a:pt x="23" y="699"/>
                    </a:lnTo>
                    <a:lnTo>
                      <a:pt x="28" y="620"/>
                    </a:lnTo>
                    <a:lnTo>
                      <a:pt x="33" y="539"/>
                    </a:lnTo>
                    <a:lnTo>
                      <a:pt x="38" y="461"/>
                    </a:lnTo>
                    <a:lnTo>
                      <a:pt x="43" y="384"/>
                    </a:lnTo>
                    <a:lnTo>
                      <a:pt x="48" y="311"/>
                    </a:lnTo>
                    <a:lnTo>
                      <a:pt x="52" y="241"/>
                    </a:lnTo>
                    <a:lnTo>
                      <a:pt x="56" y="179"/>
                    </a:lnTo>
                    <a:lnTo>
                      <a:pt x="60" y="123"/>
                    </a:lnTo>
                    <a:lnTo>
                      <a:pt x="62" y="107"/>
                    </a:lnTo>
                    <a:lnTo>
                      <a:pt x="67" y="95"/>
                    </a:lnTo>
                    <a:lnTo>
                      <a:pt x="75" y="86"/>
                    </a:lnTo>
                    <a:lnTo>
                      <a:pt x="85" y="80"/>
                    </a:lnTo>
                    <a:lnTo>
                      <a:pt x="97" y="76"/>
                    </a:lnTo>
                    <a:lnTo>
                      <a:pt x="111" y="73"/>
                    </a:lnTo>
                    <a:lnTo>
                      <a:pt x="127" y="70"/>
                    </a:lnTo>
                    <a:lnTo>
                      <a:pt x="145" y="67"/>
                    </a:lnTo>
                    <a:lnTo>
                      <a:pt x="182" y="61"/>
                    </a:lnTo>
                    <a:lnTo>
                      <a:pt x="224" y="55"/>
                    </a:lnTo>
                    <a:lnTo>
                      <a:pt x="269" y="48"/>
                    </a:lnTo>
                    <a:lnTo>
                      <a:pt x="317" y="40"/>
                    </a:lnTo>
                    <a:lnTo>
                      <a:pt x="366" y="33"/>
                    </a:lnTo>
                    <a:lnTo>
                      <a:pt x="417" y="27"/>
                    </a:lnTo>
                    <a:lnTo>
                      <a:pt x="468" y="20"/>
                    </a:lnTo>
                    <a:lnTo>
                      <a:pt x="518" y="14"/>
                    </a:lnTo>
                    <a:lnTo>
                      <a:pt x="566" y="9"/>
                    </a:lnTo>
                    <a:lnTo>
                      <a:pt x="611" y="4"/>
                    </a:lnTo>
                    <a:lnTo>
                      <a:pt x="653" y="2"/>
                    </a:lnTo>
                    <a:lnTo>
                      <a:pt x="691" y="0"/>
                    </a:lnTo>
                    <a:lnTo>
                      <a:pt x="72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56" name="Freeform 56"/>
              <p:cNvSpPr>
                <a:spLocks noEditPoints="1"/>
              </p:cNvSpPr>
              <p:nvPr/>
            </p:nvSpPr>
            <p:spPr bwMode="auto">
              <a:xfrm>
                <a:off x="9005888" y="2062163"/>
                <a:ext cx="336550" cy="433388"/>
              </a:xfrm>
              <a:custGeom>
                <a:avLst/>
                <a:gdLst>
                  <a:gd name="T0" fmla="*/ 440 w 849"/>
                  <a:gd name="T1" fmla="*/ 654 h 1093"/>
                  <a:gd name="T2" fmla="*/ 408 w 849"/>
                  <a:gd name="T3" fmla="*/ 658 h 1093"/>
                  <a:gd name="T4" fmla="*/ 379 w 849"/>
                  <a:gd name="T5" fmla="*/ 667 h 1093"/>
                  <a:gd name="T6" fmla="*/ 352 w 849"/>
                  <a:gd name="T7" fmla="*/ 681 h 1093"/>
                  <a:gd name="T8" fmla="*/ 328 w 849"/>
                  <a:gd name="T9" fmla="*/ 700 h 1093"/>
                  <a:gd name="T10" fmla="*/ 309 w 849"/>
                  <a:gd name="T11" fmla="*/ 724 h 1093"/>
                  <a:gd name="T12" fmla="*/ 295 w 849"/>
                  <a:gd name="T13" fmla="*/ 749 h 1093"/>
                  <a:gd name="T14" fmla="*/ 286 w 849"/>
                  <a:gd name="T15" fmla="*/ 780 h 1093"/>
                  <a:gd name="T16" fmla="*/ 282 w 849"/>
                  <a:gd name="T17" fmla="*/ 811 h 1093"/>
                  <a:gd name="T18" fmla="*/ 286 w 849"/>
                  <a:gd name="T19" fmla="*/ 842 h 1093"/>
                  <a:gd name="T20" fmla="*/ 295 w 849"/>
                  <a:gd name="T21" fmla="*/ 873 h 1093"/>
                  <a:gd name="T22" fmla="*/ 309 w 849"/>
                  <a:gd name="T23" fmla="*/ 899 h 1093"/>
                  <a:gd name="T24" fmla="*/ 328 w 849"/>
                  <a:gd name="T25" fmla="*/ 923 h 1093"/>
                  <a:gd name="T26" fmla="*/ 352 w 849"/>
                  <a:gd name="T27" fmla="*/ 942 h 1093"/>
                  <a:gd name="T28" fmla="*/ 379 w 849"/>
                  <a:gd name="T29" fmla="*/ 956 h 1093"/>
                  <a:gd name="T30" fmla="*/ 408 w 849"/>
                  <a:gd name="T31" fmla="*/ 965 h 1093"/>
                  <a:gd name="T32" fmla="*/ 440 w 849"/>
                  <a:gd name="T33" fmla="*/ 969 h 1093"/>
                  <a:gd name="T34" fmla="*/ 472 w 849"/>
                  <a:gd name="T35" fmla="*/ 965 h 1093"/>
                  <a:gd name="T36" fmla="*/ 501 w 849"/>
                  <a:gd name="T37" fmla="*/ 956 h 1093"/>
                  <a:gd name="T38" fmla="*/ 528 w 849"/>
                  <a:gd name="T39" fmla="*/ 942 h 1093"/>
                  <a:gd name="T40" fmla="*/ 551 w 849"/>
                  <a:gd name="T41" fmla="*/ 923 h 1093"/>
                  <a:gd name="T42" fmla="*/ 570 w 849"/>
                  <a:gd name="T43" fmla="*/ 899 h 1093"/>
                  <a:gd name="T44" fmla="*/ 585 w 849"/>
                  <a:gd name="T45" fmla="*/ 873 h 1093"/>
                  <a:gd name="T46" fmla="*/ 594 w 849"/>
                  <a:gd name="T47" fmla="*/ 842 h 1093"/>
                  <a:gd name="T48" fmla="*/ 597 w 849"/>
                  <a:gd name="T49" fmla="*/ 811 h 1093"/>
                  <a:gd name="T50" fmla="*/ 594 w 849"/>
                  <a:gd name="T51" fmla="*/ 780 h 1093"/>
                  <a:gd name="T52" fmla="*/ 585 w 849"/>
                  <a:gd name="T53" fmla="*/ 749 h 1093"/>
                  <a:gd name="T54" fmla="*/ 570 w 849"/>
                  <a:gd name="T55" fmla="*/ 724 h 1093"/>
                  <a:gd name="T56" fmla="*/ 551 w 849"/>
                  <a:gd name="T57" fmla="*/ 700 h 1093"/>
                  <a:gd name="T58" fmla="*/ 528 w 849"/>
                  <a:gd name="T59" fmla="*/ 681 h 1093"/>
                  <a:gd name="T60" fmla="*/ 501 w 849"/>
                  <a:gd name="T61" fmla="*/ 667 h 1093"/>
                  <a:gd name="T62" fmla="*/ 472 w 849"/>
                  <a:gd name="T63" fmla="*/ 658 h 1093"/>
                  <a:gd name="T64" fmla="*/ 440 w 849"/>
                  <a:gd name="T65" fmla="*/ 654 h 1093"/>
                  <a:gd name="T66" fmla="*/ 206 w 849"/>
                  <a:gd name="T67" fmla="*/ 0 h 1093"/>
                  <a:gd name="T68" fmla="*/ 775 w 849"/>
                  <a:gd name="T69" fmla="*/ 28 h 1093"/>
                  <a:gd name="T70" fmla="*/ 796 w 849"/>
                  <a:gd name="T71" fmla="*/ 32 h 1093"/>
                  <a:gd name="T72" fmla="*/ 814 w 849"/>
                  <a:gd name="T73" fmla="*/ 41 h 1093"/>
                  <a:gd name="T74" fmla="*/ 830 w 849"/>
                  <a:gd name="T75" fmla="*/ 55 h 1093"/>
                  <a:gd name="T76" fmla="*/ 841 w 849"/>
                  <a:gd name="T77" fmla="*/ 72 h 1093"/>
                  <a:gd name="T78" fmla="*/ 848 w 849"/>
                  <a:gd name="T79" fmla="*/ 91 h 1093"/>
                  <a:gd name="T80" fmla="*/ 849 w 849"/>
                  <a:gd name="T81" fmla="*/ 112 h 1093"/>
                  <a:gd name="T82" fmla="*/ 780 w 849"/>
                  <a:gd name="T83" fmla="*/ 1016 h 1093"/>
                  <a:gd name="T84" fmla="*/ 775 w 849"/>
                  <a:gd name="T85" fmla="*/ 1037 h 1093"/>
                  <a:gd name="T86" fmla="*/ 765 w 849"/>
                  <a:gd name="T87" fmla="*/ 1056 h 1093"/>
                  <a:gd name="T88" fmla="*/ 752 w 849"/>
                  <a:gd name="T89" fmla="*/ 1072 h 1093"/>
                  <a:gd name="T90" fmla="*/ 735 w 849"/>
                  <a:gd name="T91" fmla="*/ 1083 h 1093"/>
                  <a:gd name="T92" fmla="*/ 715 w 849"/>
                  <a:gd name="T93" fmla="*/ 1091 h 1093"/>
                  <a:gd name="T94" fmla="*/ 693 w 849"/>
                  <a:gd name="T95" fmla="*/ 1093 h 1093"/>
                  <a:gd name="T96" fmla="*/ 63 w 849"/>
                  <a:gd name="T97" fmla="*/ 1093 h 1093"/>
                  <a:gd name="T98" fmla="*/ 43 w 849"/>
                  <a:gd name="T99" fmla="*/ 1090 h 1093"/>
                  <a:gd name="T100" fmla="*/ 25 w 849"/>
                  <a:gd name="T101" fmla="*/ 1081 h 1093"/>
                  <a:gd name="T102" fmla="*/ 12 w 849"/>
                  <a:gd name="T103" fmla="*/ 1068 h 1093"/>
                  <a:gd name="T104" fmla="*/ 3 w 849"/>
                  <a:gd name="T105" fmla="*/ 1051 h 1093"/>
                  <a:gd name="T106" fmla="*/ 0 w 849"/>
                  <a:gd name="T107" fmla="*/ 1032 h 1093"/>
                  <a:gd name="T108" fmla="*/ 2 w 849"/>
                  <a:gd name="T109" fmla="*/ 1012 h 1093"/>
                  <a:gd name="T110" fmla="*/ 106 w 849"/>
                  <a:gd name="T111" fmla="*/ 74 h 1093"/>
                  <a:gd name="T112" fmla="*/ 114 w 849"/>
                  <a:gd name="T113" fmla="*/ 54 h 1093"/>
                  <a:gd name="T114" fmla="*/ 127 w 849"/>
                  <a:gd name="T115" fmla="*/ 36 h 1093"/>
                  <a:gd name="T116" fmla="*/ 143 w 849"/>
                  <a:gd name="T117" fmla="*/ 20 h 1093"/>
                  <a:gd name="T118" fmla="*/ 162 w 849"/>
                  <a:gd name="T119" fmla="*/ 9 h 1093"/>
                  <a:gd name="T120" fmla="*/ 184 w 849"/>
                  <a:gd name="T121" fmla="*/ 2 h 1093"/>
                  <a:gd name="T122" fmla="*/ 206 w 849"/>
                  <a:gd name="T123" fmla="*/ 0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49" h="1093">
                    <a:moveTo>
                      <a:pt x="440" y="654"/>
                    </a:moveTo>
                    <a:lnTo>
                      <a:pt x="408" y="658"/>
                    </a:lnTo>
                    <a:lnTo>
                      <a:pt x="379" y="667"/>
                    </a:lnTo>
                    <a:lnTo>
                      <a:pt x="352" y="681"/>
                    </a:lnTo>
                    <a:lnTo>
                      <a:pt x="328" y="700"/>
                    </a:lnTo>
                    <a:lnTo>
                      <a:pt x="309" y="724"/>
                    </a:lnTo>
                    <a:lnTo>
                      <a:pt x="295" y="749"/>
                    </a:lnTo>
                    <a:lnTo>
                      <a:pt x="286" y="780"/>
                    </a:lnTo>
                    <a:lnTo>
                      <a:pt x="282" y="811"/>
                    </a:lnTo>
                    <a:lnTo>
                      <a:pt x="286" y="842"/>
                    </a:lnTo>
                    <a:lnTo>
                      <a:pt x="295" y="873"/>
                    </a:lnTo>
                    <a:lnTo>
                      <a:pt x="309" y="899"/>
                    </a:lnTo>
                    <a:lnTo>
                      <a:pt x="328" y="923"/>
                    </a:lnTo>
                    <a:lnTo>
                      <a:pt x="352" y="942"/>
                    </a:lnTo>
                    <a:lnTo>
                      <a:pt x="379" y="956"/>
                    </a:lnTo>
                    <a:lnTo>
                      <a:pt x="408" y="965"/>
                    </a:lnTo>
                    <a:lnTo>
                      <a:pt x="440" y="969"/>
                    </a:lnTo>
                    <a:lnTo>
                      <a:pt x="472" y="965"/>
                    </a:lnTo>
                    <a:lnTo>
                      <a:pt x="501" y="956"/>
                    </a:lnTo>
                    <a:lnTo>
                      <a:pt x="528" y="942"/>
                    </a:lnTo>
                    <a:lnTo>
                      <a:pt x="551" y="923"/>
                    </a:lnTo>
                    <a:lnTo>
                      <a:pt x="570" y="899"/>
                    </a:lnTo>
                    <a:lnTo>
                      <a:pt x="585" y="873"/>
                    </a:lnTo>
                    <a:lnTo>
                      <a:pt x="594" y="842"/>
                    </a:lnTo>
                    <a:lnTo>
                      <a:pt x="597" y="811"/>
                    </a:lnTo>
                    <a:lnTo>
                      <a:pt x="594" y="780"/>
                    </a:lnTo>
                    <a:lnTo>
                      <a:pt x="585" y="749"/>
                    </a:lnTo>
                    <a:lnTo>
                      <a:pt x="570" y="724"/>
                    </a:lnTo>
                    <a:lnTo>
                      <a:pt x="551" y="700"/>
                    </a:lnTo>
                    <a:lnTo>
                      <a:pt x="528" y="681"/>
                    </a:lnTo>
                    <a:lnTo>
                      <a:pt x="501" y="667"/>
                    </a:lnTo>
                    <a:lnTo>
                      <a:pt x="472" y="658"/>
                    </a:lnTo>
                    <a:lnTo>
                      <a:pt x="440" y="654"/>
                    </a:lnTo>
                    <a:close/>
                    <a:moveTo>
                      <a:pt x="206" y="0"/>
                    </a:moveTo>
                    <a:lnTo>
                      <a:pt x="775" y="28"/>
                    </a:lnTo>
                    <a:lnTo>
                      <a:pt x="796" y="32"/>
                    </a:lnTo>
                    <a:lnTo>
                      <a:pt x="814" y="41"/>
                    </a:lnTo>
                    <a:lnTo>
                      <a:pt x="830" y="55"/>
                    </a:lnTo>
                    <a:lnTo>
                      <a:pt x="841" y="72"/>
                    </a:lnTo>
                    <a:lnTo>
                      <a:pt x="848" y="91"/>
                    </a:lnTo>
                    <a:lnTo>
                      <a:pt x="849" y="112"/>
                    </a:lnTo>
                    <a:lnTo>
                      <a:pt x="780" y="1016"/>
                    </a:lnTo>
                    <a:lnTo>
                      <a:pt x="775" y="1037"/>
                    </a:lnTo>
                    <a:lnTo>
                      <a:pt x="765" y="1056"/>
                    </a:lnTo>
                    <a:lnTo>
                      <a:pt x="752" y="1072"/>
                    </a:lnTo>
                    <a:lnTo>
                      <a:pt x="735" y="1083"/>
                    </a:lnTo>
                    <a:lnTo>
                      <a:pt x="715" y="1091"/>
                    </a:lnTo>
                    <a:lnTo>
                      <a:pt x="693" y="1093"/>
                    </a:lnTo>
                    <a:lnTo>
                      <a:pt x="63" y="1093"/>
                    </a:lnTo>
                    <a:lnTo>
                      <a:pt x="43" y="1090"/>
                    </a:lnTo>
                    <a:lnTo>
                      <a:pt x="25" y="1081"/>
                    </a:lnTo>
                    <a:lnTo>
                      <a:pt x="12" y="1068"/>
                    </a:lnTo>
                    <a:lnTo>
                      <a:pt x="3" y="1051"/>
                    </a:lnTo>
                    <a:lnTo>
                      <a:pt x="0" y="1032"/>
                    </a:lnTo>
                    <a:lnTo>
                      <a:pt x="2" y="1012"/>
                    </a:lnTo>
                    <a:lnTo>
                      <a:pt x="106" y="74"/>
                    </a:lnTo>
                    <a:lnTo>
                      <a:pt x="114" y="54"/>
                    </a:lnTo>
                    <a:lnTo>
                      <a:pt x="127" y="36"/>
                    </a:lnTo>
                    <a:lnTo>
                      <a:pt x="143" y="20"/>
                    </a:lnTo>
                    <a:lnTo>
                      <a:pt x="162" y="9"/>
                    </a:lnTo>
                    <a:lnTo>
                      <a:pt x="184" y="2"/>
                    </a:lnTo>
                    <a:lnTo>
                      <a:pt x="2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625275">
                  <a:defRPr/>
                </a:pPr>
                <a:endParaRPr lang="en-US" sz="1867" kern="0" dirty="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164" name="Oval 163"/>
          <p:cNvSpPr/>
          <p:nvPr userDrawn="1"/>
        </p:nvSpPr>
        <p:spPr>
          <a:xfrm>
            <a:off x="7633817" y="2053552"/>
            <a:ext cx="592753" cy="491389"/>
          </a:xfrm>
          <a:prstGeom prst="ellipse">
            <a:avLst/>
          </a:prstGeom>
          <a:solidFill>
            <a:srgbClr val="1C8AB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625275">
              <a:defRPr/>
            </a:pPr>
            <a:r>
              <a:rPr lang="en-US" sz="2133" b="1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166" name="Oval 165"/>
          <p:cNvSpPr/>
          <p:nvPr userDrawn="1"/>
        </p:nvSpPr>
        <p:spPr>
          <a:xfrm>
            <a:off x="7633817" y="2837362"/>
            <a:ext cx="592753" cy="491389"/>
          </a:xfrm>
          <a:prstGeom prst="ellipse">
            <a:avLst/>
          </a:prstGeom>
          <a:solidFill>
            <a:srgbClr val="1C8AB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625275">
              <a:defRPr/>
            </a:pPr>
            <a:r>
              <a:rPr lang="en-US" sz="2133" b="1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168" name="Oval 167"/>
          <p:cNvSpPr/>
          <p:nvPr userDrawn="1"/>
        </p:nvSpPr>
        <p:spPr>
          <a:xfrm>
            <a:off x="7633817" y="3621171"/>
            <a:ext cx="592753" cy="491389"/>
          </a:xfrm>
          <a:prstGeom prst="ellipse">
            <a:avLst/>
          </a:prstGeom>
          <a:solidFill>
            <a:srgbClr val="1C8AB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625275">
              <a:defRPr/>
            </a:pPr>
            <a:r>
              <a:rPr lang="en-US" sz="2133" b="1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170" name="Oval 169"/>
          <p:cNvSpPr/>
          <p:nvPr userDrawn="1"/>
        </p:nvSpPr>
        <p:spPr>
          <a:xfrm>
            <a:off x="7633817" y="4404980"/>
            <a:ext cx="592753" cy="491389"/>
          </a:xfrm>
          <a:prstGeom prst="ellipse">
            <a:avLst/>
          </a:prstGeom>
          <a:solidFill>
            <a:srgbClr val="1C8AB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625275">
              <a:defRPr/>
            </a:pPr>
            <a:r>
              <a:rPr lang="en-US" sz="2133" b="1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sp>
        <p:nvSpPr>
          <p:cNvPr id="172" name="Oval 171"/>
          <p:cNvSpPr/>
          <p:nvPr userDrawn="1"/>
        </p:nvSpPr>
        <p:spPr>
          <a:xfrm>
            <a:off x="7633817" y="5188788"/>
            <a:ext cx="592753" cy="491389"/>
          </a:xfrm>
          <a:prstGeom prst="ellipse">
            <a:avLst/>
          </a:prstGeom>
          <a:solidFill>
            <a:srgbClr val="1C8AB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625275">
              <a:defRPr/>
            </a:pPr>
            <a:r>
              <a:rPr lang="en-US" sz="2133" b="1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35527" y="1535297"/>
            <a:ext cx="1924243" cy="44310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734144" y="2012413"/>
            <a:ext cx="2377971" cy="1209159"/>
          </a:xfrm>
        </p:spPr>
        <p:txBody>
          <a:bodyPr>
            <a:noAutofit/>
          </a:bodyPr>
          <a:lstStyle>
            <a:lvl1pPr marL="0" indent="0" algn="ctr" defTabSz="1625275">
              <a:spcBef>
                <a:spcPts val="0"/>
              </a:spcBef>
              <a:buNone/>
              <a:defRPr sz="1600"/>
            </a:lvl1pPr>
          </a:lstStyle>
          <a:p>
            <a:pPr defTabSz="1218987"/>
            <a:r>
              <a:rPr lang="en-US" sz="1867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defTabSz="1218987"/>
            <a:r>
              <a:rPr lang="en-US" sz="1867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655" y="4107093"/>
            <a:ext cx="2116667" cy="443104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062585" y="4604625"/>
            <a:ext cx="2615768" cy="1463083"/>
          </a:xfrm>
        </p:spPr>
        <p:txBody>
          <a:bodyPr>
            <a:noAutofit/>
          </a:bodyPr>
          <a:lstStyle>
            <a:lvl1pPr marL="0" indent="0" algn="ctr" defTabSz="1625275">
              <a:spcBef>
                <a:spcPts val="0"/>
              </a:spcBef>
              <a:buNone/>
              <a:defRPr sz="1600"/>
            </a:lvl1pPr>
          </a:lstStyle>
          <a:p>
            <a:pPr defTabSz="1218987"/>
            <a:r>
              <a:rPr lang="en-US" sz="1867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is is a sample text.</a:t>
            </a:r>
          </a:p>
          <a:p>
            <a:pPr defTabSz="1218987"/>
            <a:r>
              <a:rPr lang="en-US" sz="1867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t your desired text here.</a:t>
            </a:r>
            <a:endParaRPr lang="en-US" sz="1867" dirty="0">
              <a:solidFill>
                <a:srgbClr val="000000">
                  <a:lumMod val="75000"/>
                  <a:lumOff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332834" y="2053552"/>
            <a:ext cx="3510823" cy="44310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332834" y="2843397"/>
            <a:ext cx="3510823" cy="44310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32834" y="3633243"/>
            <a:ext cx="3510823" cy="44310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8332834" y="4423088"/>
            <a:ext cx="3510823" cy="44310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332833" y="5212931"/>
            <a:ext cx="3510823" cy="44310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419255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Roadmap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29" name="Rectangle 128"/>
          <p:cNvSpPr/>
          <p:nvPr userDrawn="1"/>
        </p:nvSpPr>
        <p:spPr>
          <a:xfrm>
            <a:off x="165895" y="1401171"/>
            <a:ext cx="11862336" cy="636823"/>
          </a:xfrm>
          <a:prstGeom prst="rect">
            <a:avLst/>
          </a:prstGeom>
          <a:solidFill>
            <a:srgbClr val="FFFFFF">
              <a:lumMod val="85000"/>
              <a:alpha val="36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0" name="Rectangle 6"/>
          <p:cNvSpPr/>
          <p:nvPr userDrawn="1"/>
        </p:nvSpPr>
        <p:spPr>
          <a:xfrm flipH="1" flipV="1">
            <a:off x="1892802" y="1892517"/>
            <a:ext cx="8063447" cy="1580433"/>
          </a:xfrm>
          <a:custGeom>
            <a:avLst/>
            <a:gdLst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3505200 h 3505200"/>
              <a:gd name="connsiteX4" fmla="*/ 0 w 6324600"/>
              <a:gd name="connsiteY4" fmla="*/ 0 h 3505200"/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0 h 3505200"/>
              <a:gd name="connsiteX0" fmla="*/ 6324600 w 6416040"/>
              <a:gd name="connsiteY0" fmla="*/ 3505200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2327787 w 6416040"/>
              <a:gd name="connsiteY0" fmla="*/ 1941871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3" fmla="*/ 0 w 6416040"/>
              <a:gd name="connsiteY3" fmla="*/ 0 h 3596640"/>
              <a:gd name="connsiteX0" fmla="*/ 6416040 w 6507480"/>
              <a:gd name="connsiteY0" fmla="*/ 359664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1563821 w 6507480"/>
              <a:gd name="connsiteY0" fmla="*/ 305095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0 w 6507480"/>
              <a:gd name="connsiteY0" fmla="*/ 0 h 3688080"/>
              <a:gd name="connsiteX1" fmla="*/ 6324600 w 6507480"/>
              <a:gd name="connsiteY1" fmla="*/ 0 h 3688080"/>
              <a:gd name="connsiteX2" fmla="*/ 6507480 w 6507480"/>
              <a:gd name="connsiteY2" fmla="*/ 3688080 h 3688080"/>
              <a:gd name="connsiteX0" fmla="*/ 0 w 6324600"/>
              <a:gd name="connsiteY0" fmla="*/ 0 h 2168996"/>
              <a:gd name="connsiteX1" fmla="*/ 6324600 w 6324600"/>
              <a:gd name="connsiteY1" fmla="*/ 0 h 2168996"/>
              <a:gd name="connsiteX2" fmla="*/ 6242009 w 6324600"/>
              <a:gd name="connsiteY2" fmla="*/ 2168996 h 2168996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7057136"/>
              <a:gd name="connsiteY0" fmla="*/ 0 h 2589105"/>
              <a:gd name="connsiteX1" fmla="*/ 6324600 w 7057136"/>
              <a:gd name="connsiteY1" fmla="*/ 0 h 2589105"/>
              <a:gd name="connsiteX2" fmla="*/ 6522228 w 7057136"/>
              <a:gd name="connsiteY2" fmla="*/ 2404970 h 2589105"/>
              <a:gd name="connsiteX0" fmla="*/ 0 w 6522228"/>
              <a:gd name="connsiteY0" fmla="*/ 0 h 2884378"/>
              <a:gd name="connsiteX1" fmla="*/ 6324600 w 6522228"/>
              <a:gd name="connsiteY1" fmla="*/ 0 h 2884378"/>
              <a:gd name="connsiteX2" fmla="*/ 6522228 w 6522228"/>
              <a:gd name="connsiteY2" fmla="*/ 2404970 h 2884378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6839285"/>
              <a:gd name="connsiteY0" fmla="*/ 178145 h 2583115"/>
              <a:gd name="connsiteX1" fmla="*/ 6324600 w 6839285"/>
              <a:gd name="connsiteY1" fmla="*/ 178145 h 2583115"/>
              <a:gd name="connsiteX2" fmla="*/ 6522228 w 6839285"/>
              <a:gd name="connsiteY2" fmla="*/ 2583115 h 2583115"/>
              <a:gd name="connsiteX0" fmla="*/ 0 w 6522228"/>
              <a:gd name="connsiteY0" fmla="*/ 0 h 2404970"/>
              <a:gd name="connsiteX1" fmla="*/ 3699387 w 6522228"/>
              <a:gd name="connsiteY1" fmla="*/ 575187 h 2404970"/>
              <a:gd name="connsiteX2" fmla="*/ 6522228 w 6522228"/>
              <a:gd name="connsiteY2" fmla="*/ 2404970 h 2404970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6310 h 2411280"/>
              <a:gd name="connsiteX1" fmla="*/ 4628535 w 6522228"/>
              <a:gd name="connsiteY1" fmla="*/ 552000 h 2411280"/>
              <a:gd name="connsiteX2" fmla="*/ 6522228 w 6522228"/>
              <a:gd name="connsiteY2" fmla="*/ 2411280 h 2411280"/>
              <a:gd name="connsiteX0" fmla="*/ 0 w 6522228"/>
              <a:gd name="connsiteY0" fmla="*/ 5347 h 2410317"/>
              <a:gd name="connsiteX1" fmla="*/ 4023851 w 6522228"/>
              <a:gd name="connsiteY1" fmla="*/ 595282 h 2410317"/>
              <a:gd name="connsiteX2" fmla="*/ 6522228 w 6522228"/>
              <a:gd name="connsiteY2" fmla="*/ 2410317 h 2410317"/>
              <a:gd name="connsiteX0" fmla="*/ 0 w 6509203"/>
              <a:gd name="connsiteY0" fmla="*/ 163951 h 1949489"/>
              <a:gd name="connsiteX1" fmla="*/ 4010826 w 6509203"/>
              <a:gd name="connsiteY1" fmla="*/ 134454 h 1949489"/>
              <a:gd name="connsiteX2" fmla="*/ 6509203 w 6509203"/>
              <a:gd name="connsiteY2" fmla="*/ 1949489 h 1949489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0655 h 1678206"/>
              <a:gd name="connsiteX1" fmla="*/ 4062921 w 6535251"/>
              <a:gd name="connsiteY1" fmla="*/ 335120 h 1678206"/>
              <a:gd name="connsiteX2" fmla="*/ 6535251 w 6535251"/>
              <a:gd name="connsiteY2" fmla="*/ 1678206 h 1678206"/>
              <a:gd name="connsiteX0" fmla="*/ 0 w 6535251"/>
              <a:gd name="connsiteY0" fmla="*/ 3375 h 1670926"/>
              <a:gd name="connsiteX1" fmla="*/ 4128041 w 6535251"/>
              <a:gd name="connsiteY1" fmla="*/ 637556 h 1670926"/>
              <a:gd name="connsiteX2" fmla="*/ 6535251 w 6535251"/>
              <a:gd name="connsiteY2" fmla="*/ 1670926 h 1670926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35251" h="1675219">
                <a:moveTo>
                  <a:pt x="0" y="7668"/>
                </a:moveTo>
                <a:cubicBezTo>
                  <a:pt x="618613" y="-36578"/>
                  <a:pt x="2934640" y="113201"/>
                  <a:pt x="4023848" y="391126"/>
                </a:cubicBezTo>
                <a:cubicBezTo>
                  <a:pt x="5113057" y="669051"/>
                  <a:pt x="6017867" y="1075450"/>
                  <a:pt x="6535251" y="1675219"/>
                </a:cubicBezTo>
              </a:path>
            </a:pathLst>
          </a:custGeom>
          <a:noFill/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3" name="Rectangle 6"/>
          <p:cNvSpPr/>
          <p:nvPr userDrawn="1"/>
        </p:nvSpPr>
        <p:spPr>
          <a:xfrm flipH="1">
            <a:off x="1892802" y="3865976"/>
            <a:ext cx="8063447" cy="1580433"/>
          </a:xfrm>
          <a:custGeom>
            <a:avLst/>
            <a:gdLst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3505200 h 3505200"/>
              <a:gd name="connsiteX4" fmla="*/ 0 w 6324600"/>
              <a:gd name="connsiteY4" fmla="*/ 0 h 3505200"/>
              <a:gd name="connsiteX0" fmla="*/ 0 w 6324600"/>
              <a:gd name="connsiteY0" fmla="*/ 0 h 3505200"/>
              <a:gd name="connsiteX1" fmla="*/ 6324600 w 6324600"/>
              <a:gd name="connsiteY1" fmla="*/ 0 h 3505200"/>
              <a:gd name="connsiteX2" fmla="*/ 6324600 w 6324600"/>
              <a:gd name="connsiteY2" fmla="*/ 3505200 h 3505200"/>
              <a:gd name="connsiteX3" fmla="*/ 0 w 6324600"/>
              <a:gd name="connsiteY3" fmla="*/ 0 h 3505200"/>
              <a:gd name="connsiteX0" fmla="*/ 6324600 w 6416040"/>
              <a:gd name="connsiteY0" fmla="*/ 3505200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2327787 w 6416040"/>
              <a:gd name="connsiteY0" fmla="*/ 1941871 h 3596640"/>
              <a:gd name="connsiteX1" fmla="*/ 0 w 6416040"/>
              <a:gd name="connsiteY1" fmla="*/ 0 h 3596640"/>
              <a:gd name="connsiteX2" fmla="*/ 6324600 w 6416040"/>
              <a:gd name="connsiteY2" fmla="*/ 0 h 3596640"/>
              <a:gd name="connsiteX3" fmla="*/ 6416040 w 6416040"/>
              <a:gd name="connsiteY3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0" fmla="*/ 0 w 6416040"/>
              <a:gd name="connsiteY0" fmla="*/ 0 h 3596640"/>
              <a:gd name="connsiteX1" fmla="*/ 6324600 w 6416040"/>
              <a:gd name="connsiteY1" fmla="*/ 0 h 3596640"/>
              <a:gd name="connsiteX2" fmla="*/ 6416040 w 6416040"/>
              <a:gd name="connsiteY2" fmla="*/ 3596640 h 3596640"/>
              <a:gd name="connsiteX3" fmla="*/ 0 w 6416040"/>
              <a:gd name="connsiteY3" fmla="*/ 0 h 3596640"/>
              <a:gd name="connsiteX0" fmla="*/ 6416040 w 6507480"/>
              <a:gd name="connsiteY0" fmla="*/ 359664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1563821 w 6507480"/>
              <a:gd name="connsiteY0" fmla="*/ 3050950 h 3688080"/>
              <a:gd name="connsiteX1" fmla="*/ 0 w 6507480"/>
              <a:gd name="connsiteY1" fmla="*/ 0 h 3688080"/>
              <a:gd name="connsiteX2" fmla="*/ 6324600 w 6507480"/>
              <a:gd name="connsiteY2" fmla="*/ 0 h 3688080"/>
              <a:gd name="connsiteX3" fmla="*/ 6507480 w 6507480"/>
              <a:gd name="connsiteY3" fmla="*/ 3688080 h 3688080"/>
              <a:gd name="connsiteX0" fmla="*/ 0 w 6507480"/>
              <a:gd name="connsiteY0" fmla="*/ 0 h 3688080"/>
              <a:gd name="connsiteX1" fmla="*/ 6324600 w 6507480"/>
              <a:gd name="connsiteY1" fmla="*/ 0 h 3688080"/>
              <a:gd name="connsiteX2" fmla="*/ 6507480 w 6507480"/>
              <a:gd name="connsiteY2" fmla="*/ 3688080 h 3688080"/>
              <a:gd name="connsiteX0" fmla="*/ 0 w 6324600"/>
              <a:gd name="connsiteY0" fmla="*/ 0 h 2168996"/>
              <a:gd name="connsiteX1" fmla="*/ 6324600 w 6324600"/>
              <a:gd name="connsiteY1" fmla="*/ 0 h 2168996"/>
              <a:gd name="connsiteX2" fmla="*/ 6242009 w 6324600"/>
              <a:gd name="connsiteY2" fmla="*/ 2168996 h 2168996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7057136"/>
              <a:gd name="connsiteY0" fmla="*/ 0 h 2589105"/>
              <a:gd name="connsiteX1" fmla="*/ 6324600 w 7057136"/>
              <a:gd name="connsiteY1" fmla="*/ 0 h 2589105"/>
              <a:gd name="connsiteX2" fmla="*/ 6522228 w 7057136"/>
              <a:gd name="connsiteY2" fmla="*/ 2404970 h 2589105"/>
              <a:gd name="connsiteX0" fmla="*/ 0 w 6522228"/>
              <a:gd name="connsiteY0" fmla="*/ 0 h 2884378"/>
              <a:gd name="connsiteX1" fmla="*/ 6324600 w 6522228"/>
              <a:gd name="connsiteY1" fmla="*/ 0 h 2884378"/>
              <a:gd name="connsiteX2" fmla="*/ 6522228 w 6522228"/>
              <a:gd name="connsiteY2" fmla="*/ 2404970 h 2884378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959565"/>
              <a:gd name="connsiteY0" fmla="*/ 0 h 2629590"/>
              <a:gd name="connsiteX1" fmla="*/ 6324600 w 6959565"/>
              <a:gd name="connsiteY1" fmla="*/ 0 h 2629590"/>
              <a:gd name="connsiteX2" fmla="*/ 6522228 w 6959565"/>
              <a:gd name="connsiteY2" fmla="*/ 2404970 h 2629590"/>
              <a:gd name="connsiteX0" fmla="*/ 0 w 6522228"/>
              <a:gd name="connsiteY0" fmla="*/ 0 h 2404970"/>
              <a:gd name="connsiteX1" fmla="*/ 6324600 w 6522228"/>
              <a:gd name="connsiteY1" fmla="*/ 0 h 2404970"/>
              <a:gd name="connsiteX2" fmla="*/ 6522228 w 6522228"/>
              <a:gd name="connsiteY2" fmla="*/ 2404970 h 2404970"/>
              <a:gd name="connsiteX0" fmla="*/ 0 w 6839285"/>
              <a:gd name="connsiteY0" fmla="*/ 178145 h 2583115"/>
              <a:gd name="connsiteX1" fmla="*/ 6324600 w 6839285"/>
              <a:gd name="connsiteY1" fmla="*/ 178145 h 2583115"/>
              <a:gd name="connsiteX2" fmla="*/ 6522228 w 6839285"/>
              <a:gd name="connsiteY2" fmla="*/ 2583115 h 2583115"/>
              <a:gd name="connsiteX0" fmla="*/ 0 w 6522228"/>
              <a:gd name="connsiteY0" fmla="*/ 0 h 2404970"/>
              <a:gd name="connsiteX1" fmla="*/ 3699387 w 6522228"/>
              <a:gd name="connsiteY1" fmla="*/ 575187 h 2404970"/>
              <a:gd name="connsiteX2" fmla="*/ 6522228 w 6522228"/>
              <a:gd name="connsiteY2" fmla="*/ 2404970 h 2404970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5635 h 2410605"/>
              <a:gd name="connsiteX1" fmla="*/ 3699387 w 6522228"/>
              <a:gd name="connsiteY1" fmla="*/ 580822 h 2410605"/>
              <a:gd name="connsiteX2" fmla="*/ 6522228 w 6522228"/>
              <a:gd name="connsiteY2" fmla="*/ 2410605 h 2410605"/>
              <a:gd name="connsiteX0" fmla="*/ 0 w 6522228"/>
              <a:gd name="connsiteY0" fmla="*/ 6310 h 2411280"/>
              <a:gd name="connsiteX1" fmla="*/ 4628535 w 6522228"/>
              <a:gd name="connsiteY1" fmla="*/ 552000 h 2411280"/>
              <a:gd name="connsiteX2" fmla="*/ 6522228 w 6522228"/>
              <a:gd name="connsiteY2" fmla="*/ 2411280 h 2411280"/>
              <a:gd name="connsiteX0" fmla="*/ 0 w 6522228"/>
              <a:gd name="connsiteY0" fmla="*/ 5347 h 2410317"/>
              <a:gd name="connsiteX1" fmla="*/ 4023851 w 6522228"/>
              <a:gd name="connsiteY1" fmla="*/ 595282 h 2410317"/>
              <a:gd name="connsiteX2" fmla="*/ 6522228 w 6522228"/>
              <a:gd name="connsiteY2" fmla="*/ 2410317 h 2410317"/>
              <a:gd name="connsiteX0" fmla="*/ 0 w 6509203"/>
              <a:gd name="connsiteY0" fmla="*/ 163951 h 1949489"/>
              <a:gd name="connsiteX1" fmla="*/ 4010826 w 6509203"/>
              <a:gd name="connsiteY1" fmla="*/ 134454 h 1949489"/>
              <a:gd name="connsiteX2" fmla="*/ 6509203 w 6509203"/>
              <a:gd name="connsiteY2" fmla="*/ 1949489 h 1949489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55212 h 1822763"/>
              <a:gd name="connsiteX1" fmla="*/ 4010826 w 6535251"/>
              <a:gd name="connsiteY1" fmla="*/ 125715 h 1822763"/>
              <a:gd name="connsiteX2" fmla="*/ 6535251 w 6535251"/>
              <a:gd name="connsiteY2" fmla="*/ 1822763 h 1822763"/>
              <a:gd name="connsiteX0" fmla="*/ 0 w 6535251"/>
              <a:gd name="connsiteY0" fmla="*/ 10655 h 1678206"/>
              <a:gd name="connsiteX1" fmla="*/ 4062921 w 6535251"/>
              <a:gd name="connsiteY1" fmla="*/ 335120 h 1678206"/>
              <a:gd name="connsiteX2" fmla="*/ 6535251 w 6535251"/>
              <a:gd name="connsiteY2" fmla="*/ 1678206 h 1678206"/>
              <a:gd name="connsiteX0" fmla="*/ 0 w 6535251"/>
              <a:gd name="connsiteY0" fmla="*/ 3375 h 1670926"/>
              <a:gd name="connsiteX1" fmla="*/ 4128041 w 6535251"/>
              <a:gd name="connsiteY1" fmla="*/ 637556 h 1670926"/>
              <a:gd name="connsiteX2" fmla="*/ 6535251 w 6535251"/>
              <a:gd name="connsiteY2" fmla="*/ 1670926 h 1670926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  <a:gd name="connsiteX0" fmla="*/ 0 w 6535251"/>
              <a:gd name="connsiteY0" fmla="*/ 7668 h 1675219"/>
              <a:gd name="connsiteX1" fmla="*/ 4023848 w 6535251"/>
              <a:gd name="connsiteY1" fmla="*/ 391126 h 1675219"/>
              <a:gd name="connsiteX2" fmla="*/ 6535251 w 6535251"/>
              <a:gd name="connsiteY2" fmla="*/ 1675219 h 1675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35251" h="1675219">
                <a:moveTo>
                  <a:pt x="0" y="7668"/>
                </a:moveTo>
                <a:cubicBezTo>
                  <a:pt x="618613" y="-36578"/>
                  <a:pt x="2934640" y="113201"/>
                  <a:pt x="4023848" y="391126"/>
                </a:cubicBezTo>
                <a:cubicBezTo>
                  <a:pt x="5113057" y="669051"/>
                  <a:pt x="6017867" y="1075450"/>
                  <a:pt x="6535251" y="1675219"/>
                </a:cubicBezTo>
              </a:path>
            </a:pathLst>
          </a:custGeom>
          <a:noFill/>
          <a:ln w="190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4" name="Oval 173"/>
          <p:cNvSpPr>
            <a:spLocks noChangeAspect="1"/>
          </p:cNvSpPr>
          <p:nvPr userDrawn="1"/>
        </p:nvSpPr>
        <p:spPr>
          <a:xfrm>
            <a:off x="2800540" y="2678967"/>
            <a:ext cx="392467" cy="380452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Oval 174"/>
          <p:cNvSpPr>
            <a:spLocks noChangeAspect="1"/>
          </p:cNvSpPr>
          <p:nvPr userDrawn="1"/>
        </p:nvSpPr>
        <p:spPr>
          <a:xfrm>
            <a:off x="2476550" y="3341018"/>
            <a:ext cx="356788" cy="345865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6" name="Oval 175"/>
          <p:cNvSpPr>
            <a:spLocks noChangeAspect="1"/>
          </p:cNvSpPr>
          <p:nvPr userDrawn="1"/>
        </p:nvSpPr>
        <p:spPr>
          <a:xfrm>
            <a:off x="2996608" y="3941967"/>
            <a:ext cx="392467" cy="380452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7" name="Oval 176"/>
          <p:cNvSpPr>
            <a:spLocks noChangeAspect="1"/>
          </p:cNvSpPr>
          <p:nvPr userDrawn="1"/>
        </p:nvSpPr>
        <p:spPr>
          <a:xfrm>
            <a:off x="3162119" y="3124118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Oval 177"/>
          <p:cNvSpPr>
            <a:spLocks noChangeAspect="1"/>
          </p:cNvSpPr>
          <p:nvPr userDrawn="1"/>
        </p:nvSpPr>
        <p:spPr>
          <a:xfrm>
            <a:off x="3205759" y="4381429"/>
            <a:ext cx="182463" cy="176876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9" name="Oval 178"/>
          <p:cNvSpPr>
            <a:spLocks noChangeAspect="1"/>
          </p:cNvSpPr>
          <p:nvPr userDrawn="1"/>
        </p:nvSpPr>
        <p:spPr>
          <a:xfrm>
            <a:off x="3702236" y="3946026"/>
            <a:ext cx="392467" cy="380452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0" name="Oval 179"/>
          <p:cNvSpPr>
            <a:spLocks noChangeAspect="1"/>
          </p:cNvSpPr>
          <p:nvPr userDrawn="1"/>
        </p:nvSpPr>
        <p:spPr>
          <a:xfrm>
            <a:off x="4203109" y="3296225"/>
            <a:ext cx="356788" cy="345865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1" name="Oval 180"/>
          <p:cNvSpPr>
            <a:spLocks noChangeAspect="1"/>
          </p:cNvSpPr>
          <p:nvPr userDrawn="1"/>
        </p:nvSpPr>
        <p:spPr>
          <a:xfrm>
            <a:off x="3553506" y="3009290"/>
            <a:ext cx="356788" cy="345865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2" name="Oval 181"/>
          <p:cNvSpPr>
            <a:spLocks noChangeAspect="1"/>
          </p:cNvSpPr>
          <p:nvPr userDrawn="1"/>
        </p:nvSpPr>
        <p:spPr>
          <a:xfrm>
            <a:off x="4806568" y="3269129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3" name="Oval 182"/>
          <p:cNvSpPr>
            <a:spLocks noChangeAspect="1"/>
          </p:cNvSpPr>
          <p:nvPr userDrawn="1"/>
        </p:nvSpPr>
        <p:spPr>
          <a:xfrm>
            <a:off x="4915023" y="3621483"/>
            <a:ext cx="133487" cy="129399"/>
          </a:xfrm>
          <a:prstGeom prst="ellipse">
            <a:avLst/>
          </a:prstGeom>
          <a:solidFill>
            <a:srgbClr val="019ADD"/>
          </a:solidFill>
          <a:ln w="3175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" name="Oval 183"/>
          <p:cNvSpPr>
            <a:spLocks noChangeAspect="1"/>
          </p:cNvSpPr>
          <p:nvPr userDrawn="1"/>
        </p:nvSpPr>
        <p:spPr>
          <a:xfrm>
            <a:off x="4040006" y="3764233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5" name="Oval 184"/>
          <p:cNvSpPr>
            <a:spLocks noChangeAspect="1"/>
          </p:cNvSpPr>
          <p:nvPr userDrawn="1"/>
        </p:nvSpPr>
        <p:spPr>
          <a:xfrm>
            <a:off x="4848279" y="4006850"/>
            <a:ext cx="133487" cy="129399"/>
          </a:xfrm>
          <a:prstGeom prst="ellipse">
            <a:avLst/>
          </a:prstGeom>
          <a:solidFill>
            <a:srgbClr val="6BC2ED"/>
          </a:solidFill>
          <a:ln w="3175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6" name="Oval 185"/>
          <p:cNvSpPr>
            <a:spLocks noChangeAspect="1"/>
          </p:cNvSpPr>
          <p:nvPr userDrawn="1"/>
        </p:nvSpPr>
        <p:spPr>
          <a:xfrm>
            <a:off x="4008982" y="2991522"/>
            <a:ext cx="133487" cy="129399"/>
          </a:xfrm>
          <a:prstGeom prst="ellipse">
            <a:avLst/>
          </a:prstGeom>
          <a:solidFill>
            <a:srgbClr val="019ADD"/>
          </a:solidFill>
          <a:ln w="3175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7" name="Oval 186"/>
          <p:cNvSpPr>
            <a:spLocks noChangeAspect="1"/>
          </p:cNvSpPr>
          <p:nvPr userDrawn="1"/>
        </p:nvSpPr>
        <p:spPr>
          <a:xfrm>
            <a:off x="3564753" y="3816625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8" name="Oval 187"/>
          <p:cNvSpPr>
            <a:spLocks noChangeAspect="1"/>
          </p:cNvSpPr>
          <p:nvPr userDrawn="1"/>
        </p:nvSpPr>
        <p:spPr>
          <a:xfrm>
            <a:off x="4569227" y="3648646"/>
            <a:ext cx="133487" cy="129399"/>
          </a:xfrm>
          <a:prstGeom prst="ellipse">
            <a:avLst/>
          </a:prstGeom>
          <a:solidFill>
            <a:srgbClr val="019ADD"/>
          </a:solidFill>
          <a:ln w="3175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9" name="Oval 188"/>
          <p:cNvSpPr>
            <a:spLocks noChangeAspect="1"/>
          </p:cNvSpPr>
          <p:nvPr userDrawn="1"/>
        </p:nvSpPr>
        <p:spPr>
          <a:xfrm>
            <a:off x="3973263" y="3383781"/>
            <a:ext cx="133487" cy="129399"/>
          </a:xfrm>
          <a:prstGeom prst="ellipse">
            <a:avLst/>
          </a:prstGeom>
          <a:solidFill>
            <a:srgbClr val="019ADD"/>
          </a:solidFill>
          <a:ln w="3175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0" name="Oval 189"/>
          <p:cNvSpPr>
            <a:spLocks noChangeAspect="1"/>
          </p:cNvSpPr>
          <p:nvPr userDrawn="1"/>
        </p:nvSpPr>
        <p:spPr>
          <a:xfrm>
            <a:off x="4186570" y="4174679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1" name="Oval 190"/>
          <p:cNvSpPr>
            <a:spLocks noChangeAspect="1"/>
          </p:cNvSpPr>
          <p:nvPr userDrawn="1"/>
        </p:nvSpPr>
        <p:spPr>
          <a:xfrm>
            <a:off x="4309489" y="3059418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2" name="Oval 191"/>
          <p:cNvSpPr>
            <a:spLocks noChangeAspect="1"/>
          </p:cNvSpPr>
          <p:nvPr userDrawn="1"/>
        </p:nvSpPr>
        <p:spPr>
          <a:xfrm>
            <a:off x="3239211" y="3441661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3" name="Oval 192"/>
          <p:cNvSpPr>
            <a:spLocks noChangeAspect="1"/>
          </p:cNvSpPr>
          <p:nvPr userDrawn="1"/>
        </p:nvSpPr>
        <p:spPr>
          <a:xfrm>
            <a:off x="2482790" y="2393890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4" name="Oval 193"/>
          <p:cNvSpPr>
            <a:spLocks noChangeAspect="1"/>
          </p:cNvSpPr>
          <p:nvPr userDrawn="1"/>
        </p:nvSpPr>
        <p:spPr>
          <a:xfrm>
            <a:off x="2532340" y="3866331"/>
            <a:ext cx="266973" cy="258800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5" name="Oval 194"/>
          <p:cNvSpPr>
            <a:spLocks noChangeAspect="1"/>
          </p:cNvSpPr>
          <p:nvPr userDrawn="1"/>
        </p:nvSpPr>
        <p:spPr>
          <a:xfrm>
            <a:off x="2336107" y="2827138"/>
            <a:ext cx="392467" cy="380452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6" name="Oval 195"/>
          <p:cNvSpPr>
            <a:spLocks noChangeAspect="1"/>
          </p:cNvSpPr>
          <p:nvPr userDrawn="1"/>
        </p:nvSpPr>
        <p:spPr>
          <a:xfrm>
            <a:off x="2035423" y="2657649"/>
            <a:ext cx="182463" cy="176876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7" name="Oval 196"/>
          <p:cNvSpPr>
            <a:spLocks noChangeAspect="1"/>
          </p:cNvSpPr>
          <p:nvPr userDrawn="1"/>
        </p:nvSpPr>
        <p:spPr>
          <a:xfrm>
            <a:off x="1946683" y="3312759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8" name="Oval 197"/>
          <p:cNvSpPr>
            <a:spLocks noChangeAspect="1"/>
          </p:cNvSpPr>
          <p:nvPr userDrawn="1"/>
        </p:nvSpPr>
        <p:spPr>
          <a:xfrm>
            <a:off x="2189162" y="4224076"/>
            <a:ext cx="356788" cy="345865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9" name="Oval 198"/>
          <p:cNvSpPr>
            <a:spLocks noChangeAspect="1"/>
          </p:cNvSpPr>
          <p:nvPr userDrawn="1"/>
        </p:nvSpPr>
        <p:spPr>
          <a:xfrm>
            <a:off x="1896762" y="4267610"/>
            <a:ext cx="133487" cy="129399"/>
          </a:xfrm>
          <a:prstGeom prst="ellipse">
            <a:avLst/>
          </a:prstGeom>
          <a:solidFill>
            <a:srgbClr val="019ADD"/>
          </a:solidFill>
          <a:ln w="3175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0" name="Oval 199"/>
          <p:cNvSpPr>
            <a:spLocks noChangeAspect="1"/>
          </p:cNvSpPr>
          <p:nvPr userDrawn="1"/>
        </p:nvSpPr>
        <p:spPr>
          <a:xfrm>
            <a:off x="2873814" y="4493347"/>
            <a:ext cx="266973" cy="258800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1" name="Oval 200"/>
          <p:cNvSpPr>
            <a:spLocks noChangeAspect="1"/>
          </p:cNvSpPr>
          <p:nvPr userDrawn="1"/>
        </p:nvSpPr>
        <p:spPr>
          <a:xfrm>
            <a:off x="1914530" y="4028626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2" name="Oval 201"/>
          <p:cNvSpPr>
            <a:spLocks noChangeAspect="1"/>
          </p:cNvSpPr>
          <p:nvPr userDrawn="1"/>
        </p:nvSpPr>
        <p:spPr>
          <a:xfrm>
            <a:off x="2119238" y="4706900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3" name="Oval 202"/>
          <p:cNvSpPr>
            <a:spLocks noChangeAspect="1"/>
          </p:cNvSpPr>
          <p:nvPr userDrawn="1"/>
        </p:nvSpPr>
        <p:spPr>
          <a:xfrm>
            <a:off x="1963506" y="5042879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4" name="Oval 203"/>
          <p:cNvSpPr>
            <a:spLocks noChangeAspect="1"/>
          </p:cNvSpPr>
          <p:nvPr userDrawn="1"/>
        </p:nvSpPr>
        <p:spPr>
          <a:xfrm>
            <a:off x="6096980" y="3363449"/>
            <a:ext cx="324353" cy="314423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" name="Oval 204"/>
          <p:cNvSpPr>
            <a:spLocks noChangeAspect="1"/>
          </p:cNvSpPr>
          <p:nvPr userDrawn="1"/>
        </p:nvSpPr>
        <p:spPr>
          <a:xfrm>
            <a:off x="6660873" y="3384182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6" name="Oval 205"/>
          <p:cNvSpPr>
            <a:spLocks noChangeAspect="1"/>
          </p:cNvSpPr>
          <p:nvPr userDrawn="1"/>
        </p:nvSpPr>
        <p:spPr>
          <a:xfrm>
            <a:off x="6538427" y="3743926"/>
            <a:ext cx="220639" cy="213884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7" name="Oval 206"/>
          <p:cNvSpPr>
            <a:spLocks noChangeAspect="1"/>
          </p:cNvSpPr>
          <p:nvPr userDrawn="1"/>
        </p:nvSpPr>
        <p:spPr>
          <a:xfrm>
            <a:off x="5726791" y="3675023"/>
            <a:ext cx="392467" cy="380452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8" name="Oval 207"/>
          <p:cNvSpPr>
            <a:spLocks noChangeAspect="1"/>
          </p:cNvSpPr>
          <p:nvPr userDrawn="1"/>
        </p:nvSpPr>
        <p:spPr>
          <a:xfrm>
            <a:off x="5544329" y="3579997"/>
            <a:ext cx="182463" cy="176876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9" name="Oval 208"/>
          <p:cNvSpPr>
            <a:spLocks noChangeAspect="1"/>
          </p:cNvSpPr>
          <p:nvPr userDrawn="1"/>
        </p:nvSpPr>
        <p:spPr>
          <a:xfrm>
            <a:off x="5373311" y="3850869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0" name="Oval 209"/>
          <p:cNvSpPr>
            <a:spLocks noChangeAspect="1"/>
          </p:cNvSpPr>
          <p:nvPr userDrawn="1"/>
        </p:nvSpPr>
        <p:spPr>
          <a:xfrm>
            <a:off x="5446923" y="3351053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1" name="Oval 210"/>
          <p:cNvSpPr>
            <a:spLocks noChangeAspect="1"/>
          </p:cNvSpPr>
          <p:nvPr userDrawn="1"/>
        </p:nvSpPr>
        <p:spPr>
          <a:xfrm>
            <a:off x="5226747" y="3211922"/>
            <a:ext cx="133487" cy="129399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2" name="Oval 211"/>
          <p:cNvSpPr>
            <a:spLocks noChangeAspect="1"/>
          </p:cNvSpPr>
          <p:nvPr userDrawn="1"/>
        </p:nvSpPr>
        <p:spPr>
          <a:xfrm>
            <a:off x="5267185" y="3377458"/>
            <a:ext cx="133487" cy="129399"/>
          </a:xfrm>
          <a:prstGeom prst="ellipse">
            <a:avLst/>
          </a:prstGeom>
          <a:solidFill>
            <a:srgbClr val="6BC2ED"/>
          </a:solidFill>
          <a:ln w="3175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3" name="Oval 212"/>
          <p:cNvSpPr>
            <a:spLocks noChangeAspect="1"/>
          </p:cNvSpPr>
          <p:nvPr userDrawn="1"/>
        </p:nvSpPr>
        <p:spPr>
          <a:xfrm>
            <a:off x="7483048" y="3472699"/>
            <a:ext cx="324353" cy="314423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4" name="Oval 213"/>
          <p:cNvSpPr>
            <a:spLocks noChangeAspect="1"/>
          </p:cNvSpPr>
          <p:nvPr userDrawn="1"/>
        </p:nvSpPr>
        <p:spPr>
          <a:xfrm>
            <a:off x="8122212" y="3468001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5" name="Oval 214"/>
          <p:cNvSpPr>
            <a:spLocks noChangeAspect="1"/>
          </p:cNvSpPr>
          <p:nvPr userDrawn="1"/>
        </p:nvSpPr>
        <p:spPr>
          <a:xfrm>
            <a:off x="8356175" y="3629652"/>
            <a:ext cx="266973" cy="258800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6" name="Oval 215"/>
          <p:cNvSpPr>
            <a:spLocks noChangeAspect="1"/>
          </p:cNvSpPr>
          <p:nvPr userDrawn="1"/>
        </p:nvSpPr>
        <p:spPr>
          <a:xfrm>
            <a:off x="7194305" y="3689141"/>
            <a:ext cx="220639" cy="213884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7" name="Oval 216"/>
          <p:cNvSpPr>
            <a:spLocks noChangeAspect="1"/>
          </p:cNvSpPr>
          <p:nvPr userDrawn="1"/>
        </p:nvSpPr>
        <p:spPr>
          <a:xfrm>
            <a:off x="7882669" y="3463229"/>
            <a:ext cx="133487" cy="129399"/>
          </a:xfrm>
          <a:prstGeom prst="ellipse">
            <a:avLst/>
          </a:prstGeom>
          <a:solidFill>
            <a:srgbClr val="6BC2ED"/>
          </a:solidFill>
          <a:ln w="3175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8" name="Oval 217"/>
          <p:cNvSpPr>
            <a:spLocks noChangeAspect="1"/>
          </p:cNvSpPr>
          <p:nvPr userDrawn="1"/>
        </p:nvSpPr>
        <p:spPr>
          <a:xfrm>
            <a:off x="7260966" y="3421222"/>
            <a:ext cx="182463" cy="176876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9" name="Oval 218"/>
          <p:cNvSpPr>
            <a:spLocks noChangeAspect="1"/>
          </p:cNvSpPr>
          <p:nvPr userDrawn="1"/>
        </p:nvSpPr>
        <p:spPr>
          <a:xfrm>
            <a:off x="6843334" y="3748322"/>
            <a:ext cx="182463" cy="176876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0" name="Oval 219"/>
          <p:cNvSpPr>
            <a:spLocks noChangeAspect="1"/>
          </p:cNvSpPr>
          <p:nvPr userDrawn="1"/>
        </p:nvSpPr>
        <p:spPr>
          <a:xfrm>
            <a:off x="9543947" y="3550691"/>
            <a:ext cx="265744" cy="257608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1" name="Oval 220"/>
          <p:cNvSpPr>
            <a:spLocks noChangeAspect="1"/>
          </p:cNvSpPr>
          <p:nvPr userDrawn="1"/>
        </p:nvSpPr>
        <p:spPr>
          <a:xfrm>
            <a:off x="8673938" y="3523643"/>
            <a:ext cx="321549" cy="311705"/>
          </a:xfrm>
          <a:prstGeom prst="ellipse">
            <a:avLst/>
          </a:prstGeom>
          <a:solidFill>
            <a:srgbClr val="6BC2ED"/>
          </a:solidFill>
          <a:ln w="12700" cap="flat" cmpd="sng" algn="ctr">
            <a:noFill/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2" name="Group 221"/>
          <p:cNvGrpSpPr/>
          <p:nvPr userDrawn="1"/>
        </p:nvGrpSpPr>
        <p:grpSpPr>
          <a:xfrm>
            <a:off x="1807196" y="2203666"/>
            <a:ext cx="7618629" cy="2680111"/>
            <a:chOff x="1686475" y="2147235"/>
            <a:chExt cx="7828318" cy="2840849"/>
          </a:xfrm>
        </p:grpSpPr>
        <p:sp>
          <p:nvSpPr>
            <p:cNvPr id="223" name="Oval 222"/>
            <p:cNvSpPr>
              <a:spLocks noChangeAspect="1"/>
            </p:cNvSpPr>
            <p:nvPr/>
          </p:nvSpPr>
          <p:spPr>
            <a:xfrm>
              <a:off x="1827212" y="2147235"/>
              <a:ext cx="403269" cy="403269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4" name="Oval 223"/>
            <p:cNvSpPr>
              <a:spLocks noChangeAspect="1"/>
            </p:cNvSpPr>
            <p:nvPr/>
          </p:nvSpPr>
          <p:spPr>
            <a:xfrm>
              <a:off x="2939939" y="3741416"/>
              <a:ext cx="187484" cy="187484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5" name="Oval 224"/>
            <p:cNvSpPr>
              <a:spLocks noChangeAspect="1"/>
            </p:cNvSpPr>
            <p:nvPr/>
          </p:nvSpPr>
          <p:spPr>
            <a:xfrm>
              <a:off x="4297610" y="3900857"/>
              <a:ext cx="333280" cy="333280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6" name="Oval 225"/>
            <p:cNvSpPr>
              <a:spLocks noChangeAspect="1"/>
            </p:cNvSpPr>
            <p:nvPr/>
          </p:nvSpPr>
          <p:spPr>
            <a:xfrm>
              <a:off x="3584789" y="3442988"/>
              <a:ext cx="226712" cy="226712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7" name="Oval 226"/>
            <p:cNvSpPr>
              <a:spLocks noChangeAspect="1"/>
            </p:cNvSpPr>
            <p:nvPr/>
          </p:nvSpPr>
          <p:spPr>
            <a:xfrm>
              <a:off x="3526992" y="4455609"/>
              <a:ext cx="137160" cy="137160"/>
            </a:xfrm>
            <a:prstGeom prst="ellipse">
              <a:avLst/>
            </a:prstGeom>
            <a:solidFill>
              <a:srgbClr val="0779B7"/>
            </a:solidFill>
            <a:ln w="3175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8" name="Oval 227"/>
            <p:cNvSpPr>
              <a:spLocks noChangeAspect="1"/>
            </p:cNvSpPr>
            <p:nvPr/>
          </p:nvSpPr>
          <p:spPr>
            <a:xfrm>
              <a:off x="4533122" y="3103958"/>
              <a:ext cx="226712" cy="226712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9" name="Oval 228"/>
            <p:cNvSpPr>
              <a:spLocks noChangeAspect="1"/>
            </p:cNvSpPr>
            <p:nvPr/>
          </p:nvSpPr>
          <p:spPr>
            <a:xfrm>
              <a:off x="1962154" y="3657600"/>
              <a:ext cx="403269" cy="403269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0" name="Oval 229"/>
            <p:cNvSpPr>
              <a:spLocks noChangeAspect="1"/>
            </p:cNvSpPr>
            <p:nvPr/>
          </p:nvSpPr>
          <p:spPr>
            <a:xfrm>
              <a:off x="2758493" y="3175540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1" name="Oval 230"/>
            <p:cNvSpPr>
              <a:spLocks noChangeAspect="1"/>
            </p:cNvSpPr>
            <p:nvPr/>
          </p:nvSpPr>
          <p:spPr>
            <a:xfrm>
              <a:off x="1755823" y="2942993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2" name="Oval 231"/>
            <p:cNvSpPr>
              <a:spLocks noChangeAspect="1"/>
            </p:cNvSpPr>
            <p:nvPr/>
          </p:nvSpPr>
          <p:spPr>
            <a:xfrm>
              <a:off x="3154733" y="2722188"/>
              <a:ext cx="137160" cy="137160"/>
            </a:xfrm>
            <a:prstGeom prst="ellipse">
              <a:avLst/>
            </a:prstGeom>
            <a:solidFill>
              <a:srgbClr val="0779B7"/>
            </a:solidFill>
            <a:ln w="3175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3" name="Oval 232"/>
            <p:cNvSpPr>
              <a:spLocks noChangeAspect="1"/>
            </p:cNvSpPr>
            <p:nvPr/>
          </p:nvSpPr>
          <p:spPr>
            <a:xfrm>
              <a:off x="2441623" y="2606040"/>
              <a:ext cx="137160" cy="137160"/>
            </a:xfrm>
            <a:prstGeom prst="ellipse">
              <a:avLst/>
            </a:prstGeom>
            <a:solidFill>
              <a:srgbClr val="0779B7"/>
            </a:solidFill>
            <a:ln w="3175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4" name="Oval 233"/>
            <p:cNvSpPr>
              <a:spLocks noChangeAspect="1"/>
            </p:cNvSpPr>
            <p:nvPr/>
          </p:nvSpPr>
          <p:spPr>
            <a:xfrm>
              <a:off x="2439240" y="4800600"/>
              <a:ext cx="187484" cy="187484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5" name="Oval 234"/>
            <p:cNvSpPr>
              <a:spLocks noChangeAspect="1"/>
            </p:cNvSpPr>
            <p:nvPr/>
          </p:nvSpPr>
          <p:spPr>
            <a:xfrm>
              <a:off x="2609904" y="4249401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235"/>
            <p:cNvSpPr>
              <a:spLocks noChangeAspect="1"/>
            </p:cNvSpPr>
            <p:nvPr/>
          </p:nvSpPr>
          <p:spPr>
            <a:xfrm>
              <a:off x="1686475" y="4684290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Oval 236"/>
            <p:cNvSpPr>
              <a:spLocks noChangeAspect="1"/>
            </p:cNvSpPr>
            <p:nvPr/>
          </p:nvSpPr>
          <p:spPr>
            <a:xfrm>
              <a:off x="6188280" y="3794759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Oval 237"/>
            <p:cNvSpPr>
              <a:spLocks noChangeAspect="1"/>
            </p:cNvSpPr>
            <p:nvPr/>
          </p:nvSpPr>
          <p:spPr>
            <a:xfrm>
              <a:off x="5737753" y="3359782"/>
              <a:ext cx="226712" cy="226712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Oval 238"/>
            <p:cNvSpPr>
              <a:spLocks noChangeAspect="1"/>
            </p:cNvSpPr>
            <p:nvPr/>
          </p:nvSpPr>
          <p:spPr>
            <a:xfrm>
              <a:off x="6496847" y="3581141"/>
              <a:ext cx="137160" cy="137160"/>
            </a:xfrm>
            <a:prstGeom prst="ellipse">
              <a:avLst/>
            </a:prstGeom>
            <a:solidFill>
              <a:srgbClr val="0779B7"/>
            </a:solidFill>
            <a:ln w="3175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0" name="Oval 239"/>
            <p:cNvSpPr>
              <a:spLocks noChangeAspect="1"/>
            </p:cNvSpPr>
            <p:nvPr/>
          </p:nvSpPr>
          <p:spPr>
            <a:xfrm>
              <a:off x="5196917" y="3613909"/>
              <a:ext cx="226712" cy="226712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1" name="Oval 240"/>
            <p:cNvSpPr>
              <a:spLocks noChangeAspect="1"/>
            </p:cNvSpPr>
            <p:nvPr/>
          </p:nvSpPr>
          <p:spPr>
            <a:xfrm>
              <a:off x="7958502" y="3688079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2" name="Oval 241"/>
            <p:cNvSpPr>
              <a:spLocks noChangeAspect="1"/>
            </p:cNvSpPr>
            <p:nvPr/>
          </p:nvSpPr>
          <p:spPr>
            <a:xfrm>
              <a:off x="8406202" y="3494065"/>
              <a:ext cx="137160" cy="137160"/>
            </a:xfrm>
            <a:prstGeom prst="ellipse">
              <a:avLst/>
            </a:prstGeom>
            <a:solidFill>
              <a:srgbClr val="0779B7"/>
            </a:solidFill>
            <a:ln w="3175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3" name="Oval 242"/>
            <p:cNvSpPr>
              <a:spLocks noChangeAspect="1"/>
            </p:cNvSpPr>
            <p:nvPr/>
          </p:nvSpPr>
          <p:spPr>
            <a:xfrm>
              <a:off x="6923728" y="3400562"/>
              <a:ext cx="274321" cy="274321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4" name="Oval 243"/>
            <p:cNvSpPr>
              <a:spLocks noChangeAspect="1"/>
            </p:cNvSpPr>
            <p:nvPr/>
          </p:nvSpPr>
          <p:spPr>
            <a:xfrm>
              <a:off x="9214429" y="3561396"/>
              <a:ext cx="300364" cy="300364"/>
            </a:xfrm>
            <a:prstGeom prst="ellipse">
              <a:avLst/>
            </a:prstGeom>
            <a:solidFill>
              <a:srgbClr val="0779B7"/>
            </a:solidFill>
            <a:ln w="12700" cap="flat" cmpd="sng" algn="ctr">
              <a:solidFill>
                <a:srgbClr val="595959">
                  <a:lumMod val="75000"/>
                </a:srgbClr>
              </a:solidFill>
              <a:prstDash val="solid"/>
            </a:ln>
            <a:effectLst>
              <a:outerShdw blurRad="381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625275">
                <a:defRPr/>
              </a:pPr>
              <a:endParaRPr lang="en-US" sz="32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45" name="Oval 244"/>
          <p:cNvSpPr>
            <a:spLocks noChangeAspect="1"/>
          </p:cNvSpPr>
          <p:nvPr userDrawn="1"/>
        </p:nvSpPr>
        <p:spPr>
          <a:xfrm>
            <a:off x="5072851" y="3851493"/>
            <a:ext cx="220639" cy="213884"/>
          </a:xfrm>
          <a:prstGeom prst="ellipse">
            <a:avLst/>
          </a:prstGeom>
          <a:solidFill>
            <a:srgbClr val="019ADD"/>
          </a:solidFill>
          <a:ln w="12700" cap="flat" cmpd="sng" algn="ctr">
            <a:solidFill>
              <a:srgbClr val="019ADD"/>
            </a:solidFill>
            <a:prstDash val="solid"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275">
              <a:defRPr/>
            </a:pPr>
            <a:endParaRPr lang="en-US" sz="3200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3" name="Right Arrow 252"/>
          <p:cNvSpPr/>
          <p:nvPr userDrawn="1"/>
        </p:nvSpPr>
        <p:spPr>
          <a:xfrm>
            <a:off x="349580" y="3043480"/>
            <a:ext cx="1467025" cy="1210331"/>
          </a:xfrm>
          <a:prstGeom prst="rightArrow">
            <a:avLst/>
          </a:prstGeom>
          <a:solidFill>
            <a:srgbClr val="FFFFFF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1867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4" name="Right Arrow 253"/>
          <p:cNvSpPr/>
          <p:nvPr userDrawn="1"/>
        </p:nvSpPr>
        <p:spPr>
          <a:xfrm>
            <a:off x="10230736" y="3043480"/>
            <a:ext cx="1467025" cy="1210331"/>
          </a:xfrm>
          <a:prstGeom prst="rightArrow">
            <a:avLst/>
          </a:prstGeom>
          <a:solidFill>
            <a:srgbClr val="FFFFFF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625275">
              <a:defRPr/>
            </a:pPr>
            <a:endParaRPr lang="en-US" sz="1867" kern="0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36630" y="1506700"/>
            <a:ext cx="1506540" cy="43251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118275" y="1509221"/>
            <a:ext cx="1506540" cy="43251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911222" y="1499484"/>
            <a:ext cx="1506540" cy="432515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337075" y="5199614"/>
            <a:ext cx="1506540" cy="1234020"/>
          </a:xfrm>
        </p:spPr>
        <p:txBody>
          <a:bodyPr anchor="ctr">
            <a:noAutofit/>
          </a:bodyPr>
          <a:lstStyle>
            <a:lvl1pPr marL="241294" marR="0" indent="-241294" algn="l" defTabSz="603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67B2"/>
              </a:buClr>
              <a:buSzTx/>
              <a:buFont typeface="Arial" panose="020B0604020202020204" pitchFamily="34" charset="0"/>
              <a:buChar char="•"/>
              <a:tabLst/>
              <a:defRPr sz="1867"/>
            </a:lvl1pPr>
          </a:lstStyle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18275" y="4477691"/>
            <a:ext cx="1506540" cy="1234020"/>
          </a:xfrm>
        </p:spPr>
        <p:txBody>
          <a:bodyPr anchor="ctr">
            <a:noAutofit/>
          </a:bodyPr>
          <a:lstStyle>
            <a:lvl1pPr marL="241294" marR="0" indent="-241294" algn="l" defTabSz="603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67B2"/>
              </a:buClr>
              <a:buSzTx/>
              <a:buFont typeface="Arial" panose="020B0604020202020204" pitchFamily="34" charset="0"/>
              <a:buChar char="•"/>
              <a:tabLst/>
              <a:defRPr sz="1867"/>
            </a:lvl1pPr>
          </a:lstStyle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911222" y="4172489"/>
            <a:ext cx="1506540" cy="1234020"/>
          </a:xfrm>
        </p:spPr>
        <p:txBody>
          <a:bodyPr anchor="ctr">
            <a:noAutofit/>
          </a:bodyPr>
          <a:lstStyle>
            <a:lvl1pPr marL="241294" marR="0" indent="-241294" algn="l" defTabSz="603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E67B2"/>
              </a:buClr>
              <a:buSzTx/>
              <a:buFont typeface="Arial" panose="020B0604020202020204" pitchFamily="34" charset="0"/>
              <a:buChar char="•"/>
              <a:tabLst/>
              <a:defRPr sz="1867"/>
            </a:lvl1pPr>
          </a:lstStyle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</a:p>
          <a:p>
            <a:pPr lvl="0"/>
            <a:r>
              <a:rPr lang="en-US" dirty="0"/>
              <a:t>Edit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721854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 Roadm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grpSp>
        <p:nvGrpSpPr>
          <p:cNvPr id="87" name="Group 86"/>
          <p:cNvGrpSpPr/>
          <p:nvPr userDrawn="1"/>
        </p:nvGrpSpPr>
        <p:grpSpPr>
          <a:xfrm>
            <a:off x="2118" y="1641696"/>
            <a:ext cx="8821449" cy="5103488"/>
            <a:chOff x="0" y="1371600"/>
            <a:chExt cx="8661400" cy="5527676"/>
          </a:xfrm>
        </p:grpSpPr>
        <p:sp>
          <p:nvSpPr>
            <p:cNvPr id="88" name="Freeform 5"/>
            <p:cNvSpPr>
              <a:spLocks/>
            </p:cNvSpPr>
            <p:nvPr/>
          </p:nvSpPr>
          <p:spPr bwMode="auto">
            <a:xfrm>
              <a:off x="0" y="1371600"/>
              <a:ext cx="8661400" cy="5527675"/>
            </a:xfrm>
            <a:custGeom>
              <a:avLst/>
              <a:gdLst>
                <a:gd name="T0" fmla="*/ 3413 w 3414"/>
                <a:gd name="T1" fmla="*/ 2170 h 2178"/>
                <a:gd name="T2" fmla="*/ 1832 w 3414"/>
                <a:gd name="T3" fmla="*/ 1121 h 2178"/>
                <a:gd name="T4" fmla="*/ 1340 w 3414"/>
                <a:gd name="T5" fmla="*/ 1124 h 2178"/>
                <a:gd name="T6" fmla="*/ 746 w 3414"/>
                <a:gd name="T7" fmla="*/ 1045 h 2178"/>
                <a:gd name="T8" fmla="*/ 708 w 3414"/>
                <a:gd name="T9" fmla="*/ 983 h 2178"/>
                <a:gd name="T10" fmla="*/ 722 w 3414"/>
                <a:gd name="T11" fmla="*/ 913 h 2178"/>
                <a:gd name="T12" fmla="*/ 765 w 3414"/>
                <a:gd name="T13" fmla="*/ 873 h 2178"/>
                <a:gd name="T14" fmla="*/ 833 w 3414"/>
                <a:gd name="T15" fmla="*/ 837 h 2178"/>
                <a:gd name="T16" fmla="*/ 1150 w 3414"/>
                <a:gd name="T17" fmla="*/ 745 h 2178"/>
                <a:gd name="T18" fmla="*/ 1521 w 3414"/>
                <a:gd name="T19" fmla="*/ 516 h 2178"/>
                <a:gd name="T20" fmla="*/ 1494 w 3414"/>
                <a:gd name="T21" fmla="*/ 320 h 2178"/>
                <a:gd name="T22" fmla="*/ 1110 w 3414"/>
                <a:gd name="T23" fmla="*/ 129 h 2178"/>
                <a:gd name="T24" fmla="*/ 597 w 3414"/>
                <a:gd name="T25" fmla="*/ 43 h 2178"/>
                <a:gd name="T26" fmla="*/ 0 w 3414"/>
                <a:gd name="T27" fmla="*/ 0 h 2178"/>
                <a:gd name="T28" fmla="*/ 0 w 3414"/>
                <a:gd name="T29" fmla="*/ 209 h 2178"/>
                <a:gd name="T30" fmla="*/ 207 w 3414"/>
                <a:gd name="T31" fmla="*/ 220 h 2178"/>
                <a:gd name="T32" fmla="*/ 292 w 3414"/>
                <a:gd name="T33" fmla="*/ 226 h 2178"/>
                <a:gd name="T34" fmla="*/ 567 w 3414"/>
                <a:gd name="T35" fmla="*/ 241 h 2178"/>
                <a:gd name="T36" fmla="*/ 684 w 3414"/>
                <a:gd name="T37" fmla="*/ 249 h 2178"/>
                <a:gd name="T38" fmla="*/ 1013 w 3414"/>
                <a:gd name="T39" fmla="*/ 394 h 2178"/>
                <a:gd name="T40" fmla="*/ 904 w 3414"/>
                <a:gd name="T41" fmla="*/ 523 h 2178"/>
                <a:gd name="T42" fmla="*/ 817 w 3414"/>
                <a:gd name="T43" fmla="*/ 554 h 2178"/>
                <a:gd name="T44" fmla="*/ 117 w 3414"/>
                <a:gd name="T45" fmla="*/ 858 h 2178"/>
                <a:gd name="T46" fmla="*/ 72 w 3414"/>
                <a:gd name="T47" fmla="*/ 920 h 2178"/>
                <a:gd name="T48" fmla="*/ 47 w 3414"/>
                <a:gd name="T49" fmla="*/ 990 h 2178"/>
                <a:gd name="T50" fmla="*/ 52 w 3414"/>
                <a:gd name="T51" fmla="*/ 1121 h 2178"/>
                <a:gd name="T52" fmla="*/ 849 w 3414"/>
                <a:gd name="T53" fmla="*/ 1485 h 2178"/>
                <a:gd name="T54" fmla="*/ 1613 w 3414"/>
                <a:gd name="T55" fmla="*/ 1541 h 2178"/>
                <a:gd name="T56" fmla="*/ 2144 w 3414"/>
                <a:gd name="T57" fmla="*/ 1848 h 2178"/>
                <a:gd name="T58" fmla="*/ 2125 w 3414"/>
                <a:gd name="T59" fmla="*/ 2178 h 2178"/>
                <a:gd name="T60" fmla="*/ 3414 w 3414"/>
                <a:gd name="T61" fmla="*/ 2178 h 2178"/>
                <a:gd name="T62" fmla="*/ 3413 w 3414"/>
                <a:gd name="T63" fmla="*/ 2170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14" h="2178">
                  <a:moveTo>
                    <a:pt x="3413" y="2170"/>
                  </a:moveTo>
                  <a:cubicBezTo>
                    <a:pt x="3269" y="1591"/>
                    <a:pt x="2632" y="1151"/>
                    <a:pt x="1832" y="1121"/>
                  </a:cubicBezTo>
                  <a:cubicBezTo>
                    <a:pt x="1670" y="1115"/>
                    <a:pt x="1503" y="1126"/>
                    <a:pt x="1340" y="1124"/>
                  </a:cubicBezTo>
                  <a:cubicBezTo>
                    <a:pt x="1182" y="1123"/>
                    <a:pt x="859" y="1139"/>
                    <a:pt x="746" y="1045"/>
                  </a:cubicBezTo>
                  <a:cubicBezTo>
                    <a:pt x="726" y="1028"/>
                    <a:pt x="713" y="1006"/>
                    <a:pt x="708" y="983"/>
                  </a:cubicBezTo>
                  <a:cubicBezTo>
                    <a:pt x="704" y="960"/>
                    <a:pt x="708" y="935"/>
                    <a:pt x="722" y="913"/>
                  </a:cubicBezTo>
                  <a:cubicBezTo>
                    <a:pt x="731" y="899"/>
                    <a:pt x="746" y="885"/>
                    <a:pt x="765" y="873"/>
                  </a:cubicBezTo>
                  <a:cubicBezTo>
                    <a:pt x="784" y="860"/>
                    <a:pt x="807" y="848"/>
                    <a:pt x="833" y="837"/>
                  </a:cubicBezTo>
                  <a:cubicBezTo>
                    <a:pt x="934" y="793"/>
                    <a:pt x="1075" y="764"/>
                    <a:pt x="1150" y="745"/>
                  </a:cubicBezTo>
                  <a:cubicBezTo>
                    <a:pt x="1308" y="706"/>
                    <a:pt x="1471" y="645"/>
                    <a:pt x="1521" y="516"/>
                  </a:cubicBezTo>
                  <a:cubicBezTo>
                    <a:pt x="1548" y="448"/>
                    <a:pt x="1540" y="377"/>
                    <a:pt x="1494" y="320"/>
                  </a:cubicBezTo>
                  <a:cubicBezTo>
                    <a:pt x="1405" y="209"/>
                    <a:pt x="1242" y="163"/>
                    <a:pt x="1110" y="129"/>
                  </a:cubicBezTo>
                  <a:cubicBezTo>
                    <a:pt x="942" y="86"/>
                    <a:pt x="769" y="62"/>
                    <a:pt x="597" y="43"/>
                  </a:cubicBezTo>
                  <a:cubicBezTo>
                    <a:pt x="398" y="21"/>
                    <a:pt x="200" y="6"/>
                    <a:pt x="0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73" y="216"/>
                    <a:pt x="134" y="215"/>
                    <a:pt x="207" y="220"/>
                  </a:cubicBezTo>
                  <a:cubicBezTo>
                    <a:pt x="230" y="221"/>
                    <a:pt x="268" y="224"/>
                    <a:pt x="292" y="226"/>
                  </a:cubicBezTo>
                  <a:cubicBezTo>
                    <a:pt x="399" y="230"/>
                    <a:pt x="461" y="236"/>
                    <a:pt x="567" y="241"/>
                  </a:cubicBezTo>
                  <a:cubicBezTo>
                    <a:pt x="585" y="243"/>
                    <a:pt x="660" y="247"/>
                    <a:pt x="684" y="249"/>
                  </a:cubicBezTo>
                  <a:cubicBezTo>
                    <a:pt x="804" y="259"/>
                    <a:pt x="987" y="285"/>
                    <a:pt x="1013" y="394"/>
                  </a:cubicBezTo>
                  <a:cubicBezTo>
                    <a:pt x="1027" y="450"/>
                    <a:pt x="985" y="488"/>
                    <a:pt x="904" y="523"/>
                  </a:cubicBezTo>
                  <a:cubicBezTo>
                    <a:pt x="877" y="535"/>
                    <a:pt x="848" y="545"/>
                    <a:pt x="817" y="554"/>
                  </a:cubicBezTo>
                  <a:cubicBezTo>
                    <a:pt x="575" y="629"/>
                    <a:pt x="293" y="654"/>
                    <a:pt x="117" y="858"/>
                  </a:cubicBezTo>
                  <a:cubicBezTo>
                    <a:pt x="101" y="877"/>
                    <a:pt x="86" y="897"/>
                    <a:pt x="72" y="920"/>
                  </a:cubicBezTo>
                  <a:cubicBezTo>
                    <a:pt x="61" y="942"/>
                    <a:pt x="53" y="965"/>
                    <a:pt x="47" y="990"/>
                  </a:cubicBezTo>
                  <a:cubicBezTo>
                    <a:pt x="37" y="1031"/>
                    <a:pt x="38" y="1075"/>
                    <a:pt x="52" y="1121"/>
                  </a:cubicBezTo>
                  <a:cubicBezTo>
                    <a:pt x="131" y="1375"/>
                    <a:pt x="560" y="1449"/>
                    <a:pt x="849" y="1485"/>
                  </a:cubicBezTo>
                  <a:cubicBezTo>
                    <a:pt x="1101" y="1516"/>
                    <a:pt x="1361" y="1512"/>
                    <a:pt x="1613" y="1541"/>
                  </a:cubicBezTo>
                  <a:cubicBezTo>
                    <a:pt x="1884" y="1572"/>
                    <a:pt x="2086" y="1700"/>
                    <a:pt x="2144" y="1848"/>
                  </a:cubicBezTo>
                  <a:cubicBezTo>
                    <a:pt x="2185" y="1953"/>
                    <a:pt x="2172" y="2070"/>
                    <a:pt x="2125" y="2178"/>
                  </a:cubicBezTo>
                  <a:cubicBezTo>
                    <a:pt x="3414" y="2178"/>
                    <a:pt x="3414" y="2178"/>
                    <a:pt x="3414" y="2178"/>
                  </a:cubicBezTo>
                  <a:cubicBezTo>
                    <a:pt x="3414" y="2176"/>
                    <a:pt x="3413" y="2173"/>
                    <a:pt x="3413" y="217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Freeform 6"/>
            <p:cNvSpPr>
              <a:spLocks/>
            </p:cNvSpPr>
            <p:nvPr/>
          </p:nvSpPr>
          <p:spPr bwMode="auto">
            <a:xfrm>
              <a:off x="0" y="1452563"/>
              <a:ext cx="8556625" cy="5446713"/>
            </a:xfrm>
            <a:custGeom>
              <a:avLst/>
              <a:gdLst>
                <a:gd name="T0" fmla="*/ 3261 w 3373"/>
                <a:gd name="T1" fmla="*/ 1875 h 2146"/>
                <a:gd name="T2" fmla="*/ 3165 w 3373"/>
                <a:gd name="T3" fmla="*/ 1736 h 2146"/>
                <a:gd name="T4" fmla="*/ 3059 w 3373"/>
                <a:gd name="T5" fmla="*/ 1619 h 2146"/>
                <a:gd name="T6" fmla="*/ 2870 w 3373"/>
                <a:gd name="T7" fmla="*/ 1463 h 2146"/>
                <a:gd name="T8" fmla="*/ 2702 w 3373"/>
                <a:gd name="T9" fmla="*/ 1359 h 2146"/>
                <a:gd name="T10" fmla="*/ 2492 w 3373"/>
                <a:gd name="T11" fmla="*/ 1263 h 2146"/>
                <a:gd name="T12" fmla="*/ 2259 w 3373"/>
                <a:gd name="T13" fmla="*/ 1189 h 2146"/>
                <a:gd name="T14" fmla="*/ 2044 w 3373"/>
                <a:gd name="T15" fmla="*/ 1145 h 2146"/>
                <a:gd name="T16" fmla="*/ 1824 w 3373"/>
                <a:gd name="T17" fmla="*/ 1123 h 2146"/>
                <a:gd name="T18" fmla="*/ 1631 w 3373"/>
                <a:gd name="T19" fmla="*/ 1121 h 2146"/>
                <a:gd name="T20" fmla="*/ 1404 w 3373"/>
                <a:gd name="T21" fmla="*/ 1125 h 2146"/>
                <a:gd name="T22" fmla="*/ 1340 w 3373"/>
                <a:gd name="T23" fmla="*/ 1126 h 2146"/>
                <a:gd name="T24" fmla="*/ 1141 w 3373"/>
                <a:gd name="T25" fmla="*/ 1126 h 2146"/>
                <a:gd name="T26" fmla="*/ 924 w 3373"/>
                <a:gd name="T27" fmla="*/ 1113 h 2146"/>
                <a:gd name="T28" fmla="*/ 743 w 3373"/>
                <a:gd name="T29" fmla="*/ 1060 h 2146"/>
                <a:gd name="T30" fmla="*/ 709 w 3373"/>
                <a:gd name="T31" fmla="*/ 1036 h 2146"/>
                <a:gd name="T32" fmla="*/ 675 w 3373"/>
                <a:gd name="T33" fmla="*/ 884 h 2146"/>
                <a:gd name="T34" fmla="*/ 779 w 3373"/>
                <a:gd name="T35" fmla="*/ 792 h 2146"/>
                <a:gd name="T36" fmla="*/ 990 w 3373"/>
                <a:gd name="T37" fmla="*/ 718 h 2146"/>
                <a:gd name="T38" fmla="*/ 1196 w 3373"/>
                <a:gd name="T39" fmla="*/ 666 h 2146"/>
                <a:gd name="T40" fmla="*/ 1397 w 3373"/>
                <a:gd name="T41" fmla="*/ 576 h 2146"/>
                <a:gd name="T42" fmla="*/ 1482 w 3373"/>
                <a:gd name="T43" fmla="*/ 469 h 2146"/>
                <a:gd name="T44" fmla="*/ 1420 w 3373"/>
                <a:gd name="T45" fmla="*/ 262 h 2146"/>
                <a:gd name="T46" fmla="*/ 1275 w 3373"/>
                <a:gd name="T47" fmla="*/ 173 h 2146"/>
                <a:gd name="T48" fmla="*/ 1094 w 3373"/>
                <a:gd name="T49" fmla="*/ 119 h 2146"/>
                <a:gd name="T50" fmla="*/ 1008 w 3373"/>
                <a:gd name="T51" fmla="*/ 98 h 2146"/>
                <a:gd name="T52" fmla="*/ 848 w 3373"/>
                <a:gd name="T53" fmla="*/ 72 h 2146"/>
                <a:gd name="T54" fmla="*/ 629 w 3373"/>
                <a:gd name="T55" fmla="*/ 45 h 2146"/>
                <a:gd name="T56" fmla="*/ 409 w 3373"/>
                <a:gd name="T57" fmla="*/ 20 h 2146"/>
                <a:gd name="T58" fmla="*/ 188 w 3373"/>
                <a:gd name="T59" fmla="*/ 3 h 2146"/>
                <a:gd name="T60" fmla="*/ 45 w 3373"/>
                <a:gd name="T61" fmla="*/ 0 h 2146"/>
                <a:gd name="T62" fmla="*/ 62 w 3373"/>
                <a:gd name="T63" fmla="*/ 9 h 2146"/>
                <a:gd name="T64" fmla="*/ 222 w 3373"/>
                <a:gd name="T65" fmla="*/ 14 h 2146"/>
                <a:gd name="T66" fmla="*/ 443 w 3373"/>
                <a:gd name="T67" fmla="*/ 33 h 2146"/>
                <a:gd name="T68" fmla="*/ 663 w 3373"/>
                <a:gd name="T69" fmla="*/ 58 h 2146"/>
                <a:gd name="T70" fmla="*/ 881 w 3373"/>
                <a:gd name="T71" fmla="*/ 87 h 2146"/>
                <a:gd name="T72" fmla="*/ 1024 w 3373"/>
                <a:gd name="T73" fmla="*/ 111 h 2146"/>
                <a:gd name="T74" fmla="*/ 1127 w 3373"/>
                <a:gd name="T75" fmla="*/ 138 h 2146"/>
                <a:gd name="T76" fmla="*/ 1306 w 3373"/>
                <a:gd name="T77" fmla="*/ 198 h 2146"/>
                <a:gd name="T78" fmla="*/ 1462 w 3373"/>
                <a:gd name="T79" fmla="*/ 335 h 2146"/>
                <a:gd name="T80" fmla="*/ 1456 w 3373"/>
                <a:gd name="T81" fmla="*/ 492 h 2146"/>
                <a:gd name="T82" fmla="*/ 1264 w 3373"/>
                <a:gd name="T83" fmla="*/ 629 h 2146"/>
                <a:gd name="T84" fmla="*/ 1072 w 3373"/>
                <a:gd name="T85" fmla="*/ 683 h 2146"/>
                <a:gd name="T86" fmla="*/ 850 w 3373"/>
                <a:gd name="T87" fmla="*/ 745 h 2146"/>
                <a:gd name="T88" fmla="*/ 691 w 3373"/>
                <a:gd name="T89" fmla="*/ 832 h 2146"/>
                <a:gd name="T90" fmla="*/ 686 w 3373"/>
                <a:gd name="T91" fmla="*/ 1029 h 2146"/>
                <a:gd name="T92" fmla="*/ 717 w 3373"/>
                <a:gd name="T93" fmla="*/ 1057 h 2146"/>
                <a:gd name="T94" fmla="*/ 805 w 3373"/>
                <a:gd name="T95" fmla="*/ 1102 h 2146"/>
                <a:gd name="T96" fmla="*/ 1008 w 3373"/>
                <a:gd name="T97" fmla="*/ 1136 h 2146"/>
                <a:gd name="T98" fmla="*/ 1212 w 3373"/>
                <a:gd name="T99" fmla="*/ 1142 h 2146"/>
                <a:gd name="T100" fmla="*/ 1360 w 3373"/>
                <a:gd name="T101" fmla="*/ 1143 h 2146"/>
                <a:gd name="T102" fmla="*/ 1470 w 3373"/>
                <a:gd name="T103" fmla="*/ 1141 h 2146"/>
                <a:gd name="T104" fmla="*/ 1696 w 3373"/>
                <a:gd name="T105" fmla="*/ 1137 h 2146"/>
                <a:gd name="T106" fmla="*/ 1919 w 3373"/>
                <a:gd name="T107" fmla="*/ 1147 h 2146"/>
                <a:gd name="T108" fmla="*/ 2137 w 3373"/>
                <a:gd name="T109" fmla="*/ 1179 h 2146"/>
                <a:gd name="T110" fmla="*/ 2350 w 3373"/>
                <a:gd name="T111" fmla="*/ 1233 h 2146"/>
                <a:gd name="T112" fmla="*/ 2557 w 3373"/>
                <a:gd name="T113" fmla="*/ 1309 h 2146"/>
                <a:gd name="T114" fmla="*/ 2759 w 3373"/>
                <a:gd name="T115" fmla="*/ 1411 h 2146"/>
                <a:gd name="T116" fmla="*/ 2952 w 3373"/>
                <a:gd name="T117" fmla="*/ 1546 h 2146"/>
                <a:gd name="T118" fmla="*/ 3131 w 3373"/>
                <a:gd name="T119" fmla="*/ 1722 h 2146"/>
                <a:gd name="T120" fmla="*/ 3225 w 3373"/>
                <a:gd name="T121" fmla="*/ 1851 h 2146"/>
                <a:gd name="T122" fmla="*/ 3338 w 3373"/>
                <a:gd name="T123" fmla="*/ 2097 h 2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3" h="2146">
                  <a:moveTo>
                    <a:pt x="3365" y="2116"/>
                  </a:moveTo>
                  <a:cubicBezTo>
                    <a:pt x="3363" y="2109"/>
                    <a:pt x="3361" y="2102"/>
                    <a:pt x="3359" y="2095"/>
                  </a:cubicBezTo>
                  <a:cubicBezTo>
                    <a:pt x="3355" y="2083"/>
                    <a:pt x="3351" y="2070"/>
                    <a:pt x="3347" y="2058"/>
                  </a:cubicBezTo>
                  <a:cubicBezTo>
                    <a:pt x="3340" y="2041"/>
                    <a:pt x="3334" y="2023"/>
                    <a:pt x="3327" y="2006"/>
                  </a:cubicBezTo>
                  <a:cubicBezTo>
                    <a:pt x="3321" y="1993"/>
                    <a:pt x="3315" y="1980"/>
                    <a:pt x="3309" y="1967"/>
                  </a:cubicBezTo>
                  <a:cubicBezTo>
                    <a:pt x="3308" y="1964"/>
                    <a:pt x="3307" y="1961"/>
                    <a:pt x="3306" y="1959"/>
                  </a:cubicBezTo>
                  <a:cubicBezTo>
                    <a:pt x="3299" y="1944"/>
                    <a:pt x="3291" y="1930"/>
                    <a:pt x="3284" y="1915"/>
                  </a:cubicBezTo>
                  <a:cubicBezTo>
                    <a:pt x="3276" y="1902"/>
                    <a:pt x="3269" y="1888"/>
                    <a:pt x="3261" y="1875"/>
                  </a:cubicBezTo>
                  <a:cubicBezTo>
                    <a:pt x="3255" y="1865"/>
                    <a:pt x="3250" y="1855"/>
                    <a:pt x="3244" y="1846"/>
                  </a:cubicBezTo>
                  <a:cubicBezTo>
                    <a:pt x="3242" y="1843"/>
                    <a:pt x="3240" y="1840"/>
                    <a:pt x="3238" y="1837"/>
                  </a:cubicBezTo>
                  <a:cubicBezTo>
                    <a:pt x="3234" y="1830"/>
                    <a:pt x="3229" y="1824"/>
                    <a:pt x="3225" y="1817"/>
                  </a:cubicBezTo>
                  <a:cubicBezTo>
                    <a:pt x="3221" y="1812"/>
                    <a:pt x="3218" y="1807"/>
                    <a:pt x="3214" y="1801"/>
                  </a:cubicBezTo>
                  <a:cubicBezTo>
                    <a:pt x="3211" y="1797"/>
                    <a:pt x="3208" y="1793"/>
                    <a:pt x="3205" y="1789"/>
                  </a:cubicBezTo>
                  <a:cubicBezTo>
                    <a:pt x="3200" y="1782"/>
                    <a:pt x="3195" y="1775"/>
                    <a:pt x="3190" y="1768"/>
                  </a:cubicBezTo>
                  <a:cubicBezTo>
                    <a:pt x="3188" y="1766"/>
                    <a:pt x="3186" y="1763"/>
                    <a:pt x="3185" y="1761"/>
                  </a:cubicBezTo>
                  <a:cubicBezTo>
                    <a:pt x="3178" y="1753"/>
                    <a:pt x="3172" y="1744"/>
                    <a:pt x="3165" y="1736"/>
                  </a:cubicBezTo>
                  <a:cubicBezTo>
                    <a:pt x="3165" y="1735"/>
                    <a:pt x="3164" y="1735"/>
                    <a:pt x="3164" y="1734"/>
                  </a:cubicBezTo>
                  <a:cubicBezTo>
                    <a:pt x="3156" y="1724"/>
                    <a:pt x="3148" y="1715"/>
                    <a:pt x="3140" y="1706"/>
                  </a:cubicBezTo>
                  <a:cubicBezTo>
                    <a:pt x="3132" y="1696"/>
                    <a:pt x="3123" y="1686"/>
                    <a:pt x="3115" y="1677"/>
                  </a:cubicBezTo>
                  <a:cubicBezTo>
                    <a:pt x="3106" y="1667"/>
                    <a:pt x="3098" y="1658"/>
                    <a:pt x="3089" y="1649"/>
                  </a:cubicBezTo>
                  <a:cubicBezTo>
                    <a:pt x="3083" y="1643"/>
                    <a:pt x="3078" y="1638"/>
                    <a:pt x="3072" y="1632"/>
                  </a:cubicBezTo>
                  <a:cubicBezTo>
                    <a:pt x="3071" y="1631"/>
                    <a:pt x="3070" y="1630"/>
                    <a:pt x="3070" y="1630"/>
                  </a:cubicBezTo>
                  <a:cubicBezTo>
                    <a:pt x="3069" y="1629"/>
                    <a:pt x="3068" y="1628"/>
                    <a:pt x="3068" y="1628"/>
                  </a:cubicBezTo>
                  <a:cubicBezTo>
                    <a:pt x="3065" y="1625"/>
                    <a:pt x="3062" y="1622"/>
                    <a:pt x="3059" y="1619"/>
                  </a:cubicBezTo>
                  <a:cubicBezTo>
                    <a:pt x="3050" y="1610"/>
                    <a:pt x="3041" y="1602"/>
                    <a:pt x="3033" y="1594"/>
                  </a:cubicBezTo>
                  <a:cubicBezTo>
                    <a:pt x="3024" y="1586"/>
                    <a:pt x="3015" y="1578"/>
                    <a:pt x="3006" y="1570"/>
                  </a:cubicBezTo>
                  <a:cubicBezTo>
                    <a:pt x="2997" y="1562"/>
                    <a:pt x="2988" y="1554"/>
                    <a:pt x="2979" y="1547"/>
                  </a:cubicBezTo>
                  <a:cubicBezTo>
                    <a:pt x="2975" y="1543"/>
                    <a:pt x="2971" y="1539"/>
                    <a:pt x="2966" y="1535"/>
                  </a:cubicBezTo>
                  <a:cubicBezTo>
                    <a:pt x="2962" y="1532"/>
                    <a:pt x="2957" y="1528"/>
                    <a:pt x="2952" y="1524"/>
                  </a:cubicBezTo>
                  <a:cubicBezTo>
                    <a:pt x="2943" y="1517"/>
                    <a:pt x="2934" y="1510"/>
                    <a:pt x="2925" y="1503"/>
                  </a:cubicBezTo>
                  <a:cubicBezTo>
                    <a:pt x="2916" y="1496"/>
                    <a:pt x="2907" y="1489"/>
                    <a:pt x="2898" y="1483"/>
                  </a:cubicBezTo>
                  <a:cubicBezTo>
                    <a:pt x="2889" y="1476"/>
                    <a:pt x="2880" y="1469"/>
                    <a:pt x="2870" y="1463"/>
                  </a:cubicBezTo>
                  <a:cubicBezTo>
                    <a:pt x="2866" y="1460"/>
                    <a:pt x="2861" y="1456"/>
                    <a:pt x="2856" y="1453"/>
                  </a:cubicBezTo>
                  <a:cubicBezTo>
                    <a:pt x="2852" y="1450"/>
                    <a:pt x="2847" y="1447"/>
                    <a:pt x="2843" y="1444"/>
                  </a:cubicBezTo>
                  <a:cubicBezTo>
                    <a:pt x="2833" y="1438"/>
                    <a:pt x="2824" y="1432"/>
                    <a:pt x="2815" y="1426"/>
                  </a:cubicBezTo>
                  <a:cubicBezTo>
                    <a:pt x="2805" y="1420"/>
                    <a:pt x="2796" y="1414"/>
                    <a:pt x="2787" y="1408"/>
                  </a:cubicBezTo>
                  <a:cubicBezTo>
                    <a:pt x="2777" y="1402"/>
                    <a:pt x="2768" y="1397"/>
                    <a:pt x="2758" y="1391"/>
                  </a:cubicBezTo>
                  <a:cubicBezTo>
                    <a:pt x="2752" y="1388"/>
                    <a:pt x="2746" y="1384"/>
                    <a:pt x="2740" y="1380"/>
                  </a:cubicBezTo>
                  <a:cubicBezTo>
                    <a:pt x="2737" y="1378"/>
                    <a:pt x="2733" y="1377"/>
                    <a:pt x="2730" y="1375"/>
                  </a:cubicBezTo>
                  <a:cubicBezTo>
                    <a:pt x="2721" y="1370"/>
                    <a:pt x="2711" y="1364"/>
                    <a:pt x="2702" y="1359"/>
                  </a:cubicBezTo>
                  <a:cubicBezTo>
                    <a:pt x="2692" y="1354"/>
                    <a:pt x="2682" y="1349"/>
                    <a:pt x="2673" y="1344"/>
                  </a:cubicBezTo>
                  <a:cubicBezTo>
                    <a:pt x="2663" y="1339"/>
                    <a:pt x="2654" y="1334"/>
                    <a:pt x="2644" y="1330"/>
                  </a:cubicBezTo>
                  <a:cubicBezTo>
                    <a:pt x="2635" y="1325"/>
                    <a:pt x="2625" y="1320"/>
                    <a:pt x="2615" y="1316"/>
                  </a:cubicBezTo>
                  <a:cubicBezTo>
                    <a:pt x="2606" y="1311"/>
                    <a:pt x="2596" y="1307"/>
                    <a:pt x="2586" y="1302"/>
                  </a:cubicBezTo>
                  <a:cubicBezTo>
                    <a:pt x="2576" y="1298"/>
                    <a:pt x="2567" y="1294"/>
                    <a:pt x="2557" y="1290"/>
                  </a:cubicBezTo>
                  <a:cubicBezTo>
                    <a:pt x="2547" y="1285"/>
                    <a:pt x="2537" y="1281"/>
                    <a:pt x="2528" y="1277"/>
                  </a:cubicBezTo>
                  <a:cubicBezTo>
                    <a:pt x="2518" y="1273"/>
                    <a:pt x="2508" y="1269"/>
                    <a:pt x="2498" y="1266"/>
                  </a:cubicBezTo>
                  <a:cubicBezTo>
                    <a:pt x="2496" y="1265"/>
                    <a:pt x="2494" y="1264"/>
                    <a:pt x="2492" y="1263"/>
                  </a:cubicBezTo>
                  <a:cubicBezTo>
                    <a:pt x="2484" y="1260"/>
                    <a:pt x="2476" y="1257"/>
                    <a:pt x="2469" y="1254"/>
                  </a:cubicBezTo>
                  <a:cubicBezTo>
                    <a:pt x="2459" y="1251"/>
                    <a:pt x="2449" y="1247"/>
                    <a:pt x="2439" y="1244"/>
                  </a:cubicBezTo>
                  <a:cubicBezTo>
                    <a:pt x="2429" y="1240"/>
                    <a:pt x="2419" y="1237"/>
                    <a:pt x="2409" y="1233"/>
                  </a:cubicBezTo>
                  <a:cubicBezTo>
                    <a:pt x="2399" y="1230"/>
                    <a:pt x="2389" y="1227"/>
                    <a:pt x="2379" y="1223"/>
                  </a:cubicBezTo>
                  <a:cubicBezTo>
                    <a:pt x="2369" y="1220"/>
                    <a:pt x="2359" y="1217"/>
                    <a:pt x="2349" y="1214"/>
                  </a:cubicBezTo>
                  <a:cubicBezTo>
                    <a:pt x="2339" y="1211"/>
                    <a:pt x="2329" y="1208"/>
                    <a:pt x="2319" y="1205"/>
                  </a:cubicBezTo>
                  <a:cubicBezTo>
                    <a:pt x="2309" y="1202"/>
                    <a:pt x="2299" y="1200"/>
                    <a:pt x="2289" y="1197"/>
                  </a:cubicBezTo>
                  <a:cubicBezTo>
                    <a:pt x="2279" y="1194"/>
                    <a:pt x="2269" y="1191"/>
                    <a:pt x="2259" y="1189"/>
                  </a:cubicBezTo>
                  <a:cubicBezTo>
                    <a:pt x="2249" y="1186"/>
                    <a:pt x="2240" y="1184"/>
                    <a:pt x="2230" y="1182"/>
                  </a:cubicBezTo>
                  <a:cubicBezTo>
                    <a:pt x="2230" y="1182"/>
                    <a:pt x="2229" y="1181"/>
                    <a:pt x="2228" y="1181"/>
                  </a:cubicBezTo>
                  <a:cubicBezTo>
                    <a:pt x="2218" y="1179"/>
                    <a:pt x="2208" y="1176"/>
                    <a:pt x="2198" y="1174"/>
                  </a:cubicBezTo>
                  <a:cubicBezTo>
                    <a:pt x="2188" y="1172"/>
                    <a:pt x="2177" y="1170"/>
                    <a:pt x="2167" y="1168"/>
                  </a:cubicBezTo>
                  <a:cubicBezTo>
                    <a:pt x="2157" y="1165"/>
                    <a:pt x="2147" y="1163"/>
                    <a:pt x="2136" y="1161"/>
                  </a:cubicBezTo>
                  <a:cubicBezTo>
                    <a:pt x="2126" y="1159"/>
                    <a:pt x="2116" y="1157"/>
                    <a:pt x="2106" y="1156"/>
                  </a:cubicBezTo>
                  <a:cubicBezTo>
                    <a:pt x="2095" y="1154"/>
                    <a:pt x="2085" y="1152"/>
                    <a:pt x="2075" y="1150"/>
                  </a:cubicBezTo>
                  <a:cubicBezTo>
                    <a:pt x="2064" y="1149"/>
                    <a:pt x="2054" y="1147"/>
                    <a:pt x="2044" y="1145"/>
                  </a:cubicBezTo>
                  <a:cubicBezTo>
                    <a:pt x="2033" y="1144"/>
                    <a:pt x="2023" y="1142"/>
                    <a:pt x="2012" y="1141"/>
                  </a:cubicBezTo>
                  <a:cubicBezTo>
                    <a:pt x="2002" y="1139"/>
                    <a:pt x="1992" y="1138"/>
                    <a:pt x="1981" y="1137"/>
                  </a:cubicBezTo>
                  <a:cubicBezTo>
                    <a:pt x="1974" y="1136"/>
                    <a:pt x="1968" y="1135"/>
                    <a:pt x="1961" y="1134"/>
                  </a:cubicBezTo>
                  <a:cubicBezTo>
                    <a:pt x="1957" y="1134"/>
                    <a:pt x="1953" y="1134"/>
                    <a:pt x="1950" y="1133"/>
                  </a:cubicBezTo>
                  <a:cubicBezTo>
                    <a:pt x="1939" y="1132"/>
                    <a:pt x="1929" y="1131"/>
                    <a:pt x="1918" y="1130"/>
                  </a:cubicBezTo>
                  <a:cubicBezTo>
                    <a:pt x="1908" y="1129"/>
                    <a:pt x="1897" y="1128"/>
                    <a:pt x="1887" y="1127"/>
                  </a:cubicBezTo>
                  <a:cubicBezTo>
                    <a:pt x="1876" y="1126"/>
                    <a:pt x="1866" y="1125"/>
                    <a:pt x="1855" y="1125"/>
                  </a:cubicBezTo>
                  <a:cubicBezTo>
                    <a:pt x="1845" y="1124"/>
                    <a:pt x="1835" y="1123"/>
                    <a:pt x="1824" y="1123"/>
                  </a:cubicBezTo>
                  <a:cubicBezTo>
                    <a:pt x="1824" y="1123"/>
                    <a:pt x="1824" y="1123"/>
                    <a:pt x="1823" y="1123"/>
                  </a:cubicBezTo>
                  <a:cubicBezTo>
                    <a:pt x="1813" y="1122"/>
                    <a:pt x="1802" y="1122"/>
                    <a:pt x="1792" y="1121"/>
                  </a:cubicBezTo>
                  <a:cubicBezTo>
                    <a:pt x="1781" y="1121"/>
                    <a:pt x="1770" y="1121"/>
                    <a:pt x="1760" y="1120"/>
                  </a:cubicBezTo>
                  <a:cubicBezTo>
                    <a:pt x="1749" y="1120"/>
                    <a:pt x="1738" y="1120"/>
                    <a:pt x="1727" y="1120"/>
                  </a:cubicBezTo>
                  <a:cubicBezTo>
                    <a:pt x="1717" y="1120"/>
                    <a:pt x="1706" y="1120"/>
                    <a:pt x="1695" y="1120"/>
                  </a:cubicBezTo>
                  <a:cubicBezTo>
                    <a:pt x="1693" y="1120"/>
                    <a:pt x="1690" y="1120"/>
                    <a:pt x="1687" y="1120"/>
                  </a:cubicBezTo>
                  <a:cubicBezTo>
                    <a:pt x="1663" y="1120"/>
                    <a:pt x="1663" y="1120"/>
                    <a:pt x="1663" y="1120"/>
                  </a:cubicBezTo>
                  <a:cubicBezTo>
                    <a:pt x="1631" y="1121"/>
                    <a:pt x="1631" y="1121"/>
                    <a:pt x="1631" y="1121"/>
                  </a:cubicBezTo>
                  <a:cubicBezTo>
                    <a:pt x="1598" y="1121"/>
                    <a:pt x="1598" y="1121"/>
                    <a:pt x="1598" y="1121"/>
                  </a:cubicBezTo>
                  <a:cubicBezTo>
                    <a:pt x="1566" y="1122"/>
                    <a:pt x="1566" y="1122"/>
                    <a:pt x="1566" y="1122"/>
                  </a:cubicBezTo>
                  <a:cubicBezTo>
                    <a:pt x="1534" y="1123"/>
                    <a:pt x="1534" y="1123"/>
                    <a:pt x="1534" y="1123"/>
                  </a:cubicBezTo>
                  <a:cubicBezTo>
                    <a:pt x="1501" y="1123"/>
                    <a:pt x="1501" y="1123"/>
                    <a:pt x="1501" y="1123"/>
                  </a:cubicBezTo>
                  <a:cubicBezTo>
                    <a:pt x="1469" y="1124"/>
                    <a:pt x="1469" y="1124"/>
                    <a:pt x="1469" y="1124"/>
                  </a:cubicBezTo>
                  <a:cubicBezTo>
                    <a:pt x="1437" y="1125"/>
                    <a:pt x="1437" y="1125"/>
                    <a:pt x="1437" y="1125"/>
                  </a:cubicBezTo>
                  <a:cubicBezTo>
                    <a:pt x="1414" y="1125"/>
                    <a:pt x="1414" y="1125"/>
                    <a:pt x="1414" y="1125"/>
                  </a:cubicBezTo>
                  <a:cubicBezTo>
                    <a:pt x="1404" y="1125"/>
                    <a:pt x="1404" y="1125"/>
                    <a:pt x="1404" y="1125"/>
                  </a:cubicBezTo>
                  <a:cubicBezTo>
                    <a:pt x="1380" y="1126"/>
                    <a:pt x="1380" y="1126"/>
                    <a:pt x="1380" y="1126"/>
                  </a:cubicBezTo>
                  <a:cubicBezTo>
                    <a:pt x="1372" y="1126"/>
                    <a:pt x="1372" y="1126"/>
                    <a:pt x="1372" y="1126"/>
                  </a:cubicBezTo>
                  <a:cubicBezTo>
                    <a:pt x="1363" y="1126"/>
                    <a:pt x="1363" y="1126"/>
                    <a:pt x="1363" y="1126"/>
                  </a:cubicBezTo>
                  <a:cubicBezTo>
                    <a:pt x="1359" y="1126"/>
                    <a:pt x="1359" y="1126"/>
                    <a:pt x="1359" y="1126"/>
                  </a:cubicBezTo>
                  <a:cubicBezTo>
                    <a:pt x="1357" y="1126"/>
                    <a:pt x="1357" y="1126"/>
                    <a:pt x="1357" y="1126"/>
                  </a:cubicBezTo>
                  <a:cubicBezTo>
                    <a:pt x="1354" y="1126"/>
                    <a:pt x="1354" y="1126"/>
                    <a:pt x="1354" y="1126"/>
                  </a:cubicBezTo>
                  <a:cubicBezTo>
                    <a:pt x="1346" y="1126"/>
                    <a:pt x="1346" y="1126"/>
                    <a:pt x="1346" y="1126"/>
                  </a:cubicBezTo>
                  <a:cubicBezTo>
                    <a:pt x="1344" y="1126"/>
                    <a:pt x="1342" y="1126"/>
                    <a:pt x="1340" y="1126"/>
                  </a:cubicBezTo>
                  <a:cubicBezTo>
                    <a:pt x="1329" y="1126"/>
                    <a:pt x="1318" y="1126"/>
                    <a:pt x="1307" y="1126"/>
                  </a:cubicBezTo>
                  <a:cubicBezTo>
                    <a:pt x="1297" y="1126"/>
                    <a:pt x="1287" y="1126"/>
                    <a:pt x="1277" y="1126"/>
                  </a:cubicBezTo>
                  <a:cubicBezTo>
                    <a:pt x="1277" y="1126"/>
                    <a:pt x="1276" y="1126"/>
                    <a:pt x="1275" y="1126"/>
                  </a:cubicBezTo>
                  <a:cubicBezTo>
                    <a:pt x="1264" y="1126"/>
                    <a:pt x="1254" y="1126"/>
                    <a:pt x="1243" y="1126"/>
                  </a:cubicBezTo>
                  <a:cubicBezTo>
                    <a:pt x="1232" y="1126"/>
                    <a:pt x="1221" y="1126"/>
                    <a:pt x="1211" y="1126"/>
                  </a:cubicBezTo>
                  <a:cubicBezTo>
                    <a:pt x="1200" y="1126"/>
                    <a:pt x="1189" y="1126"/>
                    <a:pt x="1178" y="1126"/>
                  </a:cubicBezTo>
                  <a:cubicBezTo>
                    <a:pt x="1168" y="1126"/>
                    <a:pt x="1157" y="1126"/>
                    <a:pt x="1146" y="1126"/>
                  </a:cubicBezTo>
                  <a:cubicBezTo>
                    <a:pt x="1145" y="1126"/>
                    <a:pt x="1143" y="1126"/>
                    <a:pt x="1141" y="1126"/>
                  </a:cubicBezTo>
                  <a:cubicBezTo>
                    <a:pt x="1132" y="1126"/>
                    <a:pt x="1123" y="1126"/>
                    <a:pt x="1114" y="1125"/>
                  </a:cubicBezTo>
                  <a:cubicBezTo>
                    <a:pt x="1104" y="1125"/>
                    <a:pt x="1093" y="1125"/>
                    <a:pt x="1082" y="1125"/>
                  </a:cubicBezTo>
                  <a:cubicBezTo>
                    <a:pt x="1072" y="1124"/>
                    <a:pt x="1061" y="1124"/>
                    <a:pt x="1050" y="1123"/>
                  </a:cubicBezTo>
                  <a:cubicBezTo>
                    <a:pt x="1040" y="1123"/>
                    <a:pt x="1029" y="1122"/>
                    <a:pt x="1019" y="1122"/>
                  </a:cubicBezTo>
                  <a:cubicBezTo>
                    <a:pt x="1014" y="1121"/>
                    <a:pt x="1009" y="1121"/>
                    <a:pt x="1005" y="1121"/>
                  </a:cubicBezTo>
                  <a:cubicBezTo>
                    <a:pt x="999" y="1120"/>
                    <a:pt x="993" y="1120"/>
                    <a:pt x="987" y="1119"/>
                  </a:cubicBezTo>
                  <a:cubicBezTo>
                    <a:pt x="976" y="1118"/>
                    <a:pt x="966" y="1117"/>
                    <a:pt x="955" y="1116"/>
                  </a:cubicBezTo>
                  <a:cubicBezTo>
                    <a:pt x="945" y="1115"/>
                    <a:pt x="934" y="1114"/>
                    <a:pt x="924" y="1113"/>
                  </a:cubicBezTo>
                  <a:cubicBezTo>
                    <a:pt x="914" y="1111"/>
                    <a:pt x="903" y="1110"/>
                    <a:pt x="893" y="1108"/>
                  </a:cubicBezTo>
                  <a:cubicBezTo>
                    <a:pt x="885" y="1107"/>
                    <a:pt x="878" y="1105"/>
                    <a:pt x="870" y="1104"/>
                  </a:cubicBezTo>
                  <a:cubicBezTo>
                    <a:pt x="867" y="1103"/>
                    <a:pt x="865" y="1103"/>
                    <a:pt x="862" y="1102"/>
                  </a:cubicBezTo>
                  <a:cubicBezTo>
                    <a:pt x="852" y="1100"/>
                    <a:pt x="842" y="1097"/>
                    <a:pt x="832" y="1095"/>
                  </a:cubicBezTo>
                  <a:cubicBezTo>
                    <a:pt x="823" y="1092"/>
                    <a:pt x="814" y="1090"/>
                    <a:pt x="805" y="1087"/>
                  </a:cubicBezTo>
                  <a:cubicBezTo>
                    <a:pt x="804" y="1087"/>
                    <a:pt x="803" y="1086"/>
                    <a:pt x="802" y="1086"/>
                  </a:cubicBezTo>
                  <a:cubicBezTo>
                    <a:pt x="792" y="1082"/>
                    <a:pt x="782" y="1079"/>
                    <a:pt x="772" y="1075"/>
                  </a:cubicBezTo>
                  <a:cubicBezTo>
                    <a:pt x="762" y="1070"/>
                    <a:pt x="752" y="1066"/>
                    <a:pt x="743" y="1060"/>
                  </a:cubicBezTo>
                  <a:cubicBezTo>
                    <a:pt x="743" y="1060"/>
                    <a:pt x="743" y="1060"/>
                    <a:pt x="743" y="1060"/>
                  </a:cubicBezTo>
                  <a:cubicBezTo>
                    <a:pt x="741" y="1059"/>
                    <a:pt x="738" y="1058"/>
                    <a:pt x="736" y="1056"/>
                  </a:cubicBezTo>
                  <a:cubicBezTo>
                    <a:pt x="734" y="1055"/>
                    <a:pt x="731" y="1053"/>
                    <a:pt x="729" y="1052"/>
                  </a:cubicBezTo>
                  <a:cubicBezTo>
                    <a:pt x="722" y="1047"/>
                    <a:pt x="722" y="1047"/>
                    <a:pt x="722" y="1047"/>
                  </a:cubicBezTo>
                  <a:cubicBezTo>
                    <a:pt x="720" y="1045"/>
                    <a:pt x="718" y="1043"/>
                    <a:pt x="715" y="1042"/>
                  </a:cubicBezTo>
                  <a:cubicBezTo>
                    <a:pt x="715" y="1042"/>
                    <a:pt x="715" y="1042"/>
                    <a:pt x="715" y="1042"/>
                  </a:cubicBezTo>
                  <a:cubicBezTo>
                    <a:pt x="712" y="1039"/>
                    <a:pt x="712" y="1039"/>
                    <a:pt x="712" y="1039"/>
                  </a:cubicBezTo>
                  <a:cubicBezTo>
                    <a:pt x="709" y="1036"/>
                    <a:pt x="709" y="1036"/>
                    <a:pt x="709" y="1036"/>
                  </a:cubicBezTo>
                  <a:cubicBezTo>
                    <a:pt x="704" y="1032"/>
                    <a:pt x="704" y="1032"/>
                    <a:pt x="704" y="1032"/>
                  </a:cubicBezTo>
                  <a:cubicBezTo>
                    <a:pt x="703" y="1031"/>
                    <a:pt x="702" y="1030"/>
                    <a:pt x="701" y="1029"/>
                  </a:cubicBezTo>
                  <a:cubicBezTo>
                    <a:pt x="700" y="1027"/>
                    <a:pt x="698" y="1025"/>
                    <a:pt x="696" y="1023"/>
                  </a:cubicBezTo>
                  <a:cubicBezTo>
                    <a:pt x="695" y="1022"/>
                    <a:pt x="694" y="1020"/>
                    <a:pt x="693" y="1019"/>
                  </a:cubicBezTo>
                  <a:cubicBezTo>
                    <a:pt x="684" y="1007"/>
                    <a:pt x="676" y="993"/>
                    <a:pt x="671" y="978"/>
                  </a:cubicBezTo>
                  <a:cubicBezTo>
                    <a:pt x="670" y="973"/>
                    <a:pt x="668" y="969"/>
                    <a:pt x="667" y="964"/>
                  </a:cubicBezTo>
                  <a:cubicBezTo>
                    <a:pt x="662" y="943"/>
                    <a:pt x="663" y="920"/>
                    <a:pt x="669" y="899"/>
                  </a:cubicBezTo>
                  <a:cubicBezTo>
                    <a:pt x="671" y="894"/>
                    <a:pt x="673" y="889"/>
                    <a:pt x="675" y="884"/>
                  </a:cubicBezTo>
                  <a:cubicBezTo>
                    <a:pt x="676" y="882"/>
                    <a:pt x="677" y="879"/>
                    <a:pt x="678" y="877"/>
                  </a:cubicBezTo>
                  <a:cubicBezTo>
                    <a:pt x="683" y="869"/>
                    <a:pt x="683" y="869"/>
                    <a:pt x="683" y="869"/>
                  </a:cubicBezTo>
                  <a:cubicBezTo>
                    <a:pt x="688" y="860"/>
                    <a:pt x="695" y="852"/>
                    <a:pt x="703" y="844"/>
                  </a:cubicBezTo>
                  <a:cubicBezTo>
                    <a:pt x="703" y="844"/>
                    <a:pt x="703" y="844"/>
                    <a:pt x="703" y="844"/>
                  </a:cubicBezTo>
                  <a:cubicBezTo>
                    <a:pt x="711" y="836"/>
                    <a:pt x="719" y="829"/>
                    <a:pt x="728" y="822"/>
                  </a:cubicBezTo>
                  <a:cubicBezTo>
                    <a:pt x="733" y="819"/>
                    <a:pt x="737" y="816"/>
                    <a:pt x="742" y="813"/>
                  </a:cubicBezTo>
                  <a:cubicBezTo>
                    <a:pt x="747" y="810"/>
                    <a:pt x="752" y="807"/>
                    <a:pt x="756" y="804"/>
                  </a:cubicBezTo>
                  <a:cubicBezTo>
                    <a:pt x="764" y="800"/>
                    <a:pt x="772" y="796"/>
                    <a:pt x="779" y="792"/>
                  </a:cubicBezTo>
                  <a:cubicBezTo>
                    <a:pt x="791" y="786"/>
                    <a:pt x="803" y="780"/>
                    <a:pt x="815" y="775"/>
                  </a:cubicBezTo>
                  <a:cubicBezTo>
                    <a:pt x="816" y="775"/>
                    <a:pt x="817" y="775"/>
                    <a:pt x="817" y="774"/>
                  </a:cubicBezTo>
                  <a:cubicBezTo>
                    <a:pt x="828" y="770"/>
                    <a:pt x="840" y="765"/>
                    <a:pt x="851" y="761"/>
                  </a:cubicBezTo>
                  <a:cubicBezTo>
                    <a:pt x="863" y="757"/>
                    <a:pt x="874" y="753"/>
                    <a:pt x="886" y="749"/>
                  </a:cubicBezTo>
                  <a:cubicBezTo>
                    <a:pt x="898" y="745"/>
                    <a:pt x="909" y="741"/>
                    <a:pt x="921" y="738"/>
                  </a:cubicBezTo>
                  <a:cubicBezTo>
                    <a:pt x="929" y="735"/>
                    <a:pt x="938" y="733"/>
                    <a:pt x="946" y="730"/>
                  </a:cubicBezTo>
                  <a:cubicBezTo>
                    <a:pt x="949" y="730"/>
                    <a:pt x="952" y="729"/>
                    <a:pt x="955" y="728"/>
                  </a:cubicBezTo>
                  <a:cubicBezTo>
                    <a:pt x="967" y="725"/>
                    <a:pt x="978" y="721"/>
                    <a:pt x="990" y="718"/>
                  </a:cubicBezTo>
                  <a:cubicBezTo>
                    <a:pt x="1001" y="715"/>
                    <a:pt x="1013" y="712"/>
                    <a:pt x="1024" y="710"/>
                  </a:cubicBezTo>
                  <a:cubicBezTo>
                    <a:pt x="1036" y="707"/>
                    <a:pt x="1047" y="704"/>
                    <a:pt x="1058" y="701"/>
                  </a:cubicBezTo>
                  <a:cubicBezTo>
                    <a:pt x="1065" y="699"/>
                    <a:pt x="1071" y="698"/>
                    <a:pt x="1078" y="696"/>
                  </a:cubicBezTo>
                  <a:cubicBezTo>
                    <a:pt x="1083" y="695"/>
                    <a:pt x="1088" y="694"/>
                    <a:pt x="1093" y="693"/>
                  </a:cubicBezTo>
                  <a:cubicBezTo>
                    <a:pt x="1104" y="690"/>
                    <a:pt x="1115" y="687"/>
                    <a:pt x="1127" y="684"/>
                  </a:cubicBezTo>
                  <a:cubicBezTo>
                    <a:pt x="1133" y="683"/>
                    <a:pt x="1138" y="682"/>
                    <a:pt x="1144" y="680"/>
                  </a:cubicBezTo>
                  <a:cubicBezTo>
                    <a:pt x="1150" y="679"/>
                    <a:pt x="1155" y="677"/>
                    <a:pt x="1161" y="676"/>
                  </a:cubicBezTo>
                  <a:cubicBezTo>
                    <a:pt x="1173" y="673"/>
                    <a:pt x="1184" y="669"/>
                    <a:pt x="1196" y="666"/>
                  </a:cubicBezTo>
                  <a:cubicBezTo>
                    <a:pt x="1200" y="665"/>
                    <a:pt x="1205" y="663"/>
                    <a:pt x="1210" y="662"/>
                  </a:cubicBezTo>
                  <a:cubicBezTo>
                    <a:pt x="1217" y="660"/>
                    <a:pt x="1224" y="658"/>
                    <a:pt x="1230" y="655"/>
                  </a:cubicBezTo>
                  <a:cubicBezTo>
                    <a:pt x="1242" y="652"/>
                    <a:pt x="1254" y="648"/>
                    <a:pt x="1265" y="643"/>
                  </a:cubicBezTo>
                  <a:cubicBezTo>
                    <a:pt x="1277" y="639"/>
                    <a:pt x="1289" y="634"/>
                    <a:pt x="1301" y="629"/>
                  </a:cubicBezTo>
                  <a:cubicBezTo>
                    <a:pt x="1313" y="624"/>
                    <a:pt x="1325" y="619"/>
                    <a:pt x="1337" y="613"/>
                  </a:cubicBezTo>
                  <a:cubicBezTo>
                    <a:pt x="1337" y="612"/>
                    <a:pt x="1338" y="612"/>
                    <a:pt x="1338" y="612"/>
                  </a:cubicBezTo>
                  <a:cubicBezTo>
                    <a:pt x="1350" y="606"/>
                    <a:pt x="1362" y="599"/>
                    <a:pt x="1374" y="592"/>
                  </a:cubicBezTo>
                  <a:cubicBezTo>
                    <a:pt x="1382" y="587"/>
                    <a:pt x="1390" y="582"/>
                    <a:pt x="1397" y="576"/>
                  </a:cubicBezTo>
                  <a:cubicBezTo>
                    <a:pt x="1403" y="572"/>
                    <a:pt x="1408" y="568"/>
                    <a:pt x="1413" y="564"/>
                  </a:cubicBezTo>
                  <a:cubicBezTo>
                    <a:pt x="1426" y="554"/>
                    <a:pt x="1437" y="542"/>
                    <a:pt x="1448" y="529"/>
                  </a:cubicBezTo>
                  <a:cubicBezTo>
                    <a:pt x="1451" y="526"/>
                    <a:pt x="1453" y="523"/>
                    <a:pt x="1456" y="519"/>
                  </a:cubicBezTo>
                  <a:cubicBezTo>
                    <a:pt x="1460" y="513"/>
                    <a:pt x="1464" y="507"/>
                    <a:pt x="1468" y="501"/>
                  </a:cubicBezTo>
                  <a:cubicBezTo>
                    <a:pt x="1469" y="498"/>
                    <a:pt x="1471" y="496"/>
                    <a:pt x="1472" y="493"/>
                  </a:cubicBezTo>
                  <a:cubicBezTo>
                    <a:pt x="1473" y="490"/>
                    <a:pt x="1475" y="488"/>
                    <a:pt x="1476" y="485"/>
                  </a:cubicBezTo>
                  <a:cubicBezTo>
                    <a:pt x="1479" y="477"/>
                    <a:pt x="1479" y="477"/>
                    <a:pt x="1479" y="477"/>
                  </a:cubicBezTo>
                  <a:cubicBezTo>
                    <a:pt x="1480" y="474"/>
                    <a:pt x="1481" y="472"/>
                    <a:pt x="1482" y="469"/>
                  </a:cubicBezTo>
                  <a:cubicBezTo>
                    <a:pt x="1490" y="447"/>
                    <a:pt x="1495" y="424"/>
                    <a:pt x="1494" y="401"/>
                  </a:cubicBezTo>
                  <a:cubicBezTo>
                    <a:pt x="1494" y="400"/>
                    <a:pt x="1494" y="400"/>
                    <a:pt x="1494" y="400"/>
                  </a:cubicBezTo>
                  <a:cubicBezTo>
                    <a:pt x="1494" y="400"/>
                    <a:pt x="1494" y="400"/>
                    <a:pt x="1494" y="400"/>
                  </a:cubicBezTo>
                  <a:cubicBezTo>
                    <a:pt x="1493" y="392"/>
                    <a:pt x="1496" y="396"/>
                    <a:pt x="1491" y="376"/>
                  </a:cubicBezTo>
                  <a:cubicBezTo>
                    <a:pt x="1487" y="358"/>
                    <a:pt x="1477" y="343"/>
                    <a:pt x="1469" y="327"/>
                  </a:cubicBezTo>
                  <a:cubicBezTo>
                    <a:pt x="1463" y="316"/>
                    <a:pt x="1456" y="305"/>
                    <a:pt x="1448" y="295"/>
                  </a:cubicBezTo>
                  <a:cubicBezTo>
                    <a:pt x="1447" y="293"/>
                    <a:pt x="1446" y="292"/>
                    <a:pt x="1445" y="291"/>
                  </a:cubicBezTo>
                  <a:cubicBezTo>
                    <a:pt x="1437" y="281"/>
                    <a:pt x="1429" y="271"/>
                    <a:pt x="1420" y="262"/>
                  </a:cubicBezTo>
                  <a:cubicBezTo>
                    <a:pt x="1420" y="262"/>
                    <a:pt x="1419" y="262"/>
                    <a:pt x="1419" y="262"/>
                  </a:cubicBezTo>
                  <a:cubicBezTo>
                    <a:pt x="1418" y="261"/>
                    <a:pt x="1417" y="260"/>
                    <a:pt x="1416" y="258"/>
                  </a:cubicBezTo>
                  <a:cubicBezTo>
                    <a:pt x="1407" y="250"/>
                    <a:pt x="1398" y="243"/>
                    <a:pt x="1389" y="236"/>
                  </a:cubicBezTo>
                  <a:cubicBezTo>
                    <a:pt x="1380" y="229"/>
                    <a:pt x="1371" y="222"/>
                    <a:pt x="1361" y="217"/>
                  </a:cubicBezTo>
                  <a:cubicBezTo>
                    <a:pt x="1360" y="216"/>
                    <a:pt x="1359" y="215"/>
                    <a:pt x="1358" y="215"/>
                  </a:cubicBezTo>
                  <a:cubicBezTo>
                    <a:pt x="1350" y="210"/>
                    <a:pt x="1341" y="205"/>
                    <a:pt x="1333" y="200"/>
                  </a:cubicBezTo>
                  <a:cubicBezTo>
                    <a:pt x="1323" y="195"/>
                    <a:pt x="1314" y="190"/>
                    <a:pt x="1304" y="186"/>
                  </a:cubicBezTo>
                  <a:cubicBezTo>
                    <a:pt x="1294" y="182"/>
                    <a:pt x="1285" y="177"/>
                    <a:pt x="1275" y="173"/>
                  </a:cubicBezTo>
                  <a:cubicBezTo>
                    <a:pt x="1268" y="171"/>
                    <a:pt x="1262" y="168"/>
                    <a:pt x="1255" y="166"/>
                  </a:cubicBezTo>
                  <a:cubicBezTo>
                    <a:pt x="1252" y="165"/>
                    <a:pt x="1248" y="163"/>
                    <a:pt x="1245" y="162"/>
                  </a:cubicBezTo>
                  <a:cubicBezTo>
                    <a:pt x="1235" y="159"/>
                    <a:pt x="1225" y="155"/>
                    <a:pt x="1215" y="152"/>
                  </a:cubicBezTo>
                  <a:cubicBezTo>
                    <a:pt x="1205" y="149"/>
                    <a:pt x="1195" y="146"/>
                    <a:pt x="1185" y="143"/>
                  </a:cubicBezTo>
                  <a:cubicBezTo>
                    <a:pt x="1175" y="140"/>
                    <a:pt x="1165" y="137"/>
                    <a:pt x="1155" y="135"/>
                  </a:cubicBezTo>
                  <a:cubicBezTo>
                    <a:pt x="1152" y="134"/>
                    <a:pt x="1149" y="133"/>
                    <a:pt x="1146" y="132"/>
                  </a:cubicBezTo>
                  <a:cubicBezTo>
                    <a:pt x="1139" y="130"/>
                    <a:pt x="1132" y="128"/>
                    <a:pt x="1125" y="127"/>
                  </a:cubicBezTo>
                  <a:cubicBezTo>
                    <a:pt x="1115" y="124"/>
                    <a:pt x="1104" y="121"/>
                    <a:pt x="1094" y="119"/>
                  </a:cubicBezTo>
                  <a:cubicBezTo>
                    <a:pt x="1093" y="118"/>
                    <a:pt x="1092" y="118"/>
                    <a:pt x="1091" y="118"/>
                  </a:cubicBezTo>
                  <a:cubicBezTo>
                    <a:pt x="1064" y="111"/>
                    <a:pt x="1064" y="111"/>
                    <a:pt x="1064" y="111"/>
                  </a:cubicBezTo>
                  <a:cubicBezTo>
                    <a:pt x="1036" y="104"/>
                    <a:pt x="1036" y="104"/>
                    <a:pt x="1036" y="104"/>
                  </a:cubicBezTo>
                  <a:cubicBezTo>
                    <a:pt x="1034" y="103"/>
                    <a:pt x="1034" y="103"/>
                    <a:pt x="1034" y="103"/>
                  </a:cubicBezTo>
                  <a:cubicBezTo>
                    <a:pt x="1029" y="102"/>
                    <a:pt x="1029" y="102"/>
                    <a:pt x="1029" y="102"/>
                  </a:cubicBezTo>
                  <a:cubicBezTo>
                    <a:pt x="1025" y="101"/>
                    <a:pt x="1025" y="101"/>
                    <a:pt x="1025" y="101"/>
                  </a:cubicBezTo>
                  <a:cubicBezTo>
                    <a:pt x="1024" y="101"/>
                    <a:pt x="1023" y="100"/>
                    <a:pt x="1022" y="100"/>
                  </a:cubicBezTo>
                  <a:cubicBezTo>
                    <a:pt x="1008" y="98"/>
                    <a:pt x="1008" y="98"/>
                    <a:pt x="1008" y="98"/>
                  </a:cubicBezTo>
                  <a:cubicBezTo>
                    <a:pt x="1006" y="97"/>
                    <a:pt x="1005" y="97"/>
                    <a:pt x="1003" y="97"/>
                  </a:cubicBezTo>
                  <a:cubicBezTo>
                    <a:pt x="995" y="95"/>
                    <a:pt x="987" y="94"/>
                    <a:pt x="980" y="92"/>
                  </a:cubicBezTo>
                  <a:cubicBezTo>
                    <a:pt x="977" y="92"/>
                    <a:pt x="975" y="91"/>
                    <a:pt x="972" y="91"/>
                  </a:cubicBezTo>
                  <a:cubicBezTo>
                    <a:pt x="962" y="89"/>
                    <a:pt x="951" y="87"/>
                    <a:pt x="941" y="86"/>
                  </a:cubicBezTo>
                  <a:cubicBezTo>
                    <a:pt x="935" y="85"/>
                    <a:pt x="929" y="84"/>
                    <a:pt x="923" y="83"/>
                  </a:cubicBezTo>
                  <a:cubicBezTo>
                    <a:pt x="919" y="82"/>
                    <a:pt x="915" y="81"/>
                    <a:pt x="910" y="81"/>
                  </a:cubicBezTo>
                  <a:cubicBezTo>
                    <a:pt x="900" y="79"/>
                    <a:pt x="889" y="78"/>
                    <a:pt x="879" y="76"/>
                  </a:cubicBezTo>
                  <a:cubicBezTo>
                    <a:pt x="869" y="75"/>
                    <a:pt x="858" y="73"/>
                    <a:pt x="848" y="72"/>
                  </a:cubicBezTo>
                  <a:cubicBezTo>
                    <a:pt x="837" y="70"/>
                    <a:pt x="827" y="69"/>
                    <a:pt x="817" y="67"/>
                  </a:cubicBezTo>
                  <a:cubicBezTo>
                    <a:pt x="806" y="66"/>
                    <a:pt x="796" y="65"/>
                    <a:pt x="785" y="63"/>
                  </a:cubicBezTo>
                  <a:cubicBezTo>
                    <a:pt x="775" y="62"/>
                    <a:pt x="765" y="61"/>
                    <a:pt x="754" y="59"/>
                  </a:cubicBezTo>
                  <a:cubicBezTo>
                    <a:pt x="744" y="58"/>
                    <a:pt x="733" y="57"/>
                    <a:pt x="723" y="56"/>
                  </a:cubicBezTo>
                  <a:cubicBezTo>
                    <a:pt x="714" y="55"/>
                    <a:pt x="706" y="54"/>
                    <a:pt x="698" y="53"/>
                  </a:cubicBezTo>
                  <a:cubicBezTo>
                    <a:pt x="691" y="52"/>
                    <a:pt x="691" y="52"/>
                    <a:pt x="691" y="52"/>
                  </a:cubicBezTo>
                  <a:cubicBezTo>
                    <a:pt x="660" y="48"/>
                    <a:pt x="660" y="48"/>
                    <a:pt x="660" y="48"/>
                  </a:cubicBezTo>
                  <a:cubicBezTo>
                    <a:pt x="629" y="45"/>
                    <a:pt x="629" y="45"/>
                    <a:pt x="629" y="45"/>
                  </a:cubicBezTo>
                  <a:cubicBezTo>
                    <a:pt x="597" y="41"/>
                    <a:pt x="597" y="41"/>
                    <a:pt x="597" y="41"/>
                  </a:cubicBezTo>
                  <a:cubicBezTo>
                    <a:pt x="566" y="37"/>
                    <a:pt x="566" y="37"/>
                    <a:pt x="566" y="37"/>
                  </a:cubicBezTo>
                  <a:cubicBezTo>
                    <a:pt x="535" y="34"/>
                    <a:pt x="535" y="34"/>
                    <a:pt x="535" y="34"/>
                  </a:cubicBezTo>
                  <a:cubicBezTo>
                    <a:pt x="503" y="30"/>
                    <a:pt x="503" y="30"/>
                    <a:pt x="503" y="30"/>
                  </a:cubicBezTo>
                  <a:cubicBezTo>
                    <a:pt x="472" y="27"/>
                    <a:pt x="472" y="27"/>
                    <a:pt x="472" y="27"/>
                  </a:cubicBezTo>
                  <a:cubicBezTo>
                    <a:pt x="471" y="26"/>
                    <a:pt x="471" y="26"/>
                    <a:pt x="471" y="26"/>
                  </a:cubicBezTo>
                  <a:cubicBezTo>
                    <a:pt x="461" y="25"/>
                    <a:pt x="451" y="24"/>
                    <a:pt x="441" y="23"/>
                  </a:cubicBezTo>
                  <a:cubicBezTo>
                    <a:pt x="430" y="22"/>
                    <a:pt x="420" y="21"/>
                    <a:pt x="409" y="20"/>
                  </a:cubicBezTo>
                  <a:cubicBezTo>
                    <a:pt x="399" y="19"/>
                    <a:pt x="388" y="18"/>
                    <a:pt x="378" y="17"/>
                  </a:cubicBezTo>
                  <a:cubicBezTo>
                    <a:pt x="367" y="16"/>
                    <a:pt x="357" y="15"/>
                    <a:pt x="346" y="14"/>
                  </a:cubicBezTo>
                  <a:cubicBezTo>
                    <a:pt x="336" y="13"/>
                    <a:pt x="325" y="12"/>
                    <a:pt x="315" y="11"/>
                  </a:cubicBezTo>
                  <a:cubicBezTo>
                    <a:pt x="304" y="10"/>
                    <a:pt x="294" y="9"/>
                    <a:pt x="283" y="9"/>
                  </a:cubicBezTo>
                  <a:cubicBezTo>
                    <a:pt x="272" y="8"/>
                    <a:pt x="262" y="7"/>
                    <a:pt x="251" y="6"/>
                  </a:cubicBezTo>
                  <a:cubicBezTo>
                    <a:pt x="249" y="6"/>
                    <a:pt x="247" y="6"/>
                    <a:pt x="244" y="6"/>
                  </a:cubicBezTo>
                  <a:cubicBezTo>
                    <a:pt x="236" y="5"/>
                    <a:pt x="228" y="5"/>
                    <a:pt x="220" y="4"/>
                  </a:cubicBezTo>
                  <a:cubicBezTo>
                    <a:pt x="209" y="4"/>
                    <a:pt x="198" y="3"/>
                    <a:pt x="188" y="3"/>
                  </a:cubicBezTo>
                  <a:cubicBezTo>
                    <a:pt x="177" y="2"/>
                    <a:pt x="167" y="2"/>
                    <a:pt x="156" y="1"/>
                  </a:cubicBezTo>
                  <a:cubicBezTo>
                    <a:pt x="147" y="1"/>
                    <a:pt x="139" y="1"/>
                    <a:pt x="131" y="1"/>
                  </a:cubicBezTo>
                  <a:cubicBezTo>
                    <a:pt x="128" y="1"/>
                    <a:pt x="126" y="0"/>
                    <a:pt x="124" y="0"/>
                  </a:cubicBezTo>
                  <a:cubicBezTo>
                    <a:pt x="117" y="0"/>
                    <a:pt x="109" y="0"/>
                    <a:pt x="10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9" y="0"/>
                    <a:pt x="33" y="0"/>
                    <a:pt x="27" y="0"/>
                  </a:cubicBezTo>
                  <a:cubicBezTo>
                    <a:pt x="24" y="1"/>
                    <a:pt x="20" y="1"/>
                    <a:pt x="17" y="1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" y="10"/>
                    <a:pt x="14" y="10"/>
                    <a:pt x="21" y="10"/>
                  </a:cubicBezTo>
                  <a:cubicBezTo>
                    <a:pt x="24" y="9"/>
                    <a:pt x="27" y="9"/>
                    <a:pt x="30" y="9"/>
                  </a:cubicBezTo>
                  <a:cubicBezTo>
                    <a:pt x="36" y="9"/>
                    <a:pt x="43" y="9"/>
                    <a:pt x="49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106" y="9"/>
                    <a:pt x="106" y="9"/>
                    <a:pt x="106" y="9"/>
                  </a:cubicBezTo>
                  <a:cubicBezTo>
                    <a:pt x="113" y="9"/>
                    <a:pt x="120" y="9"/>
                    <a:pt x="127" y="9"/>
                  </a:cubicBezTo>
                  <a:cubicBezTo>
                    <a:pt x="129" y="9"/>
                    <a:pt x="132" y="9"/>
                    <a:pt x="134" y="10"/>
                  </a:cubicBezTo>
                  <a:cubicBezTo>
                    <a:pt x="143" y="10"/>
                    <a:pt x="151" y="10"/>
                    <a:pt x="159" y="10"/>
                  </a:cubicBezTo>
                  <a:cubicBezTo>
                    <a:pt x="169" y="11"/>
                    <a:pt x="180" y="11"/>
                    <a:pt x="191" y="12"/>
                  </a:cubicBezTo>
                  <a:cubicBezTo>
                    <a:pt x="201" y="12"/>
                    <a:pt x="212" y="13"/>
                    <a:pt x="222" y="14"/>
                  </a:cubicBezTo>
                  <a:cubicBezTo>
                    <a:pt x="231" y="14"/>
                    <a:pt x="240" y="15"/>
                    <a:pt x="248" y="15"/>
                  </a:cubicBezTo>
                  <a:cubicBezTo>
                    <a:pt x="250" y="15"/>
                    <a:pt x="252" y="15"/>
                    <a:pt x="254" y="16"/>
                  </a:cubicBezTo>
                  <a:cubicBezTo>
                    <a:pt x="265" y="16"/>
                    <a:pt x="275" y="17"/>
                    <a:pt x="286" y="18"/>
                  </a:cubicBezTo>
                  <a:cubicBezTo>
                    <a:pt x="296" y="19"/>
                    <a:pt x="307" y="20"/>
                    <a:pt x="317" y="20"/>
                  </a:cubicBezTo>
                  <a:cubicBezTo>
                    <a:pt x="328" y="21"/>
                    <a:pt x="338" y="22"/>
                    <a:pt x="349" y="23"/>
                  </a:cubicBezTo>
                  <a:cubicBezTo>
                    <a:pt x="359" y="24"/>
                    <a:pt x="370" y="25"/>
                    <a:pt x="380" y="26"/>
                  </a:cubicBezTo>
                  <a:cubicBezTo>
                    <a:pt x="391" y="27"/>
                    <a:pt x="401" y="28"/>
                    <a:pt x="412" y="29"/>
                  </a:cubicBezTo>
                  <a:cubicBezTo>
                    <a:pt x="422" y="30"/>
                    <a:pt x="433" y="32"/>
                    <a:pt x="443" y="33"/>
                  </a:cubicBezTo>
                  <a:cubicBezTo>
                    <a:pt x="454" y="34"/>
                    <a:pt x="464" y="35"/>
                    <a:pt x="475" y="36"/>
                  </a:cubicBezTo>
                  <a:cubicBezTo>
                    <a:pt x="475" y="36"/>
                    <a:pt x="475" y="36"/>
                    <a:pt x="475" y="36"/>
                  </a:cubicBezTo>
                  <a:cubicBezTo>
                    <a:pt x="506" y="40"/>
                    <a:pt x="506" y="40"/>
                    <a:pt x="506" y="40"/>
                  </a:cubicBezTo>
                  <a:cubicBezTo>
                    <a:pt x="537" y="44"/>
                    <a:pt x="537" y="44"/>
                    <a:pt x="537" y="44"/>
                  </a:cubicBezTo>
                  <a:cubicBezTo>
                    <a:pt x="569" y="47"/>
                    <a:pt x="569" y="47"/>
                    <a:pt x="569" y="47"/>
                  </a:cubicBezTo>
                  <a:cubicBezTo>
                    <a:pt x="600" y="51"/>
                    <a:pt x="600" y="51"/>
                    <a:pt x="600" y="51"/>
                  </a:cubicBezTo>
                  <a:cubicBezTo>
                    <a:pt x="631" y="55"/>
                    <a:pt x="631" y="55"/>
                    <a:pt x="631" y="55"/>
                  </a:cubicBezTo>
                  <a:cubicBezTo>
                    <a:pt x="663" y="58"/>
                    <a:pt x="663" y="58"/>
                    <a:pt x="663" y="58"/>
                  </a:cubicBezTo>
                  <a:cubicBezTo>
                    <a:pt x="694" y="62"/>
                    <a:pt x="694" y="62"/>
                    <a:pt x="694" y="62"/>
                  </a:cubicBezTo>
                  <a:cubicBezTo>
                    <a:pt x="701" y="63"/>
                    <a:pt x="701" y="63"/>
                    <a:pt x="701" y="63"/>
                  </a:cubicBezTo>
                  <a:cubicBezTo>
                    <a:pt x="709" y="64"/>
                    <a:pt x="717" y="65"/>
                    <a:pt x="725" y="66"/>
                  </a:cubicBezTo>
                  <a:cubicBezTo>
                    <a:pt x="736" y="67"/>
                    <a:pt x="746" y="68"/>
                    <a:pt x="757" y="70"/>
                  </a:cubicBezTo>
                  <a:cubicBezTo>
                    <a:pt x="767" y="71"/>
                    <a:pt x="777" y="72"/>
                    <a:pt x="788" y="74"/>
                  </a:cubicBezTo>
                  <a:cubicBezTo>
                    <a:pt x="798" y="75"/>
                    <a:pt x="809" y="76"/>
                    <a:pt x="819" y="78"/>
                  </a:cubicBezTo>
                  <a:cubicBezTo>
                    <a:pt x="830" y="79"/>
                    <a:pt x="840" y="81"/>
                    <a:pt x="850" y="82"/>
                  </a:cubicBezTo>
                  <a:cubicBezTo>
                    <a:pt x="861" y="84"/>
                    <a:pt x="871" y="85"/>
                    <a:pt x="881" y="87"/>
                  </a:cubicBezTo>
                  <a:cubicBezTo>
                    <a:pt x="892" y="88"/>
                    <a:pt x="902" y="90"/>
                    <a:pt x="913" y="91"/>
                  </a:cubicBezTo>
                  <a:cubicBezTo>
                    <a:pt x="917" y="92"/>
                    <a:pt x="922" y="93"/>
                    <a:pt x="926" y="94"/>
                  </a:cubicBezTo>
                  <a:cubicBezTo>
                    <a:pt x="932" y="94"/>
                    <a:pt x="938" y="95"/>
                    <a:pt x="944" y="96"/>
                  </a:cubicBezTo>
                  <a:cubicBezTo>
                    <a:pt x="954" y="98"/>
                    <a:pt x="964" y="100"/>
                    <a:pt x="974" y="102"/>
                  </a:cubicBezTo>
                  <a:cubicBezTo>
                    <a:pt x="977" y="102"/>
                    <a:pt x="980" y="103"/>
                    <a:pt x="982" y="103"/>
                  </a:cubicBezTo>
                  <a:cubicBezTo>
                    <a:pt x="990" y="105"/>
                    <a:pt x="998" y="106"/>
                    <a:pt x="1005" y="107"/>
                  </a:cubicBezTo>
                  <a:cubicBezTo>
                    <a:pt x="1007" y="108"/>
                    <a:pt x="1009" y="108"/>
                    <a:pt x="1010" y="108"/>
                  </a:cubicBezTo>
                  <a:cubicBezTo>
                    <a:pt x="1024" y="111"/>
                    <a:pt x="1024" y="111"/>
                    <a:pt x="1024" y="111"/>
                  </a:cubicBezTo>
                  <a:cubicBezTo>
                    <a:pt x="1025" y="111"/>
                    <a:pt x="1027" y="112"/>
                    <a:pt x="1028" y="112"/>
                  </a:cubicBezTo>
                  <a:cubicBezTo>
                    <a:pt x="1031" y="113"/>
                    <a:pt x="1031" y="113"/>
                    <a:pt x="1031" y="113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8" y="114"/>
                    <a:pt x="1038" y="114"/>
                    <a:pt x="1038" y="114"/>
                  </a:cubicBezTo>
                  <a:cubicBezTo>
                    <a:pt x="1066" y="122"/>
                    <a:pt x="1066" y="122"/>
                    <a:pt x="1066" y="122"/>
                  </a:cubicBezTo>
                  <a:cubicBezTo>
                    <a:pt x="1093" y="129"/>
                    <a:pt x="1093" y="129"/>
                    <a:pt x="1093" y="129"/>
                  </a:cubicBezTo>
                  <a:cubicBezTo>
                    <a:pt x="1094" y="129"/>
                    <a:pt x="1095" y="129"/>
                    <a:pt x="1097" y="130"/>
                  </a:cubicBezTo>
                  <a:cubicBezTo>
                    <a:pt x="1107" y="132"/>
                    <a:pt x="1117" y="135"/>
                    <a:pt x="1127" y="138"/>
                  </a:cubicBezTo>
                  <a:cubicBezTo>
                    <a:pt x="1134" y="139"/>
                    <a:pt x="1141" y="141"/>
                    <a:pt x="1148" y="143"/>
                  </a:cubicBezTo>
                  <a:cubicBezTo>
                    <a:pt x="1151" y="144"/>
                    <a:pt x="1154" y="145"/>
                    <a:pt x="1157" y="146"/>
                  </a:cubicBezTo>
                  <a:cubicBezTo>
                    <a:pt x="1167" y="148"/>
                    <a:pt x="1177" y="151"/>
                    <a:pt x="1188" y="154"/>
                  </a:cubicBezTo>
                  <a:cubicBezTo>
                    <a:pt x="1198" y="157"/>
                    <a:pt x="1208" y="160"/>
                    <a:pt x="1218" y="164"/>
                  </a:cubicBezTo>
                  <a:cubicBezTo>
                    <a:pt x="1228" y="167"/>
                    <a:pt x="1237" y="170"/>
                    <a:pt x="1247" y="174"/>
                  </a:cubicBezTo>
                  <a:cubicBezTo>
                    <a:pt x="1250" y="175"/>
                    <a:pt x="1253" y="176"/>
                    <a:pt x="1256" y="177"/>
                  </a:cubicBezTo>
                  <a:cubicBezTo>
                    <a:pt x="1263" y="179"/>
                    <a:pt x="1270" y="182"/>
                    <a:pt x="1277" y="185"/>
                  </a:cubicBezTo>
                  <a:cubicBezTo>
                    <a:pt x="1287" y="189"/>
                    <a:pt x="1297" y="193"/>
                    <a:pt x="1306" y="198"/>
                  </a:cubicBezTo>
                  <a:cubicBezTo>
                    <a:pt x="1316" y="202"/>
                    <a:pt x="1326" y="207"/>
                    <a:pt x="1335" y="212"/>
                  </a:cubicBezTo>
                  <a:cubicBezTo>
                    <a:pt x="1343" y="216"/>
                    <a:pt x="1351" y="221"/>
                    <a:pt x="1358" y="225"/>
                  </a:cubicBezTo>
                  <a:cubicBezTo>
                    <a:pt x="1360" y="226"/>
                    <a:pt x="1362" y="228"/>
                    <a:pt x="1363" y="229"/>
                  </a:cubicBezTo>
                  <a:cubicBezTo>
                    <a:pt x="1373" y="235"/>
                    <a:pt x="1382" y="241"/>
                    <a:pt x="1391" y="248"/>
                  </a:cubicBezTo>
                  <a:cubicBezTo>
                    <a:pt x="1399" y="254"/>
                    <a:pt x="1406" y="261"/>
                    <a:pt x="1414" y="268"/>
                  </a:cubicBezTo>
                  <a:cubicBezTo>
                    <a:pt x="1422" y="276"/>
                    <a:pt x="1431" y="286"/>
                    <a:pt x="1438" y="296"/>
                  </a:cubicBezTo>
                  <a:cubicBezTo>
                    <a:pt x="1438" y="296"/>
                    <a:pt x="1439" y="296"/>
                    <a:pt x="1439" y="297"/>
                  </a:cubicBezTo>
                  <a:cubicBezTo>
                    <a:pt x="1448" y="309"/>
                    <a:pt x="1455" y="322"/>
                    <a:pt x="1462" y="335"/>
                  </a:cubicBezTo>
                  <a:cubicBezTo>
                    <a:pt x="1470" y="353"/>
                    <a:pt x="1477" y="372"/>
                    <a:pt x="1481" y="391"/>
                  </a:cubicBezTo>
                  <a:cubicBezTo>
                    <a:pt x="1481" y="393"/>
                    <a:pt x="1482" y="398"/>
                    <a:pt x="1482" y="399"/>
                  </a:cubicBezTo>
                  <a:cubicBezTo>
                    <a:pt x="1482" y="422"/>
                    <a:pt x="1478" y="441"/>
                    <a:pt x="1470" y="462"/>
                  </a:cubicBezTo>
                  <a:cubicBezTo>
                    <a:pt x="1469" y="465"/>
                    <a:pt x="1468" y="467"/>
                    <a:pt x="1467" y="470"/>
                  </a:cubicBezTo>
                  <a:cubicBezTo>
                    <a:pt x="1464" y="478"/>
                    <a:pt x="1464" y="478"/>
                    <a:pt x="1464" y="478"/>
                  </a:cubicBezTo>
                  <a:cubicBezTo>
                    <a:pt x="1463" y="480"/>
                    <a:pt x="1462" y="483"/>
                    <a:pt x="1460" y="485"/>
                  </a:cubicBezTo>
                  <a:cubicBezTo>
                    <a:pt x="1459" y="487"/>
                    <a:pt x="1458" y="489"/>
                    <a:pt x="1457" y="490"/>
                  </a:cubicBezTo>
                  <a:cubicBezTo>
                    <a:pt x="1457" y="491"/>
                    <a:pt x="1457" y="492"/>
                    <a:pt x="1456" y="492"/>
                  </a:cubicBezTo>
                  <a:cubicBezTo>
                    <a:pt x="1451" y="502"/>
                    <a:pt x="1444" y="511"/>
                    <a:pt x="1437" y="520"/>
                  </a:cubicBezTo>
                  <a:cubicBezTo>
                    <a:pt x="1430" y="529"/>
                    <a:pt x="1421" y="538"/>
                    <a:pt x="1412" y="546"/>
                  </a:cubicBezTo>
                  <a:cubicBezTo>
                    <a:pt x="1405" y="553"/>
                    <a:pt x="1396" y="559"/>
                    <a:pt x="1388" y="565"/>
                  </a:cubicBezTo>
                  <a:cubicBezTo>
                    <a:pt x="1383" y="569"/>
                    <a:pt x="1378" y="572"/>
                    <a:pt x="1373" y="575"/>
                  </a:cubicBezTo>
                  <a:cubicBezTo>
                    <a:pt x="1361" y="583"/>
                    <a:pt x="1348" y="590"/>
                    <a:pt x="1336" y="597"/>
                  </a:cubicBezTo>
                  <a:cubicBezTo>
                    <a:pt x="1334" y="598"/>
                    <a:pt x="1332" y="599"/>
                    <a:pt x="1330" y="600"/>
                  </a:cubicBezTo>
                  <a:cubicBezTo>
                    <a:pt x="1320" y="605"/>
                    <a:pt x="1310" y="610"/>
                    <a:pt x="1299" y="614"/>
                  </a:cubicBezTo>
                  <a:cubicBezTo>
                    <a:pt x="1288" y="619"/>
                    <a:pt x="1276" y="624"/>
                    <a:pt x="1264" y="629"/>
                  </a:cubicBezTo>
                  <a:cubicBezTo>
                    <a:pt x="1252" y="633"/>
                    <a:pt x="1240" y="637"/>
                    <a:pt x="1229" y="641"/>
                  </a:cubicBezTo>
                  <a:cubicBezTo>
                    <a:pt x="1220" y="644"/>
                    <a:pt x="1212" y="646"/>
                    <a:pt x="1204" y="649"/>
                  </a:cubicBezTo>
                  <a:cubicBezTo>
                    <a:pt x="1200" y="650"/>
                    <a:pt x="1197" y="651"/>
                    <a:pt x="1194" y="652"/>
                  </a:cubicBezTo>
                  <a:cubicBezTo>
                    <a:pt x="1182" y="655"/>
                    <a:pt x="1171" y="658"/>
                    <a:pt x="1159" y="661"/>
                  </a:cubicBezTo>
                  <a:cubicBezTo>
                    <a:pt x="1152" y="663"/>
                    <a:pt x="1145" y="665"/>
                    <a:pt x="1138" y="667"/>
                  </a:cubicBezTo>
                  <a:cubicBezTo>
                    <a:pt x="1134" y="668"/>
                    <a:pt x="1129" y="669"/>
                    <a:pt x="1125" y="670"/>
                  </a:cubicBezTo>
                  <a:cubicBezTo>
                    <a:pt x="1114" y="673"/>
                    <a:pt x="1102" y="676"/>
                    <a:pt x="1091" y="678"/>
                  </a:cubicBezTo>
                  <a:cubicBezTo>
                    <a:pt x="1085" y="680"/>
                    <a:pt x="1078" y="681"/>
                    <a:pt x="1072" y="683"/>
                  </a:cubicBezTo>
                  <a:cubicBezTo>
                    <a:pt x="1067" y="684"/>
                    <a:pt x="1062" y="685"/>
                    <a:pt x="1057" y="687"/>
                  </a:cubicBezTo>
                  <a:cubicBezTo>
                    <a:pt x="1045" y="689"/>
                    <a:pt x="1034" y="692"/>
                    <a:pt x="1023" y="695"/>
                  </a:cubicBezTo>
                  <a:cubicBezTo>
                    <a:pt x="1011" y="698"/>
                    <a:pt x="1000" y="701"/>
                    <a:pt x="988" y="704"/>
                  </a:cubicBezTo>
                  <a:cubicBezTo>
                    <a:pt x="977" y="707"/>
                    <a:pt x="965" y="710"/>
                    <a:pt x="954" y="713"/>
                  </a:cubicBezTo>
                  <a:cubicBezTo>
                    <a:pt x="949" y="714"/>
                    <a:pt x="944" y="716"/>
                    <a:pt x="939" y="717"/>
                  </a:cubicBezTo>
                  <a:cubicBezTo>
                    <a:pt x="933" y="719"/>
                    <a:pt x="926" y="721"/>
                    <a:pt x="920" y="723"/>
                  </a:cubicBezTo>
                  <a:cubicBezTo>
                    <a:pt x="908" y="726"/>
                    <a:pt x="896" y="730"/>
                    <a:pt x="885" y="733"/>
                  </a:cubicBezTo>
                  <a:cubicBezTo>
                    <a:pt x="873" y="737"/>
                    <a:pt x="861" y="741"/>
                    <a:pt x="850" y="745"/>
                  </a:cubicBezTo>
                  <a:cubicBezTo>
                    <a:pt x="838" y="750"/>
                    <a:pt x="826" y="754"/>
                    <a:pt x="814" y="759"/>
                  </a:cubicBezTo>
                  <a:cubicBezTo>
                    <a:pt x="813" y="760"/>
                    <a:pt x="811" y="760"/>
                    <a:pt x="809" y="761"/>
                  </a:cubicBezTo>
                  <a:cubicBezTo>
                    <a:pt x="799" y="765"/>
                    <a:pt x="789" y="770"/>
                    <a:pt x="778" y="775"/>
                  </a:cubicBezTo>
                  <a:cubicBezTo>
                    <a:pt x="768" y="780"/>
                    <a:pt x="757" y="785"/>
                    <a:pt x="747" y="791"/>
                  </a:cubicBezTo>
                  <a:cubicBezTo>
                    <a:pt x="745" y="792"/>
                    <a:pt x="743" y="793"/>
                    <a:pt x="742" y="794"/>
                  </a:cubicBezTo>
                  <a:cubicBezTo>
                    <a:pt x="734" y="799"/>
                    <a:pt x="726" y="804"/>
                    <a:pt x="718" y="810"/>
                  </a:cubicBezTo>
                  <a:cubicBezTo>
                    <a:pt x="713" y="814"/>
                    <a:pt x="708" y="818"/>
                    <a:pt x="703" y="822"/>
                  </a:cubicBezTo>
                  <a:cubicBezTo>
                    <a:pt x="699" y="825"/>
                    <a:pt x="695" y="829"/>
                    <a:pt x="691" y="832"/>
                  </a:cubicBezTo>
                  <a:cubicBezTo>
                    <a:pt x="683" y="841"/>
                    <a:pt x="676" y="850"/>
                    <a:pt x="670" y="860"/>
                  </a:cubicBezTo>
                  <a:cubicBezTo>
                    <a:pt x="665" y="868"/>
                    <a:pt x="665" y="868"/>
                    <a:pt x="665" y="868"/>
                  </a:cubicBezTo>
                  <a:cubicBezTo>
                    <a:pt x="664" y="870"/>
                    <a:pt x="663" y="873"/>
                    <a:pt x="661" y="876"/>
                  </a:cubicBezTo>
                  <a:cubicBezTo>
                    <a:pt x="659" y="881"/>
                    <a:pt x="657" y="887"/>
                    <a:pt x="655" y="892"/>
                  </a:cubicBezTo>
                  <a:cubicBezTo>
                    <a:pt x="649" y="915"/>
                    <a:pt x="647" y="940"/>
                    <a:pt x="653" y="963"/>
                  </a:cubicBezTo>
                  <a:cubicBezTo>
                    <a:pt x="655" y="973"/>
                    <a:pt x="658" y="983"/>
                    <a:pt x="663" y="992"/>
                  </a:cubicBezTo>
                  <a:cubicBezTo>
                    <a:pt x="668" y="1004"/>
                    <a:pt x="675" y="1015"/>
                    <a:pt x="684" y="1026"/>
                  </a:cubicBezTo>
                  <a:cubicBezTo>
                    <a:pt x="684" y="1027"/>
                    <a:pt x="685" y="1028"/>
                    <a:pt x="686" y="1029"/>
                  </a:cubicBezTo>
                  <a:cubicBezTo>
                    <a:pt x="687" y="1030"/>
                    <a:pt x="688" y="1031"/>
                    <a:pt x="689" y="1032"/>
                  </a:cubicBezTo>
                  <a:cubicBezTo>
                    <a:pt x="691" y="1034"/>
                    <a:pt x="693" y="1037"/>
                    <a:pt x="695" y="1039"/>
                  </a:cubicBezTo>
                  <a:cubicBezTo>
                    <a:pt x="697" y="1040"/>
                    <a:pt x="697" y="1040"/>
                    <a:pt x="697" y="1040"/>
                  </a:cubicBezTo>
                  <a:cubicBezTo>
                    <a:pt x="697" y="1041"/>
                    <a:pt x="698" y="1042"/>
                    <a:pt x="699" y="1043"/>
                  </a:cubicBezTo>
                  <a:cubicBezTo>
                    <a:pt x="706" y="1049"/>
                    <a:pt x="706" y="1049"/>
                    <a:pt x="706" y="1049"/>
                  </a:cubicBezTo>
                  <a:cubicBezTo>
                    <a:pt x="709" y="1052"/>
                    <a:pt x="709" y="1052"/>
                    <a:pt x="709" y="1052"/>
                  </a:cubicBezTo>
                  <a:cubicBezTo>
                    <a:pt x="713" y="1054"/>
                    <a:pt x="713" y="1054"/>
                    <a:pt x="713" y="1054"/>
                  </a:cubicBezTo>
                  <a:cubicBezTo>
                    <a:pt x="714" y="1055"/>
                    <a:pt x="715" y="1056"/>
                    <a:pt x="717" y="1057"/>
                  </a:cubicBezTo>
                  <a:cubicBezTo>
                    <a:pt x="717" y="1058"/>
                    <a:pt x="718" y="1059"/>
                    <a:pt x="719" y="1060"/>
                  </a:cubicBezTo>
                  <a:cubicBezTo>
                    <a:pt x="727" y="1065"/>
                    <a:pt x="727" y="1065"/>
                    <a:pt x="727" y="1065"/>
                  </a:cubicBezTo>
                  <a:cubicBezTo>
                    <a:pt x="729" y="1067"/>
                    <a:pt x="732" y="1068"/>
                    <a:pt x="734" y="1070"/>
                  </a:cubicBezTo>
                  <a:cubicBezTo>
                    <a:pt x="737" y="1071"/>
                    <a:pt x="739" y="1073"/>
                    <a:pt x="742" y="1074"/>
                  </a:cubicBezTo>
                  <a:cubicBezTo>
                    <a:pt x="743" y="1075"/>
                    <a:pt x="744" y="1075"/>
                    <a:pt x="744" y="1076"/>
                  </a:cubicBezTo>
                  <a:cubicBezTo>
                    <a:pt x="754" y="1081"/>
                    <a:pt x="764" y="1086"/>
                    <a:pt x="773" y="1090"/>
                  </a:cubicBezTo>
                  <a:cubicBezTo>
                    <a:pt x="783" y="1094"/>
                    <a:pt x="793" y="1098"/>
                    <a:pt x="803" y="1101"/>
                  </a:cubicBezTo>
                  <a:cubicBezTo>
                    <a:pt x="804" y="1101"/>
                    <a:pt x="804" y="1101"/>
                    <a:pt x="805" y="1102"/>
                  </a:cubicBezTo>
                  <a:cubicBezTo>
                    <a:pt x="814" y="1105"/>
                    <a:pt x="824" y="1107"/>
                    <a:pt x="833" y="1110"/>
                  </a:cubicBezTo>
                  <a:cubicBezTo>
                    <a:pt x="843" y="1113"/>
                    <a:pt x="853" y="1115"/>
                    <a:pt x="863" y="1117"/>
                  </a:cubicBezTo>
                  <a:cubicBezTo>
                    <a:pt x="866" y="1118"/>
                    <a:pt x="869" y="1118"/>
                    <a:pt x="872" y="1119"/>
                  </a:cubicBezTo>
                  <a:cubicBezTo>
                    <a:pt x="879" y="1120"/>
                    <a:pt x="887" y="1122"/>
                    <a:pt x="894" y="1123"/>
                  </a:cubicBezTo>
                  <a:cubicBezTo>
                    <a:pt x="905" y="1125"/>
                    <a:pt x="915" y="1126"/>
                    <a:pt x="925" y="1128"/>
                  </a:cubicBezTo>
                  <a:cubicBezTo>
                    <a:pt x="936" y="1129"/>
                    <a:pt x="946" y="1131"/>
                    <a:pt x="957" y="1132"/>
                  </a:cubicBezTo>
                  <a:cubicBezTo>
                    <a:pt x="967" y="1133"/>
                    <a:pt x="978" y="1134"/>
                    <a:pt x="988" y="1135"/>
                  </a:cubicBezTo>
                  <a:cubicBezTo>
                    <a:pt x="995" y="1135"/>
                    <a:pt x="1001" y="1136"/>
                    <a:pt x="1008" y="1136"/>
                  </a:cubicBezTo>
                  <a:cubicBezTo>
                    <a:pt x="1012" y="1137"/>
                    <a:pt x="1016" y="1137"/>
                    <a:pt x="1020" y="1137"/>
                  </a:cubicBezTo>
                  <a:cubicBezTo>
                    <a:pt x="1030" y="1138"/>
                    <a:pt x="1041" y="1139"/>
                    <a:pt x="1052" y="1139"/>
                  </a:cubicBezTo>
                  <a:cubicBezTo>
                    <a:pt x="1062" y="1140"/>
                    <a:pt x="1073" y="1140"/>
                    <a:pt x="1083" y="1140"/>
                  </a:cubicBezTo>
                  <a:cubicBezTo>
                    <a:pt x="1094" y="1141"/>
                    <a:pt x="1105" y="1141"/>
                    <a:pt x="1115" y="1141"/>
                  </a:cubicBezTo>
                  <a:cubicBezTo>
                    <a:pt x="1125" y="1142"/>
                    <a:pt x="1135" y="1142"/>
                    <a:pt x="1145" y="1142"/>
                  </a:cubicBezTo>
                  <a:cubicBezTo>
                    <a:pt x="1146" y="1142"/>
                    <a:pt x="1147" y="1142"/>
                    <a:pt x="1147" y="1142"/>
                  </a:cubicBezTo>
                  <a:cubicBezTo>
                    <a:pt x="1158" y="1142"/>
                    <a:pt x="1169" y="1142"/>
                    <a:pt x="1180" y="1142"/>
                  </a:cubicBezTo>
                  <a:cubicBezTo>
                    <a:pt x="1190" y="1142"/>
                    <a:pt x="1201" y="1142"/>
                    <a:pt x="1212" y="1142"/>
                  </a:cubicBezTo>
                  <a:cubicBezTo>
                    <a:pt x="1223" y="1142"/>
                    <a:pt x="1233" y="1142"/>
                    <a:pt x="1244" y="1142"/>
                  </a:cubicBezTo>
                  <a:cubicBezTo>
                    <a:pt x="1255" y="1142"/>
                    <a:pt x="1265" y="1142"/>
                    <a:pt x="1276" y="1142"/>
                  </a:cubicBezTo>
                  <a:cubicBezTo>
                    <a:pt x="1278" y="1142"/>
                    <a:pt x="1280" y="1142"/>
                    <a:pt x="1282" y="1142"/>
                  </a:cubicBezTo>
                  <a:cubicBezTo>
                    <a:pt x="1291" y="1142"/>
                    <a:pt x="1299" y="1142"/>
                    <a:pt x="1308" y="1142"/>
                  </a:cubicBezTo>
                  <a:cubicBezTo>
                    <a:pt x="1319" y="1142"/>
                    <a:pt x="1330" y="1142"/>
                    <a:pt x="1341" y="1142"/>
                  </a:cubicBezTo>
                  <a:cubicBezTo>
                    <a:pt x="1344" y="1143"/>
                    <a:pt x="1347" y="1143"/>
                    <a:pt x="1350" y="1143"/>
                  </a:cubicBezTo>
                  <a:cubicBezTo>
                    <a:pt x="1358" y="1143"/>
                    <a:pt x="1358" y="1143"/>
                    <a:pt x="1358" y="1143"/>
                  </a:cubicBezTo>
                  <a:cubicBezTo>
                    <a:pt x="1360" y="1143"/>
                    <a:pt x="1360" y="1143"/>
                    <a:pt x="1360" y="1143"/>
                  </a:cubicBezTo>
                  <a:cubicBezTo>
                    <a:pt x="1363" y="1143"/>
                    <a:pt x="1363" y="1143"/>
                    <a:pt x="1363" y="1143"/>
                  </a:cubicBezTo>
                  <a:cubicBezTo>
                    <a:pt x="1367" y="1143"/>
                    <a:pt x="1367" y="1143"/>
                    <a:pt x="1367" y="1143"/>
                  </a:cubicBezTo>
                  <a:cubicBezTo>
                    <a:pt x="1373" y="1142"/>
                    <a:pt x="1373" y="1142"/>
                    <a:pt x="1373" y="1142"/>
                  </a:cubicBezTo>
                  <a:cubicBezTo>
                    <a:pt x="1384" y="1142"/>
                    <a:pt x="1384" y="1142"/>
                    <a:pt x="1384" y="1142"/>
                  </a:cubicBezTo>
                  <a:cubicBezTo>
                    <a:pt x="1405" y="1142"/>
                    <a:pt x="1405" y="1142"/>
                    <a:pt x="1405" y="1142"/>
                  </a:cubicBezTo>
                  <a:cubicBezTo>
                    <a:pt x="1418" y="1142"/>
                    <a:pt x="1418" y="1142"/>
                    <a:pt x="1418" y="1142"/>
                  </a:cubicBezTo>
                  <a:cubicBezTo>
                    <a:pt x="1437" y="1141"/>
                    <a:pt x="1437" y="1141"/>
                    <a:pt x="1437" y="1141"/>
                  </a:cubicBezTo>
                  <a:cubicBezTo>
                    <a:pt x="1470" y="1141"/>
                    <a:pt x="1470" y="1141"/>
                    <a:pt x="1470" y="1141"/>
                  </a:cubicBezTo>
                  <a:cubicBezTo>
                    <a:pt x="1502" y="1140"/>
                    <a:pt x="1502" y="1140"/>
                    <a:pt x="1502" y="1140"/>
                  </a:cubicBezTo>
                  <a:cubicBezTo>
                    <a:pt x="1534" y="1140"/>
                    <a:pt x="1534" y="1140"/>
                    <a:pt x="1534" y="1140"/>
                  </a:cubicBezTo>
                  <a:cubicBezTo>
                    <a:pt x="1567" y="1139"/>
                    <a:pt x="1567" y="1139"/>
                    <a:pt x="1567" y="1139"/>
                  </a:cubicBezTo>
                  <a:cubicBezTo>
                    <a:pt x="1599" y="1139"/>
                    <a:pt x="1599" y="1139"/>
                    <a:pt x="1599" y="1139"/>
                  </a:cubicBezTo>
                  <a:cubicBezTo>
                    <a:pt x="1631" y="1138"/>
                    <a:pt x="1631" y="1138"/>
                    <a:pt x="1631" y="1138"/>
                  </a:cubicBezTo>
                  <a:cubicBezTo>
                    <a:pt x="1664" y="1138"/>
                    <a:pt x="1664" y="1138"/>
                    <a:pt x="1664" y="1138"/>
                  </a:cubicBezTo>
                  <a:cubicBezTo>
                    <a:pt x="1691" y="1137"/>
                    <a:pt x="1691" y="1137"/>
                    <a:pt x="1691" y="1137"/>
                  </a:cubicBezTo>
                  <a:cubicBezTo>
                    <a:pt x="1693" y="1137"/>
                    <a:pt x="1695" y="1137"/>
                    <a:pt x="1696" y="1137"/>
                  </a:cubicBezTo>
                  <a:cubicBezTo>
                    <a:pt x="1707" y="1137"/>
                    <a:pt x="1718" y="1137"/>
                    <a:pt x="1728" y="1137"/>
                  </a:cubicBezTo>
                  <a:cubicBezTo>
                    <a:pt x="1739" y="1137"/>
                    <a:pt x="1750" y="1137"/>
                    <a:pt x="1760" y="1138"/>
                  </a:cubicBezTo>
                  <a:cubicBezTo>
                    <a:pt x="1771" y="1138"/>
                    <a:pt x="1782" y="1138"/>
                    <a:pt x="1792" y="1139"/>
                  </a:cubicBezTo>
                  <a:cubicBezTo>
                    <a:pt x="1803" y="1139"/>
                    <a:pt x="1814" y="1140"/>
                    <a:pt x="1824" y="1140"/>
                  </a:cubicBezTo>
                  <a:cubicBezTo>
                    <a:pt x="1825" y="1140"/>
                    <a:pt x="1826" y="1140"/>
                    <a:pt x="1827" y="1140"/>
                  </a:cubicBezTo>
                  <a:cubicBezTo>
                    <a:pt x="1837" y="1141"/>
                    <a:pt x="1846" y="1142"/>
                    <a:pt x="1856" y="1142"/>
                  </a:cubicBezTo>
                  <a:cubicBezTo>
                    <a:pt x="1867" y="1143"/>
                    <a:pt x="1877" y="1144"/>
                    <a:pt x="1888" y="1145"/>
                  </a:cubicBezTo>
                  <a:cubicBezTo>
                    <a:pt x="1898" y="1146"/>
                    <a:pt x="1909" y="1146"/>
                    <a:pt x="1919" y="1147"/>
                  </a:cubicBezTo>
                  <a:cubicBezTo>
                    <a:pt x="1930" y="1148"/>
                    <a:pt x="1940" y="1150"/>
                    <a:pt x="1951" y="1151"/>
                  </a:cubicBezTo>
                  <a:cubicBezTo>
                    <a:pt x="1955" y="1151"/>
                    <a:pt x="1959" y="1152"/>
                    <a:pt x="1963" y="1152"/>
                  </a:cubicBezTo>
                  <a:cubicBezTo>
                    <a:pt x="1969" y="1153"/>
                    <a:pt x="1976" y="1154"/>
                    <a:pt x="1982" y="1154"/>
                  </a:cubicBezTo>
                  <a:cubicBezTo>
                    <a:pt x="1992" y="1156"/>
                    <a:pt x="2003" y="1157"/>
                    <a:pt x="2013" y="1159"/>
                  </a:cubicBezTo>
                  <a:cubicBezTo>
                    <a:pt x="2024" y="1160"/>
                    <a:pt x="2034" y="1162"/>
                    <a:pt x="2044" y="1163"/>
                  </a:cubicBezTo>
                  <a:cubicBezTo>
                    <a:pt x="2055" y="1165"/>
                    <a:pt x="2065" y="1166"/>
                    <a:pt x="2075" y="1168"/>
                  </a:cubicBezTo>
                  <a:cubicBezTo>
                    <a:pt x="2086" y="1170"/>
                    <a:pt x="2096" y="1172"/>
                    <a:pt x="2106" y="1173"/>
                  </a:cubicBezTo>
                  <a:cubicBezTo>
                    <a:pt x="2117" y="1175"/>
                    <a:pt x="2127" y="1177"/>
                    <a:pt x="2137" y="1179"/>
                  </a:cubicBezTo>
                  <a:cubicBezTo>
                    <a:pt x="2147" y="1181"/>
                    <a:pt x="2158" y="1183"/>
                    <a:pt x="2168" y="1186"/>
                  </a:cubicBezTo>
                  <a:cubicBezTo>
                    <a:pt x="2178" y="1188"/>
                    <a:pt x="2188" y="1190"/>
                    <a:pt x="2198" y="1192"/>
                  </a:cubicBezTo>
                  <a:cubicBezTo>
                    <a:pt x="2209" y="1195"/>
                    <a:pt x="2219" y="1197"/>
                    <a:pt x="2229" y="1199"/>
                  </a:cubicBezTo>
                  <a:cubicBezTo>
                    <a:pt x="2230" y="1200"/>
                    <a:pt x="2230" y="1200"/>
                    <a:pt x="2231" y="1200"/>
                  </a:cubicBezTo>
                  <a:cubicBezTo>
                    <a:pt x="2241" y="1202"/>
                    <a:pt x="2250" y="1205"/>
                    <a:pt x="2259" y="1207"/>
                  </a:cubicBezTo>
                  <a:cubicBezTo>
                    <a:pt x="2269" y="1210"/>
                    <a:pt x="2280" y="1212"/>
                    <a:pt x="2290" y="1215"/>
                  </a:cubicBezTo>
                  <a:cubicBezTo>
                    <a:pt x="2300" y="1218"/>
                    <a:pt x="2310" y="1221"/>
                    <a:pt x="2320" y="1224"/>
                  </a:cubicBezTo>
                  <a:cubicBezTo>
                    <a:pt x="2330" y="1227"/>
                    <a:pt x="2340" y="1230"/>
                    <a:pt x="2350" y="1233"/>
                  </a:cubicBezTo>
                  <a:cubicBezTo>
                    <a:pt x="2360" y="1236"/>
                    <a:pt x="2370" y="1239"/>
                    <a:pt x="2380" y="1242"/>
                  </a:cubicBezTo>
                  <a:cubicBezTo>
                    <a:pt x="2390" y="1245"/>
                    <a:pt x="2400" y="1249"/>
                    <a:pt x="2410" y="1252"/>
                  </a:cubicBezTo>
                  <a:cubicBezTo>
                    <a:pt x="2420" y="1255"/>
                    <a:pt x="2430" y="1259"/>
                    <a:pt x="2440" y="1262"/>
                  </a:cubicBezTo>
                  <a:cubicBezTo>
                    <a:pt x="2449" y="1266"/>
                    <a:pt x="2459" y="1269"/>
                    <a:pt x="2469" y="1273"/>
                  </a:cubicBezTo>
                  <a:cubicBezTo>
                    <a:pt x="2476" y="1276"/>
                    <a:pt x="2484" y="1279"/>
                    <a:pt x="2491" y="1281"/>
                  </a:cubicBezTo>
                  <a:cubicBezTo>
                    <a:pt x="2493" y="1282"/>
                    <a:pt x="2496" y="1283"/>
                    <a:pt x="2499" y="1285"/>
                  </a:cubicBezTo>
                  <a:cubicBezTo>
                    <a:pt x="2509" y="1288"/>
                    <a:pt x="2518" y="1292"/>
                    <a:pt x="2528" y="1296"/>
                  </a:cubicBezTo>
                  <a:cubicBezTo>
                    <a:pt x="2538" y="1300"/>
                    <a:pt x="2548" y="1305"/>
                    <a:pt x="2557" y="1309"/>
                  </a:cubicBezTo>
                  <a:cubicBezTo>
                    <a:pt x="2567" y="1313"/>
                    <a:pt x="2577" y="1317"/>
                    <a:pt x="2587" y="1322"/>
                  </a:cubicBezTo>
                  <a:cubicBezTo>
                    <a:pt x="2596" y="1326"/>
                    <a:pt x="2606" y="1331"/>
                    <a:pt x="2616" y="1335"/>
                  </a:cubicBezTo>
                  <a:cubicBezTo>
                    <a:pt x="2625" y="1340"/>
                    <a:pt x="2635" y="1344"/>
                    <a:pt x="2644" y="1349"/>
                  </a:cubicBezTo>
                  <a:cubicBezTo>
                    <a:pt x="2654" y="1354"/>
                    <a:pt x="2664" y="1359"/>
                    <a:pt x="2673" y="1364"/>
                  </a:cubicBezTo>
                  <a:cubicBezTo>
                    <a:pt x="2683" y="1369"/>
                    <a:pt x="2692" y="1374"/>
                    <a:pt x="2702" y="1379"/>
                  </a:cubicBezTo>
                  <a:cubicBezTo>
                    <a:pt x="2711" y="1384"/>
                    <a:pt x="2721" y="1389"/>
                    <a:pt x="2730" y="1395"/>
                  </a:cubicBezTo>
                  <a:cubicBezTo>
                    <a:pt x="2732" y="1396"/>
                    <a:pt x="2734" y="1397"/>
                    <a:pt x="2736" y="1398"/>
                  </a:cubicBezTo>
                  <a:cubicBezTo>
                    <a:pt x="2744" y="1402"/>
                    <a:pt x="2751" y="1407"/>
                    <a:pt x="2759" y="1411"/>
                  </a:cubicBezTo>
                  <a:cubicBezTo>
                    <a:pt x="2768" y="1417"/>
                    <a:pt x="2777" y="1423"/>
                    <a:pt x="2787" y="1428"/>
                  </a:cubicBezTo>
                  <a:cubicBezTo>
                    <a:pt x="2796" y="1434"/>
                    <a:pt x="2806" y="1440"/>
                    <a:pt x="2815" y="1446"/>
                  </a:cubicBezTo>
                  <a:cubicBezTo>
                    <a:pt x="2824" y="1452"/>
                    <a:pt x="2833" y="1458"/>
                    <a:pt x="2843" y="1465"/>
                  </a:cubicBezTo>
                  <a:cubicBezTo>
                    <a:pt x="2846" y="1466"/>
                    <a:pt x="2848" y="1468"/>
                    <a:pt x="2851" y="1470"/>
                  </a:cubicBezTo>
                  <a:cubicBezTo>
                    <a:pt x="2858" y="1475"/>
                    <a:pt x="2864" y="1479"/>
                    <a:pt x="2870" y="1484"/>
                  </a:cubicBezTo>
                  <a:cubicBezTo>
                    <a:pt x="2880" y="1490"/>
                    <a:pt x="2889" y="1497"/>
                    <a:pt x="2898" y="1504"/>
                  </a:cubicBezTo>
                  <a:cubicBezTo>
                    <a:pt x="2907" y="1510"/>
                    <a:pt x="2916" y="1517"/>
                    <a:pt x="2925" y="1524"/>
                  </a:cubicBezTo>
                  <a:cubicBezTo>
                    <a:pt x="2934" y="1532"/>
                    <a:pt x="2943" y="1539"/>
                    <a:pt x="2952" y="1546"/>
                  </a:cubicBezTo>
                  <a:cubicBezTo>
                    <a:pt x="2955" y="1548"/>
                    <a:pt x="2957" y="1550"/>
                    <a:pt x="2960" y="1552"/>
                  </a:cubicBezTo>
                  <a:cubicBezTo>
                    <a:pt x="2966" y="1558"/>
                    <a:pt x="2973" y="1563"/>
                    <a:pt x="2979" y="1569"/>
                  </a:cubicBezTo>
                  <a:cubicBezTo>
                    <a:pt x="2988" y="1576"/>
                    <a:pt x="2997" y="1584"/>
                    <a:pt x="3006" y="1592"/>
                  </a:cubicBezTo>
                  <a:cubicBezTo>
                    <a:pt x="3015" y="1600"/>
                    <a:pt x="3023" y="1608"/>
                    <a:pt x="3032" y="1616"/>
                  </a:cubicBezTo>
                  <a:cubicBezTo>
                    <a:pt x="3041" y="1625"/>
                    <a:pt x="3049" y="1633"/>
                    <a:pt x="3057" y="1641"/>
                  </a:cubicBezTo>
                  <a:cubicBezTo>
                    <a:pt x="3065" y="1649"/>
                    <a:pt x="3073" y="1657"/>
                    <a:pt x="3080" y="1665"/>
                  </a:cubicBezTo>
                  <a:cubicBezTo>
                    <a:pt x="3089" y="1674"/>
                    <a:pt x="3097" y="1683"/>
                    <a:pt x="3106" y="1693"/>
                  </a:cubicBezTo>
                  <a:cubicBezTo>
                    <a:pt x="3114" y="1702"/>
                    <a:pt x="3123" y="1712"/>
                    <a:pt x="3131" y="1722"/>
                  </a:cubicBezTo>
                  <a:cubicBezTo>
                    <a:pt x="3136" y="1728"/>
                    <a:pt x="3141" y="1734"/>
                    <a:pt x="3146" y="1741"/>
                  </a:cubicBezTo>
                  <a:cubicBezTo>
                    <a:pt x="3150" y="1745"/>
                    <a:pt x="3153" y="1749"/>
                    <a:pt x="3156" y="1753"/>
                  </a:cubicBezTo>
                  <a:cubicBezTo>
                    <a:pt x="3160" y="1758"/>
                    <a:pt x="3164" y="1763"/>
                    <a:pt x="3167" y="1767"/>
                  </a:cubicBezTo>
                  <a:cubicBezTo>
                    <a:pt x="3172" y="1773"/>
                    <a:pt x="3176" y="1779"/>
                    <a:pt x="3181" y="1786"/>
                  </a:cubicBezTo>
                  <a:cubicBezTo>
                    <a:pt x="3183" y="1789"/>
                    <a:pt x="3185" y="1792"/>
                    <a:pt x="3187" y="1795"/>
                  </a:cubicBezTo>
                  <a:cubicBezTo>
                    <a:pt x="3193" y="1803"/>
                    <a:pt x="3199" y="1812"/>
                    <a:pt x="3205" y="1820"/>
                  </a:cubicBezTo>
                  <a:cubicBezTo>
                    <a:pt x="3205" y="1821"/>
                    <a:pt x="3206" y="1822"/>
                    <a:pt x="3206" y="1823"/>
                  </a:cubicBezTo>
                  <a:cubicBezTo>
                    <a:pt x="3213" y="1832"/>
                    <a:pt x="3219" y="1842"/>
                    <a:pt x="3225" y="1851"/>
                  </a:cubicBezTo>
                  <a:cubicBezTo>
                    <a:pt x="3226" y="1853"/>
                    <a:pt x="3227" y="1855"/>
                    <a:pt x="3228" y="1857"/>
                  </a:cubicBezTo>
                  <a:cubicBezTo>
                    <a:pt x="3236" y="1869"/>
                    <a:pt x="3244" y="1882"/>
                    <a:pt x="3251" y="1895"/>
                  </a:cubicBezTo>
                  <a:cubicBezTo>
                    <a:pt x="3259" y="1909"/>
                    <a:pt x="3266" y="1923"/>
                    <a:pt x="3273" y="1937"/>
                  </a:cubicBezTo>
                  <a:cubicBezTo>
                    <a:pt x="3279" y="1948"/>
                    <a:pt x="3284" y="1959"/>
                    <a:pt x="3289" y="1970"/>
                  </a:cubicBezTo>
                  <a:cubicBezTo>
                    <a:pt x="3291" y="1974"/>
                    <a:pt x="3293" y="1979"/>
                    <a:pt x="3295" y="1983"/>
                  </a:cubicBezTo>
                  <a:cubicBezTo>
                    <a:pt x="3302" y="1999"/>
                    <a:pt x="3309" y="2015"/>
                    <a:pt x="3316" y="2032"/>
                  </a:cubicBezTo>
                  <a:cubicBezTo>
                    <a:pt x="3322" y="2050"/>
                    <a:pt x="3329" y="2069"/>
                    <a:pt x="3335" y="2087"/>
                  </a:cubicBezTo>
                  <a:cubicBezTo>
                    <a:pt x="3336" y="2090"/>
                    <a:pt x="3337" y="2093"/>
                    <a:pt x="3338" y="2097"/>
                  </a:cubicBezTo>
                  <a:cubicBezTo>
                    <a:pt x="3343" y="2113"/>
                    <a:pt x="3347" y="2130"/>
                    <a:pt x="3352" y="2146"/>
                  </a:cubicBezTo>
                  <a:cubicBezTo>
                    <a:pt x="3373" y="2146"/>
                    <a:pt x="3373" y="2146"/>
                    <a:pt x="3373" y="2146"/>
                  </a:cubicBezTo>
                  <a:cubicBezTo>
                    <a:pt x="3371" y="2136"/>
                    <a:pt x="3368" y="2126"/>
                    <a:pt x="3365" y="21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0" name="Freeform 7"/>
            <p:cNvSpPr>
              <a:spLocks/>
            </p:cNvSpPr>
            <p:nvPr/>
          </p:nvSpPr>
          <p:spPr bwMode="auto">
            <a:xfrm>
              <a:off x="0" y="1825625"/>
              <a:ext cx="5667375" cy="5073650"/>
            </a:xfrm>
            <a:custGeom>
              <a:avLst/>
              <a:gdLst>
                <a:gd name="T0" fmla="*/ 2234 w 2234"/>
                <a:gd name="T1" fmla="*/ 1809 h 1999"/>
                <a:gd name="T2" fmla="*/ 2223 w 2234"/>
                <a:gd name="T3" fmla="*/ 1712 h 1999"/>
                <a:gd name="T4" fmla="*/ 2172 w 2234"/>
                <a:gd name="T5" fmla="*/ 1596 h 1999"/>
                <a:gd name="T6" fmla="*/ 2110 w 2234"/>
                <a:gd name="T7" fmla="*/ 1522 h 1999"/>
                <a:gd name="T8" fmla="*/ 2042 w 2234"/>
                <a:gd name="T9" fmla="*/ 1465 h 1999"/>
                <a:gd name="T10" fmla="*/ 1962 w 2234"/>
                <a:gd name="T11" fmla="*/ 1413 h 1999"/>
                <a:gd name="T12" fmla="*/ 1897 w 2234"/>
                <a:gd name="T13" fmla="*/ 1382 h 1999"/>
                <a:gd name="T14" fmla="*/ 1698 w 2234"/>
                <a:gd name="T15" fmla="*/ 1328 h 1999"/>
                <a:gd name="T16" fmla="*/ 1491 w 2234"/>
                <a:gd name="T17" fmla="*/ 1304 h 1999"/>
                <a:gd name="T18" fmla="*/ 1282 w 2234"/>
                <a:gd name="T19" fmla="*/ 1291 h 1999"/>
                <a:gd name="T20" fmla="*/ 1049 w 2234"/>
                <a:gd name="T21" fmla="*/ 1279 h 1999"/>
                <a:gd name="T22" fmla="*/ 842 w 2234"/>
                <a:gd name="T23" fmla="*/ 1260 h 1999"/>
                <a:gd name="T24" fmla="*/ 640 w 2234"/>
                <a:gd name="T25" fmla="*/ 1230 h 1999"/>
                <a:gd name="T26" fmla="*/ 453 w 2234"/>
                <a:gd name="T27" fmla="*/ 1187 h 1999"/>
                <a:gd name="T28" fmla="*/ 272 w 2234"/>
                <a:gd name="T29" fmla="*/ 1119 h 1999"/>
                <a:gd name="T30" fmla="*/ 130 w 2234"/>
                <a:gd name="T31" fmla="*/ 1012 h 1999"/>
                <a:gd name="T32" fmla="*/ 93 w 2234"/>
                <a:gd name="T33" fmla="*/ 950 h 1999"/>
                <a:gd name="T34" fmla="*/ 107 w 2234"/>
                <a:gd name="T35" fmla="*/ 760 h 1999"/>
                <a:gd name="T36" fmla="*/ 159 w 2234"/>
                <a:gd name="T37" fmla="*/ 689 h 1999"/>
                <a:gd name="T38" fmla="*/ 299 w 2234"/>
                <a:gd name="T39" fmla="*/ 582 h 1999"/>
                <a:gd name="T40" fmla="*/ 511 w 2234"/>
                <a:gd name="T41" fmla="*/ 494 h 1999"/>
                <a:gd name="T42" fmla="*/ 711 w 2234"/>
                <a:gd name="T43" fmla="*/ 441 h 1999"/>
                <a:gd name="T44" fmla="*/ 940 w 2234"/>
                <a:gd name="T45" fmla="*/ 369 h 1999"/>
                <a:gd name="T46" fmla="*/ 1051 w 2234"/>
                <a:gd name="T47" fmla="*/ 208 h 1999"/>
                <a:gd name="T48" fmla="*/ 992 w 2234"/>
                <a:gd name="T49" fmla="*/ 125 h 1999"/>
                <a:gd name="T50" fmla="*/ 843 w 2234"/>
                <a:gd name="T51" fmla="*/ 58 h 1999"/>
                <a:gd name="T52" fmla="*/ 637 w 2234"/>
                <a:gd name="T53" fmla="*/ 32 h 1999"/>
                <a:gd name="T54" fmla="*/ 443 w 2234"/>
                <a:gd name="T55" fmla="*/ 19 h 1999"/>
                <a:gd name="T56" fmla="*/ 218 w 2234"/>
                <a:gd name="T57" fmla="*/ 9 h 1999"/>
                <a:gd name="T58" fmla="*/ 8 w 2234"/>
                <a:gd name="T59" fmla="*/ 0 h 1999"/>
                <a:gd name="T60" fmla="*/ 153 w 2234"/>
                <a:gd name="T61" fmla="*/ 15 h 1999"/>
                <a:gd name="T62" fmla="*/ 386 w 2234"/>
                <a:gd name="T63" fmla="*/ 26 h 1999"/>
                <a:gd name="T64" fmla="*/ 595 w 2234"/>
                <a:gd name="T65" fmla="*/ 38 h 1999"/>
                <a:gd name="T66" fmla="*/ 801 w 2234"/>
                <a:gd name="T67" fmla="*/ 59 h 1999"/>
                <a:gd name="T68" fmla="*/ 954 w 2234"/>
                <a:gd name="T69" fmla="*/ 109 h 1999"/>
                <a:gd name="T70" fmla="*/ 1036 w 2234"/>
                <a:gd name="T71" fmla="*/ 195 h 1999"/>
                <a:gd name="T72" fmla="*/ 965 w 2234"/>
                <a:gd name="T73" fmla="*/ 340 h 1999"/>
                <a:gd name="T74" fmla="*/ 733 w 2234"/>
                <a:gd name="T75" fmla="*/ 423 h 1999"/>
                <a:gd name="T76" fmla="*/ 516 w 2234"/>
                <a:gd name="T77" fmla="*/ 478 h 1999"/>
                <a:gd name="T78" fmla="*/ 299 w 2234"/>
                <a:gd name="T79" fmla="*/ 565 h 1999"/>
                <a:gd name="T80" fmla="*/ 171 w 2234"/>
                <a:gd name="T81" fmla="*/ 655 h 1999"/>
                <a:gd name="T82" fmla="*/ 101 w 2234"/>
                <a:gd name="T83" fmla="*/ 741 h 1999"/>
                <a:gd name="T84" fmla="*/ 72 w 2234"/>
                <a:gd name="T85" fmla="*/ 927 h 1999"/>
                <a:gd name="T86" fmla="*/ 103 w 2234"/>
                <a:gd name="T87" fmla="*/ 995 h 1999"/>
                <a:gd name="T88" fmla="*/ 225 w 2234"/>
                <a:gd name="T89" fmla="*/ 1107 h 1999"/>
                <a:gd name="T90" fmla="*/ 395 w 2234"/>
                <a:gd name="T91" fmla="*/ 1184 h 1999"/>
                <a:gd name="T92" fmla="*/ 594 w 2234"/>
                <a:gd name="T93" fmla="*/ 1236 h 1999"/>
                <a:gd name="T94" fmla="*/ 798 w 2234"/>
                <a:gd name="T95" fmla="*/ 1270 h 1999"/>
                <a:gd name="T96" fmla="*/ 1004 w 2234"/>
                <a:gd name="T97" fmla="*/ 1292 h 1999"/>
                <a:gd name="T98" fmla="*/ 1213 w 2234"/>
                <a:gd name="T99" fmla="*/ 1305 h 1999"/>
                <a:gd name="T100" fmla="*/ 1422 w 2234"/>
                <a:gd name="T101" fmla="*/ 1316 h 1999"/>
                <a:gd name="T102" fmla="*/ 1629 w 2234"/>
                <a:gd name="T103" fmla="*/ 1336 h 1999"/>
                <a:gd name="T104" fmla="*/ 1809 w 2234"/>
                <a:gd name="T105" fmla="*/ 1370 h 1999"/>
                <a:gd name="T106" fmla="*/ 1950 w 2234"/>
                <a:gd name="T107" fmla="*/ 1425 h 1999"/>
                <a:gd name="T108" fmla="*/ 2001 w 2234"/>
                <a:gd name="T109" fmla="*/ 1456 h 1999"/>
                <a:gd name="T110" fmla="*/ 2081 w 2234"/>
                <a:gd name="T111" fmla="*/ 1516 h 1999"/>
                <a:gd name="T112" fmla="*/ 2152 w 2234"/>
                <a:gd name="T113" fmla="*/ 1598 h 1999"/>
                <a:gd name="T114" fmla="*/ 2200 w 2234"/>
                <a:gd name="T115" fmla="*/ 1699 h 1999"/>
                <a:gd name="T116" fmla="*/ 2214 w 2234"/>
                <a:gd name="T117" fmla="*/ 1805 h 1999"/>
                <a:gd name="T118" fmla="*/ 2184 w 2234"/>
                <a:gd name="T119" fmla="*/ 1971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4" h="1999">
                  <a:moveTo>
                    <a:pt x="2204" y="1980"/>
                  </a:moveTo>
                  <a:cubicBezTo>
                    <a:pt x="2206" y="1971"/>
                    <a:pt x="2206" y="1971"/>
                    <a:pt x="2206" y="1971"/>
                  </a:cubicBezTo>
                  <a:cubicBezTo>
                    <a:pt x="2208" y="1965"/>
                    <a:pt x="2210" y="1959"/>
                    <a:pt x="2212" y="1953"/>
                  </a:cubicBezTo>
                  <a:cubicBezTo>
                    <a:pt x="2214" y="1947"/>
                    <a:pt x="2215" y="1940"/>
                    <a:pt x="2217" y="1934"/>
                  </a:cubicBezTo>
                  <a:cubicBezTo>
                    <a:pt x="2218" y="1928"/>
                    <a:pt x="2220" y="1922"/>
                    <a:pt x="2221" y="1915"/>
                  </a:cubicBezTo>
                  <a:cubicBezTo>
                    <a:pt x="2223" y="1909"/>
                    <a:pt x="2224" y="1903"/>
                    <a:pt x="2225" y="1897"/>
                  </a:cubicBezTo>
                  <a:cubicBezTo>
                    <a:pt x="2227" y="1890"/>
                    <a:pt x="2228" y="1884"/>
                    <a:pt x="2229" y="1877"/>
                  </a:cubicBezTo>
                  <a:cubicBezTo>
                    <a:pt x="2231" y="1864"/>
                    <a:pt x="2232" y="1851"/>
                    <a:pt x="2233" y="1838"/>
                  </a:cubicBezTo>
                  <a:cubicBezTo>
                    <a:pt x="2234" y="1832"/>
                    <a:pt x="2234" y="1825"/>
                    <a:pt x="2234" y="1819"/>
                  </a:cubicBezTo>
                  <a:cubicBezTo>
                    <a:pt x="2234" y="1809"/>
                    <a:pt x="2234" y="1809"/>
                    <a:pt x="2234" y="1809"/>
                  </a:cubicBezTo>
                  <a:cubicBezTo>
                    <a:pt x="2234" y="1799"/>
                    <a:pt x="2234" y="1799"/>
                    <a:pt x="2234" y="1799"/>
                  </a:cubicBezTo>
                  <a:cubicBezTo>
                    <a:pt x="2234" y="1792"/>
                    <a:pt x="2234" y="1785"/>
                    <a:pt x="2233" y="1779"/>
                  </a:cubicBezTo>
                  <a:cubicBezTo>
                    <a:pt x="2233" y="1776"/>
                    <a:pt x="2233" y="1773"/>
                    <a:pt x="2232" y="1770"/>
                  </a:cubicBezTo>
                  <a:cubicBezTo>
                    <a:pt x="2232" y="1766"/>
                    <a:pt x="2232" y="1762"/>
                    <a:pt x="2231" y="1759"/>
                  </a:cubicBezTo>
                  <a:cubicBezTo>
                    <a:pt x="2231" y="1754"/>
                    <a:pt x="2231" y="1754"/>
                    <a:pt x="2231" y="1754"/>
                  </a:cubicBezTo>
                  <a:cubicBezTo>
                    <a:pt x="2230" y="1749"/>
                    <a:pt x="2230" y="1749"/>
                    <a:pt x="2230" y="1749"/>
                  </a:cubicBezTo>
                  <a:cubicBezTo>
                    <a:pt x="2228" y="1739"/>
                    <a:pt x="2228" y="1739"/>
                    <a:pt x="2228" y="1739"/>
                  </a:cubicBezTo>
                  <a:cubicBezTo>
                    <a:pt x="2227" y="1729"/>
                    <a:pt x="2227" y="1729"/>
                    <a:pt x="2227" y="1729"/>
                  </a:cubicBezTo>
                  <a:cubicBezTo>
                    <a:pt x="2226" y="1725"/>
                    <a:pt x="2225" y="1722"/>
                    <a:pt x="2224" y="1719"/>
                  </a:cubicBezTo>
                  <a:cubicBezTo>
                    <a:pt x="2224" y="1716"/>
                    <a:pt x="2223" y="1714"/>
                    <a:pt x="2223" y="1712"/>
                  </a:cubicBezTo>
                  <a:cubicBezTo>
                    <a:pt x="2222" y="1708"/>
                    <a:pt x="2221" y="1703"/>
                    <a:pt x="2219" y="1699"/>
                  </a:cubicBezTo>
                  <a:cubicBezTo>
                    <a:pt x="2217" y="1693"/>
                    <a:pt x="2215" y="1686"/>
                    <a:pt x="2213" y="1680"/>
                  </a:cubicBezTo>
                  <a:cubicBezTo>
                    <a:pt x="2212" y="1676"/>
                    <a:pt x="2211" y="1673"/>
                    <a:pt x="2209" y="1669"/>
                  </a:cubicBezTo>
                  <a:cubicBezTo>
                    <a:pt x="2208" y="1666"/>
                    <a:pt x="2207" y="1663"/>
                    <a:pt x="2206" y="1660"/>
                  </a:cubicBezTo>
                  <a:cubicBezTo>
                    <a:pt x="2203" y="1654"/>
                    <a:pt x="2201" y="1648"/>
                    <a:pt x="2197" y="1642"/>
                  </a:cubicBezTo>
                  <a:cubicBezTo>
                    <a:pt x="2196" y="1639"/>
                    <a:pt x="2195" y="1637"/>
                    <a:pt x="2194" y="1635"/>
                  </a:cubicBezTo>
                  <a:cubicBezTo>
                    <a:pt x="2192" y="1631"/>
                    <a:pt x="2190" y="1627"/>
                    <a:pt x="2188" y="1623"/>
                  </a:cubicBezTo>
                  <a:cubicBezTo>
                    <a:pt x="2184" y="1617"/>
                    <a:pt x="2181" y="1611"/>
                    <a:pt x="2177" y="1605"/>
                  </a:cubicBezTo>
                  <a:cubicBezTo>
                    <a:pt x="2177" y="1605"/>
                    <a:pt x="2177" y="1605"/>
                    <a:pt x="2177" y="1605"/>
                  </a:cubicBezTo>
                  <a:cubicBezTo>
                    <a:pt x="2175" y="1602"/>
                    <a:pt x="2174" y="1599"/>
                    <a:pt x="2172" y="1596"/>
                  </a:cubicBezTo>
                  <a:cubicBezTo>
                    <a:pt x="2166" y="1588"/>
                    <a:pt x="2166" y="1588"/>
                    <a:pt x="2166" y="1588"/>
                  </a:cubicBezTo>
                  <a:cubicBezTo>
                    <a:pt x="2164" y="1585"/>
                    <a:pt x="2162" y="1582"/>
                    <a:pt x="2160" y="1579"/>
                  </a:cubicBezTo>
                  <a:cubicBezTo>
                    <a:pt x="2158" y="1577"/>
                    <a:pt x="2156" y="1574"/>
                    <a:pt x="2154" y="1571"/>
                  </a:cubicBezTo>
                  <a:cubicBezTo>
                    <a:pt x="2150" y="1566"/>
                    <a:pt x="2146" y="1561"/>
                    <a:pt x="2142" y="1557"/>
                  </a:cubicBezTo>
                  <a:cubicBezTo>
                    <a:pt x="2141" y="1556"/>
                    <a:pt x="2141" y="1555"/>
                    <a:pt x="2140" y="1555"/>
                  </a:cubicBezTo>
                  <a:cubicBezTo>
                    <a:pt x="2138" y="1552"/>
                    <a:pt x="2136" y="1549"/>
                    <a:pt x="2134" y="1547"/>
                  </a:cubicBezTo>
                  <a:cubicBezTo>
                    <a:pt x="2126" y="1539"/>
                    <a:pt x="2126" y="1539"/>
                    <a:pt x="2126" y="1539"/>
                  </a:cubicBezTo>
                  <a:cubicBezTo>
                    <a:pt x="2125" y="1538"/>
                    <a:pt x="2124" y="1537"/>
                    <a:pt x="2123" y="1536"/>
                  </a:cubicBezTo>
                  <a:cubicBezTo>
                    <a:pt x="2119" y="1532"/>
                    <a:pt x="2116" y="1528"/>
                    <a:pt x="2112" y="1524"/>
                  </a:cubicBezTo>
                  <a:cubicBezTo>
                    <a:pt x="2111" y="1523"/>
                    <a:pt x="2111" y="1523"/>
                    <a:pt x="2110" y="1522"/>
                  </a:cubicBezTo>
                  <a:cubicBezTo>
                    <a:pt x="2109" y="1522"/>
                    <a:pt x="2109" y="1521"/>
                    <a:pt x="2108" y="1520"/>
                  </a:cubicBezTo>
                  <a:cubicBezTo>
                    <a:pt x="2106" y="1518"/>
                    <a:pt x="2104" y="1516"/>
                    <a:pt x="2101" y="1514"/>
                  </a:cubicBezTo>
                  <a:cubicBezTo>
                    <a:pt x="2098" y="1511"/>
                    <a:pt x="2095" y="1508"/>
                    <a:pt x="2092" y="1506"/>
                  </a:cubicBezTo>
                  <a:cubicBezTo>
                    <a:pt x="2085" y="1498"/>
                    <a:pt x="2085" y="1498"/>
                    <a:pt x="2085" y="1498"/>
                  </a:cubicBezTo>
                  <a:cubicBezTo>
                    <a:pt x="2084" y="1498"/>
                    <a:pt x="2083" y="1497"/>
                    <a:pt x="2082" y="1496"/>
                  </a:cubicBezTo>
                  <a:cubicBezTo>
                    <a:pt x="2080" y="1495"/>
                    <a:pt x="2078" y="1493"/>
                    <a:pt x="2077" y="1492"/>
                  </a:cubicBezTo>
                  <a:cubicBezTo>
                    <a:pt x="2072" y="1488"/>
                    <a:pt x="2067" y="1484"/>
                    <a:pt x="2062" y="1480"/>
                  </a:cubicBezTo>
                  <a:cubicBezTo>
                    <a:pt x="2062" y="1479"/>
                    <a:pt x="2061" y="1479"/>
                    <a:pt x="2060" y="1478"/>
                  </a:cubicBezTo>
                  <a:cubicBezTo>
                    <a:pt x="2055" y="1473"/>
                    <a:pt x="2049" y="1470"/>
                    <a:pt x="2043" y="1465"/>
                  </a:cubicBezTo>
                  <a:cubicBezTo>
                    <a:pt x="2043" y="1465"/>
                    <a:pt x="2043" y="1465"/>
                    <a:pt x="2042" y="1465"/>
                  </a:cubicBezTo>
                  <a:cubicBezTo>
                    <a:pt x="2037" y="1461"/>
                    <a:pt x="2032" y="1457"/>
                    <a:pt x="2026" y="1453"/>
                  </a:cubicBezTo>
                  <a:cubicBezTo>
                    <a:pt x="2025" y="1452"/>
                    <a:pt x="2023" y="1451"/>
                    <a:pt x="2022" y="1450"/>
                  </a:cubicBezTo>
                  <a:cubicBezTo>
                    <a:pt x="2018" y="1447"/>
                    <a:pt x="2013" y="1444"/>
                    <a:pt x="2008" y="1441"/>
                  </a:cubicBezTo>
                  <a:cubicBezTo>
                    <a:pt x="2002" y="1437"/>
                    <a:pt x="2002" y="1437"/>
                    <a:pt x="2002" y="1437"/>
                  </a:cubicBezTo>
                  <a:cubicBezTo>
                    <a:pt x="1999" y="1435"/>
                    <a:pt x="1999" y="1435"/>
                    <a:pt x="1999" y="1435"/>
                  </a:cubicBezTo>
                  <a:cubicBezTo>
                    <a:pt x="1995" y="1432"/>
                    <a:pt x="1995" y="1432"/>
                    <a:pt x="1995" y="1432"/>
                  </a:cubicBezTo>
                  <a:cubicBezTo>
                    <a:pt x="1990" y="1429"/>
                    <a:pt x="1990" y="1429"/>
                    <a:pt x="1990" y="1429"/>
                  </a:cubicBezTo>
                  <a:cubicBezTo>
                    <a:pt x="1987" y="1428"/>
                    <a:pt x="1984" y="1426"/>
                    <a:pt x="1981" y="1424"/>
                  </a:cubicBezTo>
                  <a:cubicBezTo>
                    <a:pt x="1978" y="1422"/>
                    <a:pt x="1975" y="1420"/>
                    <a:pt x="1972" y="1419"/>
                  </a:cubicBezTo>
                  <a:cubicBezTo>
                    <a:pt x="1962" y="1413"/>
                    <a:pt x="1962" y="1413"/>
                    <a:pt x="1962" y="1413"/>
                  </a:cubicBezTo>
                  <a:cubicBezTo>
                    <a:pt x="1961" y="1412"/>
                    <a:pt x="1961" y="1412"/>
                    <a:pt x="1961" y="1412"/>
                  </a:cubicBezTo>
                  <a:cubicBezTo>
                    <a:pt x="1960" y="1412"/>
                    <a:pt x="1960" y="1412"/>
                    <a:pt x="1960" y="1412"/>
                  </a:cubicBezTo>
                  <a:cubicBezTo>
                    <a:pt x="1958" y="1410"/>
                    <a:pt x="1958" y="1410"/>
                    <a:pt x="1958" y="1410"/>
                  </a:cubicBezTo>
                  <a:cubicBezTo>
                    <a:pt x="1953" y="1408"/>
                    <a:pt x="1953" y="1408"/>
                    <a:pt x="1953" y="1408"/>
                  </a:cubicBezTo>
                  <a:cubicBezTo>
                    <a:pt x="1943" y="1403"/>
                    <a:pt x="1943" y="1403"/>
                    <a:pt x="1943" y="1403"/>
                  </a:cubicBezTo>
                  <a:cubicBezTo>
                    <a:pt x="1940" y="1401"/>
                    <a:pt x="1940" y="1401"/>
                    <a:pt x="1940" y="1401"/>
                  </a:cubicBezTo>
                  <a:cubicBezTo>
                    <a:pt x="1934" y="1398"/>
                    <a:pt x="1934" y="1398"/>
                    <a:pt x="1934" y="1398"/>
                  </a:cubicBezTo>
                  <a:cubicBezTo>
                    <a:pt x="1929" y="1395"/>
                    <a:pt x="1923" y="1393"/>
                    <a:pt x="1918" y="1391"/>
                  </a:cubicBezTo>
                  <a:cubicBezTo>
                    <a:pt x="1917" y="1390"/>
                    <a:pt x="1915" y="1389"/>
                    <a:pt x="1914" y="1389"/>
                  </a:cubicBezTo>
                  <a:cubicBezTo>
                    <a:pt x="1908" y="1386"/>
                    <a:pt x="1903" y="1384"/>
                    <a:pt x="1897" y="1382"/>
                  </a:cubicBezTo>
                  <a:cubicBezTo>
                    <a:pt x="1890" y="1379"/>
                    <a:pt x="1883" y="1376"/>
                    <a:pt x="1875" y="1373"/>
                  </a:cubicBezTo>
                  <a:cubicBezTo>
                    <a:pt x="1868" y="1371"/>
                    <a:pt x="1861" y="1368"/>
                    <a:pt x="1854" y="1366"/>
                  </a:cubicBezTo>
                  <a:cubicBezTo>
                    <a:pt x="1846" y="1363"/>
                    <a:pt x="1839" y="1361"/>
                    <a:pt x="1832" y="1358"/>
                  </a:cubicBezTo>
                  <a:cubicBezTo>
                    <a:pt x="1824" y="1356"/>
                    <a:pt x="1817" y="1354"/>
                    <a:pt x="1810" y="1352"/>
                  </a:cubicBezTo>
                  <a:cubicBezTo>
                    <a:pt x="1802" y="1350"/>
                    <a:pt x="1795" y="1348"/>
                    <a:pt x="1787" y="1346"/>
                  </a:cubicBezTo>
                  <a:cubicBezTo>
                    <a:pt x="1780" y="1345"/>
                    <a:pt x="1773" y="1343"/>
                    <a:pt x="1765" y="1341"/>
                  </a:cubicBezTo>
                  <a:cubicBezTo>
                    <a:pt x="1759" y="1340"/>
                    <a:pt x="1753" y="1338"/>
                    <a:pt x="1746" y="1337"/>
                  </a:cubicBezTo>
                  <a:cubicBezTo>
                    <a:pt x="1745" y="1337"/>
                    <a:pt x="1744" y="1336"/>
                    <a:pt x="1743" y="1336"/>
                  </a:cubicBezTo>
                  <a:cubicBezTo>
                    <a:pt x="1735" y="1335"/>
                    <a:pt x="1728" y="1333"/>
                    <a:pt x="1720" y="1332"/>
                  </a:cubicBezTo>
                  <a:cubicBezTo>
                    <a:pt x="1713" y="1330"/>
                    <a:pt x="1705" y="1329"/>
                    <a:pt x="1698" y="1328"/>
                  </a:cubicBezTo>
                  <a:cubicBezTo>
                    <a:pt x="1690" y="1327"/>
                    <a:pt x="1682" y="1325"/>
                    <a:pt x="1675" y="1324"/>
                  </a:cubicBezTo>
                  <a:cubicBezTo>
                    <a:pt x="1667" y="1323"/>
                    <a:pt x="1660" y="1322"/>
                    <a:pt x="1652" y="1321"/>
                  </a:cubicBezTo>
                  <a:cubicBezTo>
                    <a:pt x="1645" y="1320"/>
                    <a:pt x="1637" y="1319"/>
                    <a:pt x="1629" y="1318"/>
                  </a:cubicBezTo>
                  <a:cubicBezTo>
                    <a:pt x="1622" y="1317"/>
                    <a:pt x="1614" y="1316"/>
                    <a:pt x="1606" y="1315"/>
                  </a:cubicBezTo>
                  <a:cubicBezTo>
                    <a:pt x="1599" y="1314"/>
                    <a:pt x="1591" y="1313"/>
                    <a:pt x="1583" y="1312"/>
                  </a:cubicBezTo>
                  <a:cubicBezTo>
                    <a:pt x="1579" y="1312"/>
                    <a:pt x="1574" y="1311"/>
                    <a:pt x="1569" y="1311"/>
                  </a:cubicBezTo>
                  <a:cubicBezTo>
                    <a:pt x="1566" y="1311"/>
                    <a:pt x="1563" y="1310"/>
                    <a:pt x="1560" y="1310"/>
                  </a:cubicBezTo>
                  <a:cubicBezTo>
                    <a:pt x="1553" y="1309"/>
                    <a:pt x="1545" y="1309"/>
                    <a:pt x="1537" y="1308"/>
                  </a:cubicBezTo>
                  <a:cubicBezTo>
                    <a:pt x="1530" y="1307"/>
                    <a:pt x="1522" y="1307"/>
                    <a:pt x="1514" y="1306"/>
                  </a:cubicBezTo>
                  <a:cubicBezTo>
                    <a:pt x="1507" y="1305"/>
                    <a:pt x="1499" y="1305"/>
                    <a:pt x="1491" y="1304"/>
                  </a:cubicBezTo>
                  <a:cubicBezTo>
                    <a:pt x="1483" y="1303"/>
                    <a:pt x="1476" y="1303"/>
                    <a:pt x="1468" y="1302"/>
                  </a:cubicBezTo>
                  <a:cubicBezTo>
                    <a:pt x="1460" y="1302"/>
                    <a:pt x="1453" y="1301"/>
                    <a:pt x="1445" y="1300"/>
                  </a:cubicBezTo>
                  <a:cubicBezTo>
                    <a:pt x="1437" y="1300"/>
                    <a:pt x="1429" y="1299"/>
                    <a:pt x="1422" y="1299"/>
                  </a:cubicBezTo>
                  <a:cubicBezTo>
                    <a:pt x="1414" y="1298"/>
                    <a:pt x="1406" y="1298"/>
                    <a:pt x="1398" y="1297"/>
                  </a:cubicBezTo>
                  <a:cubicBezTo>
                    <a:pt x="1395" y="1297"/>
                    <a:pt x="1392" y="1297"/>
                    <a:pt x="1388" y="1297"/>
                  </a:cubicBezTo>
                  <a:cubicBezTo>
                    <a:pt x="1384" y="1297"/>
                    <a:pt x="1379" y="1296"/>
                    <a:pt x="1375" y="1296"/>
                  </a:cubicBezTo>
                  <a:cubicBezTo>
                    <a:pt x="1367" y="1296"/>
                    <a:pt x="1360" y="1295"/>
                    <a:pt x="1352" y="1295"/>
                  </a:cubicBezTo>
                  <a:cubicBezTo>
                    <a:pt x="1344" y="1294"/>
                    <a:pt x="1336" y="1294"/>
                    <a:pt x="1329" y="1293"/>
                  </a:cubicBezTo>
                  <a:cubicBezTo>
                    <a:pt x="1321" y="1293"/>
                    <a:pt x="1313" y="1293"/>
                    <a:pt x="1305" y="1292"/>
                  </a:cubicBezTo>
                  <a:cubicBezTo>
                    <a:pt x="1298" y="1292"/>
                    <a:pt x="1290" y="1291"/>
                    <a:pt x="1282" y="1291"/>
                  </a:cubicBezTo>
                  <a:cubicBezTo>
                    <a:pt x="1274" y="1291"/>
                    <a:pt x="1267" y="1290"/>
                    <a:pt x="1259" y="1290"/>
                  </a:cubicBezTo>
                  <a:cubicBezTo>
                    <a:pt x="1251" y="1289"/>
                    <a:pt x="1243" y="1289"/>
                    <a:pt x="1235" y="1289"/>
                  </a:cubicBezTo>
                  <a:cubicBezTo>
                    <a:pt x="1228" y="1288"/>
                    <a:pt x="1220" y="1288"/>
                    <a:pt x="1212" y="1288"/>
                  </a:cubicBezTo>
                  <a:cubicBezTo>
                    <a:pt x="1204" y="1287"/>
                    <a:pt x="1197" y="1287"/>
                    <a:pt x="1189" y="1286"/>
                  </a:cubicBezTo>
                  <a:cubicBezTo>
                    <a:pt x="1181" y="1286"/>
                    <a:pt x="1173" y="1286"/>
                    <a:pt x="1166" y="1285"/>
                  </a:cubicBezTo>
                  <a:cubicBezTo>
                    <a:pt x="1158" y="1285"/>
                    <a:pt x="1150" y="1284"/>
                    <a:pt x="1142" y="1284"/>
                  </a:cubicBezTo>
                  <a:cubicBezTo>
                    <a:pt x="1135" y="1284"/>
                    <a:pt x="1127" y="1283"/>
                    <a:pt x="1119" y="1283"/>
                  </a:cubicBezTo>
                  <a:cubicBezTo>
                    <a:pt x="1111" y="1282"/>
                    <a:pt x="1104" y="1282"/>
                    <a:pt x="1096" y="1281"/>
                  </a:cubicBezTo>
                  <a:cubicBezTo>
                    <a:pt x="1088" y="1281"/>
                    <a:pt x="1080" y="1281"/>
                    <a:pt x="1073" y="1280"/>
                  </a:cubicBezTo>
                  <a:cubicBezTo>
                    <a:pt x="1065" y="1280"/>
                    <a:pt x="1057" y="1279"/>
                    <a:pt x="1049" y="1279"/>
                  </a:cubicBezTo>
                  <a:cubicBezTo>
                    <a:pt x="1042" y="1278"/>
                    <a:pt x="1034" y="1278"/>
                    <a:pt x="1026" y="1277"/>
                  </a:cubicBezTo>
                  <a:cubicBezTo>
                    <a:pt x="1023" y="1277"/>
                    <a:pt x="1020" y="1277"/>
                    <a:pt x="1017" y="1276"/>
                  </a:cubicBezTo>
                  <a:cubicBezTo>
                    <a:pt x="1012" y="1276"/>
                    <a:pt x="1008" y="1276"/>
                    <a:pt x="1003" y="1275"/>
                  </a:cubicBezTo>
                  <a:cubicBezTo>
                    <a:pt x="995" y="1275"/>
                    <a:pt x="988" y="1274"/>
                    <a:pt x="980" y="1274"/>
                  </a:cubicBezTo>
                  <a:cubicBezTo>
                    <a:pt x="972" y="1273"/>
                    <a:pt x="964" y="1272"/>
                    <a:pt x="957" y="1272"/>
                  </a:cubicBezTo>
                  <a:cubicBezTo>
                    <a:pt x="949" y="1271"/>
                    <a:pt x="941" y="1270"/>
                    <a:pt x="934" y="1270"/>
                  </a:cubicBezTo>
                  <a:cubicBezTo>
                    <a:pt x="926" y="1269"/>
                    <a:pt x="918" y="1268"/>
                    <a:pt x="911" y="1267"/>
                  </a:cubicBezTo>
                  <a:cubicBezTo>
                    <a:pt x="903" y="1267"/>
                    <a:pt x="895" y="1266"/>
                    <a:pt x="888" y="1265"/>
                  </a:cubicBezTo>
                  <a:cubicBezTo>
                    <a:pt x="880" y="1264"/>
                    <a:pt x="872" y="1263"/>
                    <a:pt x="865" y="1263"/>
                  </a:cubicBezTo>
                  <a:cubicBezTo>
                    <a:pt x="857" y="1262"/>
                    <a:pt x="849" y="1261"/>
                    <a:pt x="842" y="1260"/>
                  </a:cubicBezTo>
                  <a:cubicBezTo>
                    <a:pt x="837" y="1259"/>
                    <a:pt x="833" y="1259"/>
                    <a:pt x="829" y="1258"/>
                  </a:cubicBezTo>
                  <a:cubicBezTo>
                    <a:pt x="826" y="1258"/>
                    <a:pt x="822" y="1257"/>
                    <a:pt x="819" y="1257"/>
                  </a:cubicBezTo>
                  <a:cubicBezTo>
                    <a:pt x="811" y="1256"/>
                    <a:pt x="803" y="1255"/>
                    <a:pt x="796" y="1254"/>
                  </a:cubicBezTo>
                  <a:cubicBezTo>
                    <a:pt x="788" y="1253"/>
                    <a:pt x="781" y="1252"/>
                    <a:pt x="773" y="1251"/>
                  </a:cubicBezTo>
                  <a:cubicBezTo>
                    <a:pt x="765" y="1250"/>
                    <a:pt x="758" y="1249"/>
                    <a:pt x="750" y="1248"/>
                  </a:cubicBezTo>
                  <a:cubicBezTo>
                    <a:pt x="743" y="1247"/>
                    <a:pt x="735" y="1246"/>
                    <a:pt x="727" y="1244"/>
                  </a:cubicBezTo>
                  <a:cubicBezTo>
                    <a:pt x="720" y="1243"/>
                    <a:pt x="712" y="1242"/>
                    <a:pt x="705" y="1241"/>
                  </a:cubicBezTo>
                  <a:cubicBezTo>
                    <a:pt x="697" y="1240"/>
                    <a:pt x="690" y="1238"/>
                    <a:pt x="682" y="1237"/>
                  </a:cubicBezTo>
                  <a:cubicBezTo>
                    <a:pt x="674" y="1236"/>
                    <a:pt x="667" y="1235"/>
                    <a:pt x="659" y="1233"/>
                  </a:cubicBezTo>
                  <a:cubicBezTo>
                    <a:pt x="653" y="1232"/>
                    <a:pt x="646" y="1231"/>
                    <a:pt x="640" y="1230"/>
                  </a:cubicBezTo>
                  <a:cubicBezTo>
                    <a:pt x="639" y="1230"/>
                    <a:pt x="638" y="1230"/>
                    <a:pt x="637" y="1229"/>
                  </a:cubicBezTo>
                  <a:cubicBezTo>
                    <a:pt x="629" y="1228"/>
                    <a:pt x="622" y="1227"/>
                    <a:pt x="614" y="1225"/>
                  </a:cubicBezTo>
                  <a:cubicBezTo>
                    <a:pt x="607" y="1224"/>
                    <a:pt x="599" y="1222"/>
                    <a:pt x="592" y="1221"/>
                  </a:cubicBezTo>
                  <a:cubicBezTo>
                    <a:pt x="584" y="1219"/>
                    <a:pt x="577" y="1218"/>
                    <a:pt x="569" y="1216"/>
                  </a:cubicBezTo>
                  <a:cubicBezTo>
                    <a:pt x="562" y="1214"/>
                    <a:pt x="554" y="1213"/>
                    <a:pt x="547" y="1211"/>
                  </a:cubicBezTo>
                  <a:cubicBezTo>
                    <a:pt x="539" y="1209"/>
                    <a:pt x="532" y="1208"/>
                    <a:pt x="524" y="1206"/>
                  </a:cubicBezTo>
                  <a:cubicBezTo>
                    <a:pt x="517" y="1204"/>
                    <a:pt x="510" y="1202"/>
                    <a:pt x="502" y="1201"/>
                  </a:cubicBezTo>
                  <a:cubicBezTo>
                    <a:pt x="495" y="1199"/>
                    <a:pt x="487" y="1197"/>
                    <a:pt x="480" y="1195"/>
                  </a:cubicBezTo>
                  <a:cubicBezTo>
                    <a:pt x="473" y="1193"/>
                    <a:pt x="465" y="1191"/>
                    <a:pt x="458" y="1189"/>
                  </a:cubicBezTo>
                  <a:cubicBezTo>
                    <a:pt x="456" y="1188"/>
                    <a:pt x="454" y="1188"/>
                    <a:pt x="453" y="1187"/>
                  </a:cubicBezTo>
                  <a:cubicBezTo>
                    <a:pt x="447" y="1186"/>
                    <a:pt x="441" y="1184"/>
                    <a:pt x="436" y="1182"/>
                  </a:cubicBezTo>
                  <a:cubicBezTo>
                    <a:pt x="428" y="1180"/>
                    <a:pt x="421" y="1178"/>
                    <a:pt x="414" y="1176"/>
                  </a:cubicBezTo>
                  <a:cubicBezTo>
                    <a:pt x="406" y="1173"/>
                    <a:pt x="399" y="1171"/>
                    <a:pt x="392" y="1169"/>
                  </a:cubicBezTo>
                  <a:cubicBezTo>
                    <a:pt x="385" y="1166"/>
                    <a:pt x="377" y="1164"/>
                    <a:pt x="370" y="1161"/>
                  </a:cubicBezTo>
                  <a:cubicBezTo>
                    <a:pt x="367" y="1160"/>
                    <a:pt x="364" y="1159"/>
                    <a:pt x="361" y="1158"/>
                  </a:cubicBezTo>
                  <a:cubicBezTo>
                    <a:pt x="357" y="1156"/>
                    <a:pt x="353" y="1154"/>
                    <a:pt x="348" y="1153"/>
                  </a:cubicBezTo>
                  <a:cubicBezTo>
                    <a:pt x="341" y="1150"/>
                    <a:pt x="334" y="1147"/>
                    <a:pt x="327" y="1144"/>
                  </a:cubicBezTo>
                  <a:cubicBezTo>
                    <a:pt x="320" y="1141"/>
                    <a:pt x="313" y="1138"/>
                    <a:pt x="305" y="1135"/>
                  </a:cubicBezTo>
                  <a:cubicBezTo>
                    <a:pt x="298" y="1132"/>
                    <a:pt x="291" y="1129"/>
                    <a:pt x="284" y="1125"/>
                  </a:cubicBezTo>
                  <a:cubicBezTo>
                    <a:pt x="280" y="1123"/>
                    <a:pt x="276" y="1121"/>
                    <a:pt x="272" y="1119"/>
                  </a:cubicBezTo>
                  <a:cubicBezTo>
                    <a:pt x="269" y="1118"/>
                    <a:pt x="266" y="1116"/>
                    <a:pt x="263" y="1115"/>
                  </a:cubicBezTo>
                  <a:cubicBezTo>
                    <a:pt x="256" y="1111"/>
                    <a:pt x="249" y="1107"/>
                    <a:pt x="242" y="1103"/>
                  </a:cubicBezTo>
                  <a:cubicBezTo>
                    <a:pt x="235" y="1099"/>
                    <a:pt x="228" y="1095"/>
                    <a:pt x="222" y="1091"/>
                  </a:cubicBezTo>
                  <a:cubicBezTo>
                    <a:pt x="215" y="1087"/>
                    <a:pt x="208" y="1082"/>
                    <a:pt x="201" y="1077"/>
                  </a:cubicBezTo>
                  <a:cubicBezTo>
                    <a:pt x="197" y="1075"/>
                    <a:pt x="194" y="1072"/>
                    <a:pt x="190" y="1069"/>
                  </a:cubicBezTo>
                  <a:cubicBezTo>
                    <a:pt x="187" y="1067"/>
                    <a:pt x="184" y="1065"/>
                    <a:pt x="181" y="1063"/>
                  </a:cubicBezTo>
                  <a:cubicBezTo>
                    <a:pt x="174" y="1057"/>
                    <a:pt x="168" y="1052"/>
                    <a:pt x="162" y="1046"/>
                  </a:cubicBezTo>
                  <a:cubicBezTo>
                    <a:pt x="157" y="1042"/>
                    <a:pt x="153" y="1038"/>
                    <a:pt x="149" y="1034"/>
                  </a:cubicBezTo>
                  <a:cubicBezTo>
                    <a:pt x="148" y="1033"/>
                    <a:pt x="148" y="1033"/>
                    <a:pt x="148" y="1033"/>
                  </a:cubicBezTo>
                  <a:cubicBezTo>
                    <a:pt x="142" y="1026"/>
                    <a:pt x="135" y="1019"/>
                    <a:pt x="130" y="1012"/>
                  </a:cubicBezTo>
                  <a:cubicBezTo>
                    <a:pt x="128" y="1010"/>
                    <a:pt x="127" y="1008"/>
                    <a:pt x="125" y="1007"/>
                  </a:cubicBezTo>
                  <a:cubicBezTo>
                    <a:pt x="119" y="997"/>
                    <a:pt x="119" y="997"/>
                    <a:pt x="119" y="997"/>
                  </a:cubicBezTo>
                  <a:cubicBezTo>
                    <a:pt x="116" y="994"/>
                    <a:pt x="114" y="990"/>
                    <a:pt x="112" y="987"/>
                  </a:cubicBezTo>
                  <a:cubicBezTo>
                    <a:pt x="112" y="987"/>
                    <a:pt x="112" y="987"/>
                    <a:pt x="112" y="987"/>
                  </a:cubicBezTo>
                  <a:cubicBezTo>
                    <a:pt x="106" y="977"/>
                    <a:pt x="106" y="977"/>
                    <a:pt x="106" y="977"/>
                  </a:cubicBezTo>
                  <a:cubicBezTo>
                    <a:pt x="105" y="975"/>
                    <a:pt x="104" y="973"/>
                    <a:pt x="103" y="971"/>
                  </a:cubicBezTo>
                  <a:cubicBezTo>
                    <a:pt x="100" y="966"/>
                    <a:pt x="100" y="966"/>
                    <a:pt x="100" y="966"/>
                  </a:cubicBezTo>
                  <a:cubicBezTo>
                    <a:pt x="96" y="956"/>
                    <a:pt x="96" y="956"/>
                    <a:pt x="96" y="956"/>
                  </a:cubicBezTo>
                  <a:cubicBezTo>
                    <a:pt x="95" y="955"/>
                    <a:pt x="95" y="955"/>
                    <a:pt x="95" y="955"/>
                  </a:cubicBezTo>
                  <a:cubicBezTo>
                    <a:pt x="94" y="953"/>
                    <a:pt x="94" y="952"/>
                    <a:pt x="93" y="950"/>
                  </a:cubicBezTo>
                  <a:cubicBezTo>
                    <a:pt x="91" y="944"/>
                    <a:pt x="91" y="944"/>
                    <a:pt x="91" y="944"/>
                  </a:cubicBezTo>
                  <a:cubicBezTo>
                    <a:pt x="87" y="933"/>
                    <a:pt x="87" y="933"/>
                    <a:pt x="87" y="933"/>
                  </a:cubicBezTo>
                  <a:cubicBezTo>
                    <a:pt x="86" y="929"/>
                    <a:pt x="85" y="925"/>
                    <a:pt x="84" y="921"/>
                  </a:cubicBezTo>
                  <a:cubicBezTo>
                    <a:pt x="83" y="919"/>
                    <a:pt x="83" y="917"/>
                    <a:pt x="82" y="914"/>
                  </a:cubicBezTo>
                  <a:cubicBezTo>
                    <a:pt x="76" y="886"/>
                    <a:pt x="75" y="856"/>
                    <a:pt x="82" y="827"/>
                  </a:cubicBezTo>
                  <a:cubicBezTo>
                    <a:pt x="83" y="824"/>
                    <a:pt x="84" y="819"/>
                    <a:pt x="85" y="816"/>
                  </a:cubicBezTo>
                  <a:cubicBezTo>
                    <a:pt x="86" y="812"/>
                    <a:pt x="87" y="808"/>
                    <a:pt x="88" y="804"/>
                  </a:cubicBezTo>
                  <a:cubicBezTo>
                    <a:pt x="92" y="793"/>
                    <a:pt x="92" y="793"/>
                    <a:pt x="92" y="793"/>
                  </a:cubicBezTo>
                  <a:cubicBezTo>
                    <a:pt x="94" y="789"/>
                    <a:pt x="95" y="785"/>
                    <a:pt x="97" y="782"/>
                  </a:cubicBezTo>
                  <a:cubicBezTo>
                    <a:pt x="100" y="774"/>
                    <a:pt x="104" y="767"/>
                    <a:pt x="107" y="760"/>
                  </a:cubicBezTo>
                  <a:cubicBezTo>
                    <a:pt x="109" y="757"/>
                    <a:pt x="111" y="753"/>
                    <a:pt x="113" y="750"/>
                  </a:cubicBezTo>
                  <a:cubicBezTo>
                    <a:pt x="116" y="744"/>
                    <a:pt x="116" y="744"/>
                    <a:pt x="116" y="744"/>
                  </a:cubicBezTo>
                  <a:cubicBezTo>
                    <a:pt x="117" y="743"/>
                    <a:pt x="118" y="741"/>
                    <a:pt x="119" y="739"/>
                  </a:cubicBezTo>
                  <a:cubicBezTo>
                    <a:pt x="126" y="730"/>
                    <a:pt x="126" y="730"/>
                    <a:pt x="126" y="730"/>
                  </a:cubicBezTo>
                  <a:cubicBezTo>
                    <a:pt x="126" y="729"/>
                    <a:pt x="126" y="729"/>
                    <a:pt x="126" y="729"/>
                  </a:cubicBezTo>
                  <a:cubicBezTo>
                    <a:pt x="133" y="720"/>
                    <a:pt x="133" y="720"/>
                    <a:pt x="133" y="720"/>
                  </a:cubicBezTo>
                  <a:cubicBezTo>
                    <a:pt x="137" y="715"/>
                    <a:pt x="137" y="715"/>
                    <a:pt x="137" y="715"/>
                  </a:cubicBezTo>
                  <a:cubicBezTo>
                    <a:pt x="140" y="710"/>
                    <a:pt x="140" y="710"/>
                    <a:pt x="140" y="710"/>
                  </a:cubicBezTo>
                  <a:cubicBezTo>
                    <a:pt x="148" y="701"/>
                    <a:pt x="148" y="701"/>
                    <a:pt x="148" y="701"/>
                  </a:cubicBezTo>
                  <a:cubicBezTo>
                    <a:pt x="152" y="697"/>
                    <a:pt x="155" y="693"/>
                    <a:pt x="159" y="689"/>
                  </a:cubicBezTo>
                  <a:cubicBezTo>
                    <a:pt x="166" y="681"/>
                    <a:pt x="174" y="673"/>
                    <a:pt x="181" y="666"/>
                  </a:cubicBezTo>
                  <a:cubicBezTo>
                    <a:pt x="184" y="663"/>
                    <a:pt x="187" y="661"/>
                    <a:pt x="189" y="659"/>
                  </a:cubicBezTo>
                  <a:cubicBezTo>
                    <a:pt x="193" y="656"/>
                    <a:pt x="196" y="653"/>
                    <a:pt x="199" y="650"/>
                  </a:cubicBezTo>
                  <a:cubicBezTo>
                    <a:pt x="206" y="645"/>
                    <a:pt x="212" y="640"/>
                    <a:pt x="218" y="635"/>
                  </a:cubicBezTo>
                  <a:cubicBezTo>
                    <a:pt x="218" y="635"/>
                    <a:pt x="219" y="635"/>
                    <a:pt x="219" y="634"/>
                  </a:cubicBezTo>
                  <a:cubicBezTo>
                    <a:pt x="228" y="627"/>
                    <a:pt x="237" y="620"/>
                    <a:pt x="247" y="614"/>
                  </a:cubicBezTo>
                  <a:cubicBezTo>
                    <a:pt x="251" y="611"/>
                    <a:pt x="254" y="609"/>
                    <a:pt x="258" y="607"/>
                  </a:cubicBezTo>
                  <a:cubicBezTo>
                    <a:pt x="275" y="596"/>
                    <a:pt x="275" y="596"/>
                    <a:pt x="275" y="596"/>
                  </a:cubicBezTo>
                  <a:cubicBezTo>
                    <a:pt x="278" y="594"/>
                    <a:pt x="278" y="594"/>
                    <a:pt x="278" y="594"/>
                  </a:cubicBezTo>
                  <a:cubicBezTo>
                    <a:pt x="299" y="582"/>
                    <a:pt x="299" y="582"/>
                    <a:pt x="299" y="582"/>
                  </a:cubicBezTo>
                  <a:cubicBezTo>
                    <a:pt x="300" y="581"/>
                    <a:pt x="301" y="580"/>
                    <a:pt x="302" y="580"/>
                  </a:cubicBezTo>
                  <a:cubicBezTo>
                    <a:pt x="311" y="575"/>
                    <a:pt x="320" y="570"/>
                    <a:pt x="329" y="566"/>
                  </a:cubicBezTo>
                  <a:cubicBezTo>
                    <a:pt x="333" y="563"/>
                    <a:pt x="338" y="561"/>
                    <a:pt x="342" y="559"/>
                  </a:cubicBezTo>
                  <a:cubicBezTo>
                    <a:pt x="346" y="557"/>
                    <a:pt x="351" y="555"/>
                    <a:pt x="356" y="553"/>
                  </a:cubicBezTo>
                  <a:cubicBezTo>
                    <a:pt x="364" y="549"/>
                    <a:pt x="373" y="545"/>
                    <a:pt x="382" y="541"/>
                  </a:cubicBezTo>
                  <a:cubicBezTo>
                    <a:pt x="391" y="537"/>
                    <a:pt x="399" y="533"/>
                    <a:pt x="408" y="530"/>
                  </a:cubicBezTo>
                  <a:cubicBezTo>
                    <a:pt x="417" y="526"/>
                    <a:pt x="425" y="523"/>
                    <a:pt x="434" y="520"/>
                  </a:cubicBezTo>
                  <a:cubicBezTo>
                    <a:pt x="442" y="517"/>
                    <a:pt x="451" y="513"/>
                    <a:pt x="460" y="510"/>
                  </a:cubicBezTo>
                  <a:cubicBezTo>
                    <a:pt x="468" y="507"/>
                    <a:pt x="477" y="505"/>
                    <a:pt x="485" y="502"/>
                  </a:cubicBezTo>
                  <a:cubicBezTo>
                    <a:pt x="494" y="499"/>
                    <a:pt x="502" y="496"/>
                    <a:pt x="511" y="494"/>
                  </a:cubicBezTo>
                  <a:cubicBezTo>
                    <a:pt x="515" y="492"/>
                    <a:pt x="518" y="491"/>
                    <a:pt x="522" y="490"/>
                  </a:cubicBezTo>
                  <a:cubicBezTo>
                    <a:pt x="527" y="489"/>
                    <a:pt x="531" y="487"/>
                    <a:pt x="536" y="486"/>
                  </a:cubicBezTo>
                  <a:cubicBezTo>
                    <a:pt x="544" y="483"/>
                    <a:pt x="553" y="481"/>
                    <a:pt x="561" y="479"/>
                  </a:cubicBezTo>
                  <a:cubicBezTo>
                    <a:pt x="570" y="476"/>
                    <a:pt x="578" y="474"/>
                    <a:pt x="586" y="472"/>
                  </a:cubicBezTo>
                  <a:cubicBezTo>
                    <a:pt x="595" y="469"/>
                    <a:pt x="603" y="467"/>
                    <a:pt x="612" y="465"/>
                  </a:cubicBezTo>
                  <a:cubicBezTo>
                    <a:pt x="620" y="463"/>
                    <a:pt x="628" y="461"/>
                    <a:pt x="637" y="458"/>
                  </a:cubicBezTo>
                  <a:cubicBezTo>
                    <a:pt x="645" y="456"/>
                    <a:pt x="653" y="454"/>
                    <a:pt x="662" y="452"/>
                  </a:cubicBezTo>
                  <a:cubicBezTo>
                    <a:pt x="670" y="450"/>
                    <a:pt x="678" y="448"/>
                    <a:pt x="687" y="446"/>
                  </a:cubicBezTo>
                  <a:cubicBezTo>
                    <a:pt x="694" y="445"/>
                    <a:pt x="701" y="443"/>
                    <a:pt x="708" y="441"/>
                  </a:cubicBezTo>
                  <a:cubicBezTo>
                    <a:pt x="709" y="441"/>
                    <a:pt x="710" y="441"/>
                    <a:pt x="711" y="441"/>
                  </a:cubicBezTo>
                  <a:cubicBezTo>
                    <a:pt x="720" y="439"/>
                    <a:pt x="728" y="437"/>
                    <a:pt x="736" y="435"/>
                  </a:cubicBezTo>
                  <a:cubicBezTo>
                    <a:pt x="745" y="433"/>
                    <a:pt x="753" y="431"/>
                    <a:pt x="761" y="429"/>
                  </a:cubicBezTo>
                  <a:cubicBezTo>
                    <a:pt x="769" y="427"/>
                    <a:pt x="778" y="425"/>
                    <a:pt x="786" y="423"/>
                  </a:cubicBezTo>
                  <a:cubicBezTo>
                    <a:pt x="794" y="421"/>
                    <a:pt x="803" y="419"/>
                    <a:pt x="811" y="417"/>
                  </a:cubicBezTo>
                  <a:cubicBezTo>
                    <a:pt x="820" y="415"/>
                    <a:pt x="828" y="412"/>
                    <a:pt x="836" y="410"/>
                  </a:cubicBezTo>
                  <a:cubicBezTo>
                    <a:pt x="845" y="407"/>
                    <a:pt x="853" y="405"/>
                    <a:pt x="862" y="402"/>
                  </a:cubicBezTo>
                  <a:cubicBezTo>
                    <a:pt x="870" y="399"/>
                    <a:pt x="879" y="396"/>
                    <a:pt x="887" y="393"/>
                  </a:cubicBezTo>
                  <a:cubicBezTo>
                    <a:pt x="889" y="392"/>
                    <a:pt x="891" y="391"/>
                    <a:pt x="893" y="391"/>
                  </a:cubicBezTo>
                  <a:cubicBezTo>
                    <a:pt x="900" y="388"/>
                    <a:pt x="907" y="385"/>
                    <a:pt x="913" y="382"/>
                  </a:cubicBezTo>
                  <a:cubicBezTo>
                    <a:pt x="922" y="378"/>
                    <a:pt x="931" y="374"/>
                    <a:pt x="940" y="369"/>
                  </a:cubicBezTo>
                  <a:cubicBezTo>
                    <a:pt x="949" y="365"/>
                    <a:pt x="958" y="359"/>
                    <a:pt x="967" y="354"/>
                  </a:cubicBezTo>
                  <a:cubicBezTo>
                    <a:pt x="971" y="351"/>
                    <a:pt x="975" y="349"/>
                    <a:pt x="978" y="347"/>
                  </a:cubicBezTo>
                  <a:cubicBezTo>
                    <a:pt x="988" y="340"/>
                    <a:pt x="988" y="340"/>
                    <a:pt x="988" y="340"/>
                  </a:cubicBezTo>
                  <a:cubicBezTo>
                    <a:pt x="990" y="338"/>
                    <a:pt x="993" y="336"/>
                    <a:pt x="995" y="334"/>
                  </a:cubicBezTo>
                  <a:cubicBezTo>
                    <a:pt x="996" y="334"/>
                    <a:pt x="997" y="333"/>
                    <a:pt x="998" y="332"/>
                  </a:cubicBezTo>
                  <a:cubicBezTo>
                    <a:pt x="1004" y="327"/>
                    <a:pt x="1010" y="323"/>
                    <a:pt x="1016" y="317"/>
                  </a:cubicBezTo>
                  <a:cubicBezTo>
                    <a:pt x="1019" y="314"/>
                    <a:pt x="1022" y="311"/>
                    <a:pt x="1025" y="308"/>
                  </a:cubicBezTo>
                  <a:cubicBezTo>
                    <a:pt x="1033" y="299"/>
                    <a:pt x="1040" y="290"/>
                    <a:pt x="1046" y="279"/>
                  </a:cubicBezTo>
                  <a:cubicBezTo>
                    <a:pt x="1053" y="265"/>
                    <a:pt x="1057" y="248"/>
                    <a:pt x="1056" y="232"/>
                  </a:cubicBezTo>
                  <a:cubicBezTo>
                    <a:pt x="1055" y="224"/>
                    <a:pt x="1054" y="216"/>
                    <a:pt x="1051" y="208"/>
                  </a:cubicBezTo>
                  <a:cubicBezTo>
                    <a:pt x="1050" y="205"/>
                    <a:pt x="1050" y="205"/>
                    <a:pt x="1050" y="205"/>
                  </a:cubicBezTo>
                  <a:cubicBezTo>
                    <a:pt x="1050" y="205"/>
                    <a:pt x="1050" y="204"/>
                    <a:pt x="1050" y="204"/>
                  </a:cubicBezTo>
                  <a:cubicBezTo>
                    <a:pt x="1050" y="203"/>
                    <a:pt x="1049" y="203"/>
                    <a:pt x="1049" y="202"/>
                  </a:cubicBezTo>
                  <a:cubicBezTo>
                    <a:pt x="1047" y="197"/>
                    <a:pt x="1047" y="197"/>
                    <a:pt x="1047" y="197"/>
                  </a:cubicBezTo>
                  <a:cubicBezTo>
                    <a:pt x="1045" y="191"/>
                    <a:pt x="1045" y="191"/>
                    <a:pt x="1045" y="191"/>
                  </a:cubicBezTo>
                  <a:cubicBezTo>
                    <a:pt x="1044" y="190"/>
                    <a:pt x="1043" y="188"/>
                    <a:pt x="1042" y="186"/>
                  </a:cubicBezTo>
                  <a:cubicBezTo>
                    <a:pt x="1039" y="181"/>
                    <a:pt x="1037" y="176"/>
                    <a:pt x="1034" y="172"/>
                  </a:cubicBezTo>
                  <a:cubicBezTo>
                    <a:pt x="1028" y="163"/>
                    <a:pt x="1022" y="155"/>
                    <a:pt x="1016" y="148"/>
                  </a:cubicBezTo>
                  <a:cubicBezTo>
                    <a:pt x="1013" y="145"/>
                    <a:pt x="1009" y="141"/>
                    <a:pt x="1006" y="138"/>
                  </a:cubicBezTo>
                  <a:cubicBezTo>
                    <a:pt x="1001" y="134"/>
                    <a:pt x="997" y="129"/>
                    <a:pt x="992" y="125"/>
                  </a:cubicBezTo>
                  <a:cubicBezTo>
                    <a:pt x="986" y="121"/>
                    <a:pt x="981" y="116"/>
                    <a:pt x="975" y="112"/>
                  </a:cubicBezTo>
                  <a:cubicBezTo>
                    <a:pt x="974" y="112"/>
                    <a:pt x="973" y="111"/>
                    <a:pt x="972" y="110"/>
                  </a:cubicBezTo>
                  <a:cubicBezTo>
                    <a:pt x="965" y="106"/>
                    <a:pt x="958" y="102"/>
                    <a:pt x="951" y="98"/>
                  </a:cubicBezTo>
                  <a:cubicBezTo>
                    <a:pt x="945" y="95"/>
                    <a:pt x="940" y="92"/>
                    <a:pt x="934" y="89"/>
                  </a:cubicBezTo>
                  <a:cubicBezTo>
                    <a:pt x="933" y="89"/>
                    <a:pt x="931" y="88"/>
                    <a:pt x="930" y="87"/>
                  </a:cubicBezTo>
                  <a:cubicBezTo>
                    <a:pt x="923" y="84"/>
                    <a:pt x="916" y="81"/>
                    <a:pt x="909" y="78"/>
                  </a:cubicBezTo>
                  <a:cubicBezTo>
                    <a:pt x="903" y="76"/>
                    <a:pt x="897" y="74"/>
                    <a:pt x="891" y="72"/>
                  </a:cubicBezTo>
                  <a:cubicBezTo>
                    <a:pt x="889" y="71"/>
                    <a:pt x="888" y="71"/>
                    <a:pt x="887" y="71"/>
                  </a:cubicBezTo>
                  <a:cubicBezTo>
                    <a:pt x="880" y="68"/>
                    <a:pt x="872" y="66"/>
                    <a:pt x="865" y="64"/>
                  </a:cubicBezTo>
                  <a:cubicBezTo>
                    <a:pt x="857" y="62"/>
                    <a:pt x="850" y="60"/>
                    <a:pt x="843" y="58"/>
                  </a:cubicBezTo>
                  <a:cubicBezTo>
                    <a:pt x="835" y="57"/>
                    <a:pt x="828" y="55"/>
                    <a:pt x="820" y="53"/>
                  </a:cubicBezTo>
                  <a:cubicBezTo>
                    <a:pt x="814" y="52"/>
                    <a:pt x="808" y="51"/>
                    <a:pt x="801" y="50"/>
                  </a:cubicBezTo>
                  <a:cubicBezTo>
                    <a:pt x="800" y="49"/>
                    <a:pt x="799" y="49"/>
                    <a:pt x="798" y="49"/>
                  </a:cubicBezTo>
                  <a:cubicBezTo>
                    <a:pt x="790" y="48"/>
                    <a:pt x="783" y="47"/>
                    <a:pt x="775" y="45"/>
                  </a:cubicBezTo>
                  <a:cubicBezTo>
                    <a:pt x="767" y="44"/>
                    <a:pt x="760" y="43"/>
                    <a:pt x="752" y="42"/>
                  </a:cubicBezTo>
                  <a:cubicBezTo>
                    <a:pt x="744" y="41"/>
                    <a:pt x="737" y="40"/>
                    <a:pt x="729" y="40"/>
                  </a:cubicBezTo>
                  <a:cubicBezTo>
                    <a:pt x="722" y="39"/>
                    <a:pt x="714" y="38"/>
                    <a:pt x="706" y="37"/>
                  </a:cubicBezTo>
                  <a:cubicBezTo>
                    <a:pt x="698" y="36"/>
                    <a:pt x="691" y="36"/>
                    <a:pt x="683" y="35"/>
                  </a:cubicBezTo>
                  <a:cubicBezTo>
                    <a:pt x="675" y="34"/>
                    <a:pt x="668" y="34"/>
                    <a:pt x="660" y="33"/>
                  </a:cubicBezTo>
                  <a:cubicBezTo>
                    <a:pt x="652" y="33"/>
                    <a:pt x="645" y="32"/>
                    <a:pt x="637" y="32"/>
                  </a:cubicBezTo>
                  <a:cubicBezTo>
                    <a:pt x="631" y="31"/>
                    <a:pt x="626" y="31"/>
                    <a:pt x="621" y="30"/>
                  </a:cubicBezTo>
                  <a:cubicBezTo>
                    <a:pt x="618" y="30"/>
                    <a:pt x="616" y="30"/>
                    <a:pt x="614" y="30"/>
                  </a:cubicBezTo>
                  <a:cubicBezTo>
                    <a:pt x="606" y="29"/>
                    <a:pt x="598" y="29"/>
                    <a:pt x="591" y="28"/>
                  </a:cubicBezTo>
                  <a:cubicBezTo>
                    <a:pt x="583" y="27"/>
                    <a:pt x="575" y="27"/>
                    <a:pt x="567" y="26"/>
                  </a:cubicBezTo>
                  <a:cubicBezTo>
                    <a:pt x="560" y="26"/>
                    <a:pt x="552" y="25"/>
                    <a:pt x="544" y="25"/>
                  </a:cubicBezTo>
                  <a:cubicBezTo>
                    <a:pt x="536" y="24"/>
                    <a:pt x="529" y="24"/>
                    <a:pt x="521" y="23"/>
                  </a:cubicBezTo>
                  <a:cubicBezTo>
                    <a:pt x="513" y="23"/>
                    <a:pt x="505" y="22"/>
                    <a:pt x="498" y="22"/>
                  </a:cubicBezTo>
                  <a:cubicBezTo>
                    <a:pt x="490" y="22"/>
                    <a:pt x="482" y="21"/>
                    <a:pt x="474" y="21"/>
                  </a:cubicBezTo>
                  <a:cubicBezTo>
                    <a:pt x="467" y="20"/>
                    <a:pt x="459" y="20"/>
                    <a:pt x="451" y="20"/>
                  </a:cubicBezTo>
                  <a:cubicBezTo>
                    <a:pt x="448" y="19"/>
                    <a:pt x="446" y="19"/>
                    <a:pt x="443" y="19"/>
                  </a:cubicBezTo>
                  <a:cubicBezTo>
                    <a:pt x="438" y="19"/>
                    <a:pt x="433" y="19"/>
                    <a:pt x="428" y="19"/>
                  </a:cubicBezTo>
                  <a:cubicBezTo>
                    <a:pt x="420" y="18"/>
                    <a:pt x="412" y="18"/>
                    <a:pt x="404" y="17"/>
                  </a:cubicBezTo>
                  <a:cubicBezTo>
                    <a:pt x="397" y="17"/>
                    <a:pt x="389" y="17"/>
                    <a:pt x="381" y="16"/>
                  </a:cubicBezTo>
                  <a:cubicBezTo>
                    <a:pt x="373" y="16"/>
                    <a:pt x="366" y="16"/>
                    <a:pt x="358" y="15"/>
                  </a:cubicBezTo>
                  <a:cubicBezTo>
                    <a:pt x="350" y="15"/>
                    <a:pt x="342" y="15"/>
                    <a:pt x="335" y="14"/>
                  </a:cubicBezTo>
                  <a:cubicBezTo>
                    <a:pt x="327" y="14"/>
                    <a:pt x="319" y="14"/>
                    <a:pt x="311" y="13"/>
                  </a:cubicBezTo>
                  <a:cubicBezTo>
                    <a:pt x="303" y="13"/>
                    <a:pt x="296" y="13"/>
                    <a:pt x="288" y="12"/>
                  </a:cubicBezTo>
                  <a:cubicBezTo>
                    <a:pt x="280" y="12"/>
                    <a:pt x="272" y="11"/>
                    <a:pt x="265" y="11"/>
                  </a:cubicBezTo>
                  <a:cubicBezTo>
                    <a:pt x="257" y="11"/>
                    <a:pt x="249" y="10"/>
                    <a:pt x="241" y="10"/>
                  </a:cubicBezTo>
                  <a:cubicBezTo>
                    <a:pt x="233" y="10"/>
                    <a:pt x="226" y="9"/>
                    <a:pt x="218" y="9"/>
                  </a:cubicBezTo>
                  <a:cubicBezTo>
                    <a:pt x="210" y="9"/>
                    <a:pt x="202" y="8"/>
                    <a:pt x="195" y="8"/>
                  </a:cubicBezTo>
                  <a:cubicBezTo>
                    <a:pt x="187" y="8"/>
                    <a:pt x="179" y="7"/>
                    <a:pt x="171" y="7"/>
                  </a:cubicBezTo>
                  <a:cubicBezTo>
                    <a:pt x="163" y="7"/>
                    <a:pt x="156" y="6"/>
                    <a:pt x="148" y="6"/>
                  </a:cubicBezTo>
                  <a:cubicBezTo>
                    <a:pt x="140" y="6"/>
                    <a:pt x="132" y="5"/>
                    <a:pt x="125" y="5"/>
                  </a:cubicBezTo>
                  <a:cubicBezTo>
                    <a:pt x="117" y="4"/>
                    <a:pt x="109" y="4"/>
                    <a:pt x="101" y="4"/>
                  </a:cubicBezTo>
                  <a:cubicBezTo>
                    <a:pt x="101" y="4"/>
                    <a:pt x="100" y="4"/>
                    <a:pt x="99" y="4"/>
                  </a:cubicBezTo>
                  <a:cubicBezTo>
                    <a:pt x="92" y="3"/>
                    <a:pt x="85" y="3"/>
                    <a:pt x="78" y="3"/>
                  </a:cubicBezTo>
                  <a:cubicBezTo>
                    <a:pt x="70" y="2"/>
                    <a:pt x="62" y="2"/>
                    <a:pt x="55" y="2"/>
                  </a:cubicBezTo>
                  <a:cubicBezTo>
                    <a:pt x="47" y="1"/>
                    <a:pt x="39" y="1"/>
                    <a:pt x="31" y="1"/>
                  </a:cubicBezTo>
                  <a:cubicBezTo>
                    <a:pt x="24" y="1"/>
                    <a:pt x="16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8"/>
                    <a:pt x="9" y="8"/>
                    <a:pt x="14" y="8"/>
                  </a:cubicBezTo>
                  <a:cubicBezTo>
                    <a:pt x="21" y="9"/>
                    <a:pt x="29" y="9"/>
                    <a:pt x="37" y="9"/>
                  </a:cubicBezTo>
                  <a:cubicBezTo>
                    <a:pt x="45" y="10"/>
                    <a:pt x="52" y="10"/>
                    <a:pt x="60" y="10"/>
                  </a:cubicBezTo>
                  <a:cubicBezTo>
                    <a:pt x="68" y="11"/>
                    <a:pt x="76" y="11"/>
                    <a:pt x="83" y="11"/>
                  </a:cubicBezTo>
                  <a:cubicBezTo>
                    <a:pt x="90" y="12"/>
                    <a:pt x="96" y="12"/>
                    <a:pt x="103" y="12"/>
                  </a:cubicBezTo>
                  <a:cubicBezTo>
                    <a:pt x="104" y="12"/>
                    <a:pt x="105" y="12"/>
                    <a:pt x="107" y="13"/>
                  </a:cubicBezTo>
                  <a:cubicBezTo>
                    <a:pt x="115" y="13"/>
                    <a:pt x="122" y="13"/>
                    <a:pt x="130" y="14"/>
                  </a:cubicBezTo>
                  <a:cubicBezTo>
                    <a:pt x="138" y="14"/>
                    <a:pt x="146" y="14"/>
                    <a:pt x="153" y="15"/>
                  </a:cubicBezTo>
                  <a:cubicBezTo>
                    <a:pt x="161" y="15"/>
                    <a:pt x="169" y="15"/>
                    <a:pt x="177" y="16"/>
                  </a:cubicBezTo>
                  <a:cubicBezTo>
                    <a:pt x="184" y="16"/>
                    <a:pt x="192" y="17"/>
                    <a:pt x="200" y="17"/>
                  </a:cubicBezTo>
                  <a:cubicBezTo>
                    <a:pt x="208" y="17"/>
                    <a:pt x="215" y="18"/>
                    <a:pt x="223" y="18"/>
                  </a:cubicBezTo>
                  <a:cubicBezTo>
                    <a:pt x="231" y="18"/>
                    <a:pt x="239" y="19"/>
                    <a:pt x="246" y="19"/>
                  </a:cubicBezTo>
                  <a:cubicBezTo>
                    <a:pt x="254" y="20"/>
                    <a:pt x="262" y="20"/>
                    <a:pt x="270" y="20"/>
                  </a:cubicBezTo>
                  <a:cubicBezTo>
                    <a:pt x="277" y="21"/>
                    <a:pt x="285" y="21"/>
                    <a:pt x="293" y="21"/>
                  </a:cubicBezTo>
                  <a:cubicBezTo>
                    <a:pt x="301" y="22"/>
                    <a:pt x="308" y="22"/>
                    <a:pt x="316" y="22"/>
                  </a:cubicBezTo>
                  <a:cubicBezTo>
                    <a:pt x="324" y="23"/>
                    <a:pt x="332" y="23"/>
                    <a:pt x="339" y="24"/>
                  </a:cubicBezTo>
                  <a:cubicBezTo>
                    <a:pt x="347" y="24"/>
                    <a:pt x="355" y="24"/>
                    <a:pt x="363" y="25"/>
                  </a:cubicBezTo>
                  <a:cubicBezTo>
                    <a:pt x="370" y="25"/>
                    <a:pt x="378" y="25"/>
                    <a:pt x="386" y="26"/>
                  </a:cubicBezTo>
                  <a:cubicBezTo>
                    <a:pt x="394" y="26"/>
                    <a:pt x="401" y="26"/>
                    <a:pt x="409" y="27"/>
                  </a:cubicBezTo>
                  <a:cubicBezTo>
                    <a:pt x="417" y="27"/>
                    <a:pt x="425" y="28"/>
                    <a:pt x="432" y="28"/>
                  </a:cubicBezTo>
                  <a:cubicBezTo>
                    <a:pt x="437" y="28"/>
                    <a:pt x="442" y="28"/>
                    <a:pt x="447" y="29"/>
                  </a:cubicBezTo>
                  <a:cubicBezTo>
                    <a:pt x="450" y="29"/>
                    <a:pt x="453" y="29"/>
                    <a:pt x="456" y="29"/>
                  </a:cubicBezTo>
                  <a:cubicBezTo>
                    <a:pt x="463" y="29"/>
                    <a:pt x="471" y="30"/>
                    <a:pt x="479" y="30"/>
                  </a:cubicBezTo>
                  <a:cubicBezTo>
                    <a:pt x="487" y="31"/>
                    <a:pt x="494" y="31"/>
                    <a:pt x="502" y="32"/>
                  </a:cubicBezTo>
                  <a:cubicBezTo>
                    <a:pt x="510" y="32"/>
                    <a:pt x="518" y="32"/>
                    <a:pt x="525" y="33"/>
                  </a:cubicBezTo>
                  <a:cubicBezTo>
                    <a:pt x="533" y="33"/>
                    <a:pt x="541" y="34"/>
                    <a:pt x="549" y="34"/>
                  </a:cubicBezTo>
                  <a:cubicBezTo>
                    <a:pt x="556" y="35"/>
                    <a:pt x="564" y="36"/>
                    <a:pt x="572" y="36"/>
                  </a:cubicBezTo>
                  <a:cubicBezTo>
                    <a:pt x="579" y="37"/>
                    <a:pt x="587" y="37"/>
                    <a:pt x="595" y="38"/>
                  </a:cubicBezTo>
                  <a:cubicBezTo>
                    <a:pt x="603" y="38"/>
                    <a:pt x="610" y="39"/>
                    <a:pt x="618" y="40"/>
                  </a:cubicBezTo>
                  <a:cubicBezTo>
                    <a:pt x="620" y="40"/>
                    <a:pt x="622" y="40"/>
                    <a:pt x="624" y="40"/>
                  </a:cubicBezTo>
                  <a:cubicBezTo>
                    <a:pt x="630" y="41"/>
                    <a:pt x="635" y="41"/>
                    <a:pt x="641" y="41"/>
                  </a:cubicBezTo>
                  <a:cubicBezTo>
                    <a:pt x="649" y="42"/>
                    <a:pt x="656" y="43"/>
                    <a:pt x="664" y="43"/>
                  </a:cubicBezTo>
                  <a:cubicBezTo>
                    <a:pt x="672" y="44"/>
                    <a:pt x="679" y="45"/>
                    <a:pt x="687" y="45"/>
                  </a:cubicBezTo>
                  <a:cubicBezTo>
                    <a:pt x="695" y="46"/>
                    <a:pt x="703" y="47"/>
                    <a:pt x="710" y="47"/>
                  </a:cubicBezTo>
                  <a:cubicBezTo>
                    <a:pt x="718" y="48"/>
                    <a:pt x="726" y="49"/>
                    <a:pt x="733" y="50"/>
                  </a:cubicBezTo>
                  <a:cubicBezTo>
                    <a:pt x="741" y="51"/>
                    <a:pt x="748" y="52"/>
                    <a:pt x="756" y="53"/>
                  </a:cubicBezTo>
                  <a:cubicBezTo>
                    <a:pt x="764" y="54"/>
                    <a:pt x="771" y="55"/>
                    <a:pt x="779" y="56"/>
                  </a:cubicBezTo>
                  <a:cubicBezTo>
                    <a:pt x="786" y="57"/>
                    <a:pt x="794" y="58"/>
                    <a:pt x="801" y="59"/>
                  </a:cubicBezTo>
                  <a:cubicBezTo>
                    <a:pt x="802" y="60"/>
                    <a:pt x="803" y="60"/>
                    <a:pt x="804" y="60"/>
                  </a:cubicBezTo>
                  <a:cubicBezTo>
                    <a:pt x="811" y="61"/>
                    <a:pt x="817" y="62"/>
                    <a:pt x="824" y="64"/>
                  </a:cubicBezTo>
                  <a:cubicBezTo>
                    <a:pt x="831" y="65"/>
                    <a:pt x="839" y="67"/>
                    <a:pt x="846" y="69"/>
                  </a:cubicBezTo>
                  <a:cubicBezTo>
                    <a:pt x="854" y="71"/>
                    <a:pt x="861" y="73"/>
                    <a:pt x="868" y="75"/>
                  </a:cubicBezTo>
                  <a:cubicBezTo>
                    <a:pt x="876" y="77"/>
                    <a:pt x="883" y="79"/>
                    <a:pt x="890" y="81"/>
                  </a:cubicBezTo>
                  <a:cubicBezTo>
                    <a:pt x="891" y="82"/>
                    <a:pt x="892" y="82"/>
                    <a:pt x="893" y="82"/>
                  </a:cubicBezTo>
                  <a:cubicBezTo>
                    <a:pt x="899" y="84"/>
                    <a:pt x="906" y="87"/>
                    <a:pt x="912" y="89"/>
                  </a:cubicBezTo>
                  <a:cubicBezTo>
                    <a:pt x="919" y="92"/>
                    <a:pt x="926" y="95"/>
                    <a:pt x="933" y="98"/>
                  </a:cubicBezTo>
                  <a:cubicBezTo>
                    <a:pt x="934" y="99"/>
                    <a:pt x="935" y="99"/>
                    <a:pt x="935" y="99"/>
                  </a:cubicBezTo>
                  <a:cubicBezTo>
                    <a:pt x="942" y="102"/>
                    <a:pt x="948" y="106"/>
                    <a:pt x="954" y="109"/>
                  </a:cubicBezTo>
                  <a:cubicBezTo>
                    <a:pt x="961" y="113"/>
                    <a:pt x="968" y="117"/>
                    <a:pt x="975" y="122"/>
                  </a:cubicBezTo>
                  <a:cubicBezTo>
                    <a:pt x="975" y="122"/>
                    <a:pt x="975" y="122"/>
                    <a:pt x="975" y="122"/>
                  </a:cubicBezTo>
                  <a:cubicBezTo>
                    <a:pt x="982" y="127"/>
                    <a:pt x="988" y="132"/>
                    <a:pt x="995" y="137"/>
                  </a:cubicBezTo>
                  <a:cubicBezTo>
                    <a:pt x="997" y="139"/>
                    <a:pt x="999" y="141"/>
                    <a:pt x="1001" y="143"/>
                  </a:cubicBezTo>
                  <a:cubicBezTo>
                    <a:pt x="1003" y="145"/>
                    <a:pt x="1004" y="146"/>
                    <a:pt x="1006" y="148"/>
                  </a:cubicBezTo>
                  <a:cubicBezTo>
                    <a:pt x="1007" y="149"/>
                    <a:pt x="1008" y="150"/>
                    <a:pt x="1009" y="152"/>
                  </a:cubicBezTo>
                  <a:cubicBezTo>
                    <a:pt x="1016" y="159"/>
                    <a:pt x="1022" y="168"/>
                    <a:pt x="1027" y="176"/>
                  </a:cubicBezTo>
                  <a:cubicBezTo>
                    <a:pt x="1028" y="179"/>
                    <a:pt x="1030" y="182"/>
                    <a:pt x="1032" y="185"/>
                  </a:cubicBezTo>
                  <a:cubicBezTo>
                    <a:pt x="1032" y="187"/>
                    <a:pt x="1033" y="188"/>
                    <a:pt x="1034" y="190"/>
                  </a:cubicBezTo>
                  <a:cubicBezTo>
                    <a:pt x="1036" y="195"/>
                    <a:pt x="1036" y="195"/>
                    <a:pt x="1036" y="195"/>
                  </a:cubicBezTo>
                  <a:cubicBezTo>
                    <a:pt x="1039" y="201"/>
                    <a:pt x="1039" y="201"/>
                    <a:pt x="1039" y="201"/>
                  </a:cubicBezTo>
                  <a:cubicBezTo>
                    <a:pt x="1039" y="202"/>
                    <a:pt x="1039" y="203"/>
                    <a:pt x="1040" y="203"/>
                  </a:cubicBezTo>
                  <a:cubicBezTo>
                    <a:pt x="1041" y="206"/>
                    <a:pt x="1041" y="206"/>
                    <a:pt x="1041" y="206"/>
                  </a:cubicBezTo>
                  <a:cubicBezTo>
                    <a:pt x="1041" y="208"/>
                    <a:pt x="1042" y="210"/>
                    <a:pt x="1042" y="212"/>
                  </a:cubicBezTo>
                  <a:cubicBezTo>
                    <a:pt x="1043" y="217"/>
                    <a:pt x="1044" y="223"/>
                    <a:pt x="1045" y="228"/>
                  </a:cubicBezTo>
                  <a:cubicBezTo>
                    <a:pt x="1045" y="243"/>
                    <a:pt x="1042" y="258"/>
                    <a:pt x="1035" y="272"/>
                  </a:cubicBezTo>
                  <a:cubicBezTo>
                    <a:pt x="1032" y="278"/>
                    <a:pt x="1028" y="284"/>
                    <a:pt x="1024" y="290"/>
                  </a:cubicBezTo>
                  <a:cubicBezTo>
                    <a:pt x="1015" y="301"/>
                    <a:pt x="1004" y="311"/>
                    <a:pt x="993" y="320"/>
                  </a:cubicBezTo>
                  <a:cubicBezTo>
                    <a:pt x="986" y="325"/>
                    <a:pt x="978" y="331"/>
                    <a:pt x="970" y="336"/>
                  </a:cubicBezTo>
                  <a:cubicBezTo>
                    <a:pt x="968" y="338"/>
                    <a:pt x="966" y="339"/>
                    <a:pt x="965" y="340"/>
                  </a:cubicBezTo>
                  <a:cubicBezTo>
                    <a:pt x="956" y="346"/>
                    <a:pt x="947" y="351"/>
                    <a:pt x="937" y="356"/>
                  </a:cubicBezTo>
                  <a:cubicBezTo>
                    <a:pt x="929" y="361"/>
                    <a:pt x="920" y="365"/>
                    <a:pt x="911" y="369"/>
                  </a:cubicBezTo>
                  <a:cubicBezTo>
                    <a:pt x="903" y="373"/>
                    <a:pt x="895" y="376"/>
                    <a:pt x="887" y="379"/>
                  </a:cubicBezTo>
                  <a:cubicBezTo>
                    <a:pt x="886" y="380"/>
                    <a:pt x="885" y="380"/>
                    <a:pt x="884" y="380"/>
                  </a:cubicBezTo>
                  <a:cubicBezTo>
                    <a:pt x="876" y="383"/>
                    <a:pt x="867" y="387"/>
                    <a:pt x="859" y="389"/>
                  </a:cubicBezTo>
                  <a:cubicBezTo>
                    <a:pt x="850" y="392"/>
                    <a:pt x="842" y="395"/>
                    <a:pt x="833" y="397"/>
                  </a:cubicBezTo>
                  <a:cubicBezTo>
                    <a:pt x="825" y="400"/>
                    <a:pt x="816" y="402"/>
                    <a:pt x="808" y="405"/>
                  </a:cubicBezTo>
                  <a:cubicBezTo>
                    <a:pt x="800" y="407"/>
                    <a:pt x="791" y="409"/>
                    <a:pt x="783" y="411"/>
                  </a:cubicBezTo>
                  <a:cubicBezTo>
                    <a:pt x="775" y="413"/>
                    <a:pt x="766" y="415"/>
                    <a:pt x="758" y="417"/>
                  </a:cubicBezTo>
                  <a:cubicBezTo>
                    <a:pt x="750" y="419"/>
                    <a:pt x="741" y="421"/>
                    <a:pt x="733" y="423"/>
                  </a:cubicBezTo>
                  <a:cubicBezTo>
                    <a:pt x="725" y="424"/>
                    <a:pt x="716" y="426"/>
                    <a:pt x="708" y="428"/>
                  </a:cubicBezTo>
                  <a:cubicBezTo>
                    <a:pt x="706" y="429"/>
                    <a:pt x="704" y="429"/>
                    <a:pt x="703" y="429"/>
                  </a:cubicBezTo>
                  <a:cubicBezTo>
                    <a:pt x="696" y="431"/>
                    <a:pt x="690" y="432"/>
                    <a:pt x="683" y="434"/>
                  </a:cubicBezTo>
                  <a:cubicBezTo>
                    <a:pt x="675" y="436"/>
                    <a:pt x="667" y="438"/>
                    <a:pt x="658" y="440"/>
                  </a:cubicBezTo>
                  <a:cubicBezTo>
                    <a:pt x="650" y="442"/>
                    <a:pt x="642" y="444"/>
                    <a:pt x="633" y="446"/>
                  </a:cubicBezTo>
                  <a:cubicBezTo>
                    <a:pt x="625" y="448"/>
                    <a:pt x="617" y="450"/>
                    <a:pt x="608" y="452"/>
                  </a:cubicBezTo>
                  <a:cubicBezTo>
                    <a:pt x="600" y="454"/>
                    <a:pt x="591" y="456"/>
                    <a:pt x="583" y="459"/>
                  </a:cubicBezTo>
                  <a:cubicBezTo>
                    <a:pt x="575" y="461"/>
                    <a:pt x="566" y="463"/>
                    <a:pt x="558" y="466"/>
                  </a:cubicBezTo>
                  <a:cubicBezTo>
                    <a:pt x="549" y="468"/>
                    <a:pt x="541" y="470"/>
                    <a:pt x="533" y="473"/>
                  </a:cubicBezTo>
                  <a:cubicBezTo>
                    <a:pt x="527" y="474"/>
                    <a:pt x="521" y="476"/>
                    <a:pt x="516" y="478"/>
                  </a:cubicBezTo>
                  <a:cubicBezTo>
                    <a:pt x="513" y="479"/>
                    <a:pt x="510" y="479"/>
                    <a:pt x="507" y="480"/>
                  </a:cubicBezTo>
                  <a:cubicBezTo>
                    <a:pt x="499" y="483"/>
                    <a:pt x="490" y="486"/>
                    <a:pt x="482" y="488"/>
                  </a:cubicBezTo>
                  <a:cubicBezTo>
                    <a:pt x="473" y="491"/>
                    <a:pt x="465" y="494"/>
                    <a:pt x="456" y="497"/>
                  </a:cubicBezTo>
                  <a:cubicBezTo>
                    <a:pt x="448" y="500"/>
                    <a:pt x="439" y="503"/>
                    <a:pt x="430" y="506"/>
                  </a:cubicBezTo>
                  <a:cubicBezTo>
                    <a:pt x="422" y="509"/>
                    <a:pt x="413" y="513"/>
                    <a:pt x="405" y="516"/>
                  </a:cubicBezTo>
                  <a:cubicBezTo>
                    <a:pt x="396" y="520"/>
                    <a:pt x="387" y="523"/>
                    <a:pt x="378" y="527"/>
                  </a:cubicBezTo>
                  <a:cubicBezTo>
                    <a:pt x="370" y="531"/>
                    <a:pt x="361" y="534"/>
                    <a:pt x="352" y="538"/>
                  </a:cubicBezTo>
                  <a:cubicBezTo>
                    <a:pt x="346" y="541"/>
                    <a:pt x="340" y="544"/>
                    <a:pt x="334" y="547"/>
                  </a:cubicBezTo>
                  <a:cubicBezTo>
                    <a:pt x="331" y="548"/>
                    <a:pt x="328" y="550"/>
                    <a:pt x="326" y="551"/>
                  </a:cubicBezTo>
                  <a:cubicBezTo>
                    <a:pt x="317" y="556"/>
                    <a:pt x="308" y="560"/>
                    <a:pt x="299" y="565"/>
                  </a:cubicBezTo>
                  <a:cubicBezTo>
                    <a:pt x="296" y="567"/>
                    <a:pt x="293" y="568"/>
                    <a:pt x="290" y="570"/>
                  </a:cubicBezTo>
                  <a:cubicBezTo>
                    <a:pt x="271" y="581"/>
                    <a:pt x="271" y="581"/>
                    <a:pt x="271" y="581"/>
                  </a:cubicBezTo>
                  <a:cubicBezTo>
                    <a:pt x="269" y="582"/>
                    <a:pt x="269" y="582"/>
                    <a:pt x="269" y="582"/>
                  </a:cubicBezTo>
                  <a:cubicBezTo>
                    <a:pt x="249" y="595"/>
                    <a:pt x="249" y="595"/>
                    <a:pt x="249" y="595"/>
                  </a:cubicBezTo>
                  <a:cubicBezTo>
                    <a:pt x="247" y="596"/>
                    <a:pt x="245" y="597"/>
                    <a:pt x="244" y="598"/>
                  </a:cubicBezTo>
                  <a:cubicBezTo>
                    <a:pt x="234" y="605"/>
                    <a:pt x="225" y="611"/>
                    <a:pt x="215" y="618"/>
                  </a:cubicBezTo>
                  <a:cubicBezTo>
                    <a:pt x="213" y="620"/>
                    <a:pt x="211" y="621"/>
                    <a:pt x="209" y="623"/>
                  </a:cubicBezTo>
                  <a:cubicBezTo>
                    <a:pt x="202" y="628"/>
                    <a:pt x="196" y="634"/>
                    <a:pt x="189" y="639"/>
                  </a:cubicBezTo>
                  <a:cubicBezTo>
                    <a:pt x="188" y="639"/>
                    <a:pt x="187" y="640"/>
                    <a:pt x="186" y="641"/>
                  </a:cubicBezTo>
                  <a:cubicBezTo>
                    <a:pt x="181" y="646"/>
                    <a:pt x="176" y="650"/>
                    <a:pt x="171" y="655"/>
                  </a:cubicBezTo>
                  <a:cubicBezTo>
                    <a:pt x="166" y="660"/>
                    <a:pt x="161" y="664"/>
                    <a:pt x="156" y="669"/>
                  </a:cubicBezTo>
                  <a:cubicBezTo>
                    <a:pt x="150" y="676"/>
                    <a:pt x="143" y="683"/>
                    <a:pt x="137" y="690"/>
                  </a:cubicBezTo>
                  <a:cubicBezTo>
                    <a:pt x="129" y="700"/>
                    <a:pt x="129" y="700"/>
                    <a:pt x="129" y="700"/>
                  </a:cubicBezTo>
                  <a:cubicBezTo>
                    <a:pt x="125" y="705"/>
                    <a:pt x="125" y="705"/>
                    <a:pt x="125" y="705"/>
                  </a:cubicBezTo>
                  <a:cubicBezTo>
                    <a:pt x="124" y="706"/>
                    <a:pt x="124" y="706"/>
                    <a:pt x="124" y="706"/>
                  </a:cubicBezTo>
                  <a:cubicBezTo>
                    <a:pt x="121" y="710"/>
                    <a:pt x="121" y="710"/>
                    <a:pt x="121" y="710"/>
                  </a:cubicBezTo>
                  <a:cubicBezTo>
                    <a:pt x="114" y="720"/>
                    <a:pt x="114" y="720"/>
                    <a:pt x="114" y="720"/>
                  </a:cubicBezTo>
                  <a:cubicBezTo>
                    <a:pt x="107" y="730"/>
                    <a:pt x="107" y="730"/>
                    <a:pt x="107" y="730"/>
                  </a:cubicBezTo>
                  <a:cubicBezTo>
                    <a:pt x="106" y="732"/>
                    <a:pt x="105" y="734"/>
                    <a:pt x="104" y="735"/>
                  </a:cubicBezTo>
                  <a:cubicBezTo>
                    <a:pt x="101" y="741"/>
                    <a:pt x="101" y="741"/>
                    <a:pt x="101" y="741"/>
                  </a:cubicBezTo>
                  <a:cubicBezTo>
                    <a:pt x="99" y="744"/>
                    <a:pt x="97" y="748"/>
                    <a:pt x="95" y="751"/>
                  </a:cubicBezTo>
                  <a:cubicBezTo>
                    <a:pt x="91" y="758"/>
                    <a:pt x="88" y="764"/>
                    <a:pt x="85" y="771"/>
                  </a:cubicBezTo>
                  <a:cubicBezTo>
                    <a:pt x="85" y="772"/>
                    <a:pt x="84" y="773"/>
                    <a:pt x="84" y="774"/>
                  </a:cubicBezTo>
                  <a:cubicBezTo>
                    <a:pt x="82" y="778"/>
                    <a:pt x="80" y="781"/>
                    <a:pt x="79" y="785"/>
                  </a:cubicBezTo>
                  <a:cubicBezTo>
                    <a:pt x="75" y="797"/>
                    <a:pt x="75" y="797"/>
                    <a:pt x="75" y="797"/>
                  </a:cubicBezTo>
                  <a:cubicBezTo>
                    <a:pt x="73" y="801"/>
                    <a:pt x="72" y="805"/>
                    <a:pt x="71" y="809"/>
                  </a:cubicBezTo>
                  <a:cubicBezTo>
                    <a:pt x="70" y="813"/>
                    <a:pt x="69" y="816"/>
                    <a:pt x="68" y="821"/>
                  </a:cubicBezTo>
                  <a:cubicBezTo>
                    <a:pt x="65" y="835"/>
                    <a:pt x="63" y="850"/>
                    <a:pt x="63" y="864"/>
                  </a:cubicBezTo>
                  <a:cubicBezTo>
                    <a:pt x="63" y="883"/>
                    <a:pt x="65" y="902"/>
                    <a:pt x="70" y="920"/>
                  </a:cubicBezTo>
                  <a:cubicBezTo>
                    <a:pt x="70" y="922"/>
                    <a:pt x="71" y="925"/>
                    <a:pt x="72" y="927"/>
                  </a:cubicBezTo>
                  <a:cubicBezTo>
                    <a:pt x="72" y="929"/>
                    <a:pt x="73" y="930"/>
                    <a:pt x="73" y="932"/>
                  </a:cubicBezTo>
                  <a:cubicBezTo>
                    <a:pt x="77" y="944"/>
                    <a:pt x="77" y="944"/>
                    <a:pt x="77" y="944"/>
                  </a:cubicBezTo>
                  <a:cubicBezTo>
                    <a:pt x="79" y="950"/>
                    <a:pt x="79" y="950"/>
                    <a:pt x="79" y="950"/>
                  </a:cubicBezTo>
                  <a:cubicBezTo>
                    <a:pt x="80" y="951"/>
                    <a:pt x="81" y="953"/>
                    <a:pt x="82" y="955"/>
                  </a:cubicBezTo>
                  <a:cubicBezTo>
                    <a:pt x="86" y="965"/>
                    <a:pt x="86" y="965"/>
                    <a:pt x="86" y="965"/>
                  </a:cubicBezTo>
                  <a:cubicBezTo>
                    <a:pt x="87" y="967"/>
                    <a:pt x="87" y="967"/>
                    <a:pt x="87" y="967"/>
                  </a:cubicBezTo>
                  <a:cubicBezTo>
                    <a:pt x="90" y="972"/>
                    <a:pt x="90" y="972"/>
                    <a:pt x="90" y="972"/>
                  </a:cubicBezTo>
                  <a:cubicBezTo>
                    <a:pt x="91" y="974"/>
                    <a:pt x="92" y="976"/>
                    <a:pt x="93" y="978"/>
                  </a:cubicBezTo>
                  <a:cubicBezTo>
                    <a:pt x="99" y="988"/>
                    <a:pt x="99" y="988"/>
                    <a:pt x="99" y="988"/>
                  </a:cubicBezTo>
                  <a:cubicBezTo>
                    <a:pt x="100" y="990"/>
                    <a:pt x="102" y="993"/>
                    <a:pt x="103" y="995"/>
                  </a:cubicBezTo>
                  <a:cubicBezTo>
                    <a:pt x="104" y="996"/>
                    <a:pt x="105" y="997"/>
                    <a:pt x="106" y="999"/>
                  </a:cubicBezTo>
                  <a:cubicBezTo>
                    <a:pt x="113" y="1009"/>
                    <a:pt x="113" y="1009"/>
                    <a:pt x="113" y="1009"/>
                  </a:cubicBezTo>
                  <a:cubicBezTo>
                    <a:pt x="116" y="1012"/>
                    <a:pt x="118" y="1016"/>
                    <a:pt x="121" y="1019"/>
                  </a:cubicBezTo>
                  <a:cubicBezTo>
                    <a:pt x="127" y="1026"/>
                    <a:pt x="133" y="1033"/>
                    <a:pt x="140" y="1039"/>
                  </a:cubicBezTo>
                  <a:cubicBezTo>
                    <a:pt x="142" y="1042"/>
                    <a:pt x="144" y="1044"/>
                    <a:pt x="146" y="1046"/>
                  </a:cubicBezTo>
                  <a:cubicBezTo>
                    <a:pt x="152" y="1052"/>
                    <a:pt x="158" y="1058"/>
                    <a:pt x="164" y="1063"/>
                  </a:cubicBezTo>
                  <a:cubicBezTo>
                    <a:pt x="171" y="1069"/>
                    <a:pt x="177" y="1074"/>
                    <a:pt x="184" y="1079"/>
                  </a:cubicBezTo>
                  <a:cubicBezTo>
                    <a:pt x="185" y="1080"/>
                    <a:pt x="186" y="1081"/>
                    <a:pt x="188" y="1082"/>
                  </a:cubicBezTo>
                  <a:cubicBezTo>
                    <a:pt x="193" y="1086"/>
                    <a:pt x="199" y="1090"/>
                    <a:pt x="204" y="1094"/>
                  </a:cubicBezTo>
                  <a:cubicBezTo>
                    <a:pt x="211" y="1098"/>
                    <a:pt x="218" y="1103"/>
                    <a:pt x="225" y="1107"/>
                  </a:cubicBezTo>
                  <a:cubicBezTo>
                    <a:pt x="231" y="1111"/>
                    <a:pt x="238" y="1115"/>
                    <a:pt x="245" y="1119"/>
                  </a:cubicBezTo>
                  <a:cubicBezTo>
                    <a:pt x="252" y="1123"/>
                    <a:pt x="259" y="1127"/>
                    <a:pt x="266" y="1131"/>
                  </a:cubicBezTo>
                  <a:cubicBezTo>
                    <a:pt x="268" y="1131"/>
                    <a:pt x="270" y="1132"/>
                    <a:pt x="271" y="1133"/>
                  </a:cubicBezTo>
                  <a:cubicBezTo>
                    <a:pt x="277" y="1136"/>
                    <a:pt x="282" y="1138"/>
                    <a:pt x="287" y="1141"/>
                  </a:cubicBezTo>
                  <a:cubicBezTo>
                    <a:pt x="294" y="1144"/>
                    <a:pt x="301" y="1148"/>
                    <a:pt x="308" y="1151"/>
                  </a:cubicBezTo>
                  <a:cubicBezTo>
                    <a:pt x="316" y="1154"/>
                    <a:pt x="323" y="1157"/>
                    <a:pt x="330" y="1160"/>
                  </a:cubicBezTo>
                  <a:cubicBezTo>
                    <a:pt x="337" y="1163"/>
                    <a:pt x="344" y="1166"/>
                    <a:pt x="351" y="1168"/>
                  </a:cubicBezTo>
                  <a:cubicBezTo>
                    <a:pt x="355" y="1170"/>
                    <a:pt x="358" y="1171"/>
                    <a:pt x="361" y="1172"/>
                  </a:cubicBezTo>
                  <a:cubicBezTo>
                    <a:pt x="365" y="1174"/>
                    <a:pt x="369" y="1175"/>
                    <a:pt x="373" y="1176"/>
                  </a:cubicBezTo>
                  <a:cubicBezTo>
                    <a:pt x="380" y="1179"/>
                    <a:pt x="387" y="1182"/>
                    <a:pt x="395" y="1184"/>
                  </a:cubicBezTo>
                  <a:cubicBezTo>
                    <a:pt x="402" y="1186"/>
                    <a:pt x="409" y="1189"/>
                    <a:pt x="417" y="1191"/>
                  </a:cubicBezTo>
                  <a:cubicBezTo>
                    <a:pt x="424" y="1193"/>
                    <a:pt x="431" y="1196"/>
                    <a:pt x="438" y="1198"/>
                  </a:cubicBezTo>
                  <a:cubicBezTo>
                    <a:pt x="443" y="1199"/>
                    <a:pt x="448" y="1201"/>
                    <a:pt x="453" y="1202"/>
                  </a:cubicBezTo>
                  <a:cubicBezTo>
                    <a:pt x="456" y="1203"/>
                    <a:pt x="458" y="1204"/>
                    <a:pt x="460" y="1204"/>
                  </a:cubicBezTo>
                  <a:cubicBezTo>
                    <a:pt x="468" y="1206"/>
                    <a:pt x="475" y="1208"/>
                    <a:pt x="483" y="1210"/>
                  </a:cubicBezTo>
                  <a:cubicBezTo>
                    <a:pt x="490" y="1212"/>
                    <a:pt x="497" y="1214"/>
                    <a:pt x="505" y="1216"/>
                  </a:cubicBezTo>
                  <a:cubicBezTo>
                    <a:pt x="512" y="1218"/>
                    <a:pt x="520" y="1220"/>
                    <a:pt x="527" y="1222"/>
                  </a:cubicBezTo>
                  <a:cubicBezTo>
                    <a:pt x="534" y="1223"/>
                    <a:pt x="542" y="1225"/>
                    <a:pt x="549" y="1227"/>
                  </a:cubicBezTo>
                  <a:cubicBezTo>
                    <a:pt x="557" y="1228"/>
                    <a:pt x="564" y="1230"/>
                    <a:pt x="572" y="1232"/>
                  </a:cubicBezTo>
                  <a:cubicBezTo>
                    <a:pt x="579" y="1233"/>
                    <a:pt x="587" y="1235"/>
                    <a:pt x="594" y="1236"/>
                  </a:cubicBezTo>
                  <a:cubicBezTo>
                    <a:pt x="602" y="1238"/>
                    <a:pt x="609" y="1239"/>
                    <a:pt x="617" y="1241"/>
                  </a:cubicBezTo>
                  <a:cubicBezTo>
                    <a:pt x="624" y="1242"/>
                    <a:pt x="632" y="1244"/>
                    <a:pt x="639" y="1245"/>
                  </a:cubicBezTo>
                  <a:cubicBezTo>
                    <a:pt x="640" y="1245"/>
                    <a:pt x="641" y="1246"/>
                    <a:pt x="642" y="1246"/>
                  </a:cubicBezTo>
                  <a:cubicBezTo>
                    <a:pt x="648" y="1247"/>
                    <a:pt x="655" y="1248"/>
                    <a:pt x="662" y="1249"/>
                  </a:cubicBezTo>
                  <a:cubicBezTo>
                    <a:pt x="669" y="1250"/>
                    <a:pt x="677" y="1252"/>
                    <a:pt x="684" y="1253"/>
                  </a:cubicBezTo>
                  <a:cubicBezTo>
                    <a:pt x="692" y="1254"/>
                    <a:pt x="699" y="1256"/>
                    <a:pt x="707" y="1257"/>
                  </a:cubicBezTo>
                  <a:cubicBezTo>
                    <a:pt x="714" y="1258"/>
                    <a:pt x="722" y="1259"/>
                    <a:pt x="730" y="1260"/>
                  </a:cubicBezTo>
                  <a:cubicBezTo>
                    <a:pt x="737" y="1262"/>
                    <a:pt x="745" y="1263"/>
                    <a:pt x="752" y="1264"/>
                  </a:cubicBezTo>
                  <a:cubicBezTo>
                    <a:pt x="760" y="1265"/>
                    <a:pt x="767" y="1266"/>
                    <a:pt x="775" y="1267"/>
                  </a:cubicBezTo>
                  <a:cubicBezTo>
                    <a:pt x="783" y="1268"/>
                    <a:pt x="790" y="1269"/>
                    <a:pt x="798" y="1270"/>
                  </a:cubicBezTo>
                  <a:cubicBezTo>
                    <a:pt x="805" y="1271"/>
                    <a:pt x="813" y="1272"/>
                    <a:pt x="821" y="1273"/>
                  </a:cubicBezTo>
                  <a:cubicBezTo>
                    <a:pt x="824" y="1274"/>
                    <a:pt x="828" y="1274"/>
                    <a:pt x="831" y="1275"/>
                  </a:cubicBezTo>
                  <a:cubicBezTo>
                    <a:pt x="835" y="1275"/>
                    <a:pt x="839" y="1276"/>
                    <a:pt x="843" y="1276"/>
                  </a:cubicBezTo>
                  <a:cubicBezTo>
                    <a:pt x="851" y="1277"/>
                    <a:pt x="859" y="1278"/>
                    <a:pt x="866" y="1279"/>
                  </a:cubicBezTo>
                  <a:cubicBezTo>
                    <a:pt x="874" y="1280"/>
                    <a:pt x="882" y="1281"/>
                    <a:pt x="889" y="1281"/>
                  </a:cubicBezTo>
                  <a:cubicBezTo>
                    <a:pt x="897" y="1282"/>
                    <a:pt x="905" y="1283"/>
                    <a:pt x="912" y="1284"/>
                  </a:cubicBezTo>
                  <a:cubicBezTo>
                    <a:pt x="920" y="1285"/>
                    <a:pt x="928" y="1285"/>
                    <a:pt x="935" y="1286"/>
                  </a:cubicBezTo>
                  <a:cubicBezTo>
                    <a:pt x="943" y="1287"/>
                    <a:pt x="951" y="1287"/>
                    <a:pt x="958" y="1288"/>
                  </a:cubicBezTo>
                  <a:cubicBezTo>
                    <a:pt x="966" y="1289"/>
                    <a:pt x="974" y="1290"/>
                    <a:pt x="981" y="1290"/>
                  </a:cubicBezTo>
                  <a:cubicBezTo>
                    <a:pt x="989" y="1291"/>
                    <a:pt x="997" y="1291"/>
                    <a:pt x="1004" y="1292"/>
                  </a:cubicBezTo>
                  <a:cubicBezTo>
                    <a:pt x="1010" y="1292"/>
                    <a:pt x="1015" y="1293"/>
                    <a:pt x="1020" y="1293"/>
                  </a:cubicBezTo>
                  <a:cubicBezTo>
                    <a:pt x="1023" y="1293"/>
                    <a:pt x="1025" y="1294"/>
                    <a:pt x="1027" y="1294"/>
                  </a:cubicBezTo>
                  <a:cubicBezTo>
                    <a:pt x="1035" y="1294"/>
                    <a:pt x="1043" y="1295"/>
                    <a:pt x="1051" y="1295"/>
                  </a:cubicBezTo>
                  <a:cubicBezTo>
                    <a:pt x="1058" y="1296"/>
                    <a:pt x="1066" y="1296"/>
                    <a:pt x="1074" y="1297"/>
                  </a:cubicBezTo>
                  <a:cubicBezTo>
                    <a:pt x="1082" y="1297"/>
                    <a:pt x="1089" y="1298"/>
                    <a:pt x="1097" y="1298"/>
                  </a:cubicBezTo>
                  <a:cubicBezTo>
                    <a:pt x="1105" y="1299"/>
                    <a:pt x="1112" y="1299"/>
                    <a:pt x="1120" y="1300"/>
                  </a:cubicBezTo>
                  <a:cubicBezTo>
                    <a:pt x="1128" y="1300"/>
                    <a:pt x="1136" y="1301"/>
                    <a:pt x="1143" y="1301"/>
                  </a:cubicBezTo>
                  <a:cubicBezTo>
                    <a:pt x="1151" y="1301"/>
                    <a:pt x="1159" y="1302"/>
                    <a:pt x="1167" y="1302"/>
                  </a:cubicBezTo>
                  <a:cubicBezTo>
                    <a:pt x="1174" y="1303"/>
                    <a:pt x="1182" y="1303"/>
                    <a:pt x="1190" y="1303"/>
                  </a:cubicBezTo>
                  <a:cubicBezTo>
                    <a:pt x="1198" y="1304"/>
                    <a:pt x="1205" y="1304"/>
                    <a:pt x="1213" y="1305"/>
                  </a:cubicBezTo>
                  <a:cubicBezTo>
                    <a:pt x="1221" y="1305"/>
                    <a:pt x="1229" y="1305"/>
                    <a:pt x="1236" y="1306"/>
                  </a:cubicBezTo>
                  <a:cubicBezTo>
                    <a:pt x="1244" y="1306"/>
                    <a:pt x="1252" y="1307"/>
                    <a:pt x="1260" y="1307"/>
                  </a:cubicBezTo>
                  <a:cubicBezTo>
                    <a:pt x="1267" y="1307"/>
                    <a:pt x="1275" y="1308"/>
                    <a:pt x="1283" y="1308"/>
                  </a:cubicBezTo>
                  <a:cubicBezTo>
                    <a:pt x="1291" y="1309"/>
                    <a:pt x="1298" y="1309"/>
                    <a:pt x="1306" y="1310"/>
                  </a:cubicBezTo>
                  <a:cubicBezTo>
                    <a:pt x="1314" y="1310"/>
                    <a:pt x="1322" y="1310"/>
                    <a:pt x="1329" y="1311"/>
                  </a:cubicBezTo>
                  <a:cubicBezTo>
                    <a:pt x="1337" y="1311"/>
                    <a:pt x="1345" y="1312"/>
                    <a:pt x="1353" y="1312"/>
                  </a:cubicBezTo>
                  <a:cubicBezTo>
                    <a:pt x="1360" y="1313"/>
                    <a:pt x="1368" y="1313"/>
                    <a:pt x="1376" y="1313"/>
                  </a:cubicBezTo>
                  <a:cubicBezTo>
                    <a:pt x="1381" y="1314"/>
                    <a:pt x="1386" y="1314"/>
                    <a:pt x="1391" y="1314"/>
                  </a:cubicBezTo>
                  <a:cubicBezTo>
                    <a:pt x="1394" y="1315"/>
                    <a:pt x="1396" y="1315"/>
                    <a:pt x="1399" y="1315"/>
                  </a:cubicBezTo>
                  <a:cubicBezTo>
                    <a:pt x="1407" y="1315"/>
                    <a:pt x="1414" y="1316"/>
                    <a:pt x="1422" y="1316"/>
                  </a:cubicBezTo>
                  <a:cubicBezTo>
                    <a:pt x="1430" y="1317"/>
                    <a:pt x="1437" y="1318"/>
                    <a:pt x="1445" y="1318"/>
                  </a:cubicBezTo>
                  <a:cubicBezTo>
                    <a:pt x="1453" y="1319"/>
                    <a:pt x="1461" y="1319"/>
                    <a:pt x="1468" y="1320"/>
                  </a:cubicBezTo>
                  <a:cubicBezTo>
                    <a:pt x="1476" y="1320"/>
                    <a:pt x="1484" y="1321"/>
                    <a:pt x="1491" y="1322"/>
                  </a:cubicBezTo>
                  <a:cubicBezTo>
                    <a:pt x="1499" y="1322"/>
                    <a:pt x="1507" y="1323"/>
                    <a:pt x="1514" y="1324"/>
                  </a:cubicBezTo>
                  <a:cubicBezTo>
                    <a:pt x="1522" y="1324"/>
                    <a:pt x="1530" y="1325"/>
                    <a:pt x="1538" y="1326"/>
                  </a:cubicBezTo>
                  <a:cubicBezTo>
                    <a:pt x="1545" y="1326"/>
                    <a:pt x="1553" y="1327"/>
                    <a:pt x="1561" y="1328"/>
                  </a:cubicBezTo>
                  <a:cubicBezTo>
                    <a:pt x="1564" y="1328"/>
                    <a:pt x="1568" y="1329"/>
                    <a:pt x="1572" y="1329"/>
                  </a:cubicBezTo>
                  <a:cubicBezTo>
                    <a:pt x="1576" y="1329"/>
                    <a:pt x="1580" y="1330"/>
                    <a:pt x="1583" y="1330"/>
                  </a:cubicBezTo>
                  <a:cubicBezTo>
                    <a:pt x="1591" y="1331"/>
                    <a:pt x="1599" y="1332"/>
                    <a:pt x="1606" y="1333"/>
                  </a:cubicBezTo>
                  <a:cubicBezTo>
                    <a:pt x="1614" y="1334"/>
                    <a:pt x="1622" y="1335"/>
                    <a:pt x="1629" y="1336"/>
                  </a:cubicBezTo>
                  <a:cubicBezTo>
                    <a:pt x="1637" y="1337"/>
                    <a:pt x="1644" y="1338"/>
                    <a:pt x="1652" y="1339"/>
                  </a:cubicBezTo>
                  <a:cubicBezTo>
                    <a:pt x="1655" y="1339"/>
                    <a:pt x="1658" y="1339"/>
                    <a:pt x="1660" y="1340"/>
                  </a:cubicBezTo>
                  <a:cubicBezTo>
                    <a:pt x="1665" y="1341"/>
                    <a:pt x="1670" y="1341"/>
                    <a:pt x="1675" y="1342"/>
                  </a:cubicBezTo>
                  <a:cubicBezTo>
                    <a:pt x="1682" y="1343"/>
                    <a:pt x="1690" y="1344"/>
                    <a:pt x="1697" y="1346"/>
                  </a:cubicBezTo>
                  <a:cubicBezTo>
                    <a:pt x="1705" y="1347"/>
                    <a:pt x="1713" y="1348"/>
                    <a:pt x="1720" y="1350"/>
                  </a:cubicBezTo>
                  <a:cubicBezTo>
                    <a:pt x="1728" y="1351"/>
                    <a:pt x="1735" y="1353"/>
                    <a:pt x="1742" y="1354"/>
                  </a:cubicBezTo>
                  <a:cubicBezTo>
                    <a:pt x="1744" y="1355"/>
                    <a:pt x="1746" y="1355"/>
                    <a:pt x="1747" y="1355"/>
                  </a:cubicBezTo>
                  <a:cubicBezTo>
                    <a:pt x="1753" y="1356"/>
                    <a:pt x="1759" y="1358"/>
                    <a:pt x="1765" y="1359"/>
                  </a:cubicBezTo>
                  <a:cubicBezTo>
                    <a:pt x="1772" y="1361"/>
                    <a:pt x="1780" y="1363"/>
                    <a:pt x="1787" y="1364"/>
                  </a:cubicBezTo>
                  <a:cubicBezTo>
                    <a:pt x="1795" y="1366"/>
                    <a:pt x="1802" y="1368"/>
                    <a:pt x="1809" y="1370"/>
                  </a:cubicBezTo>
                  <a:cubicBezTo>
                    <a:pt x="1817" y="1372"/>
                    <a:pt x="1824" y="1374"/>
                    <a:pt x="1831" y="1377"/>
                  </a:cubicBezTo>
                  <a:cubicBezTo>
                    <a:pt x="1839" y="1379"/>
                    <a:pt x="1846" y="1381"/>
                    <a:pt x="1853" y="1384"/>
                  </a:cubicBezTo>
                  <a:cubicBezTo>
                    <a:pt x="1860" y="1386"/>
                    <a:pt x="1868" y="1389"/>
                    <a:pt x="1875" y="1391"/>
                  </a:cubicBezTo>
                  <a:cubicBezTo>
                    <a:pt x="1882" y="1394"/>
                    <a:pt x="1889" y="1397"/>
                    <a:pt x="1896" y="1400"/>
                  </a:cubicBezTo>
                  <a:cubicBezTo>
                    <a:pt x="1902" y="1402"/>
                    <a:pt x="1907" y="1404"/>
                    <a:pt x="1912" y="1406"/>
                  </a:cubicBezTo>
                  <a:cubicBezTo>
                    <a:pt x="1914" y="1407"/>
                    <a:pt x="1916" y="1408"/>
                    <a:pt x="1918" y="1409"/>
                  </a:cubicBezTo>
                  <a:cubicBezTo>
                    <a:pt x="1922" y="1411"/>
                    <a:pt x="1927" y="1413"/>
                    <a:pt x="1931" y="1415"/>
                  </a:cubicBezTo>
                  <a:cubicBezTo>
                    <a:pt x="1939" y="1419"/>
                    <a:pt x="1939" y="1419"/>
                    <a:pt x="1939" y="1419"/>
                  </a:cubicBezTo>
                  <a:cubicBezTo>
                    <a:pt x="1940" y="1420"/>
                    <a:pt x="1940" y="1420"/>
                    <a:pt x="1940" y="1420"/>
                  </a:cubicBezTo>
                  <a:cubicBezTo>
                    <a:pt x="1950" y="1425"/>
                    <a:pt x="1950" y="1425"/>
                    <a:pt x="1950" y="1425"/>
                  </a:cubicBezTo>
                  <a:cubicBezTo>
                    <a:pt x="1954" y="1428"/>
                    <a:pt x="1954" y="1428"/>
                    <a:pt x="1954" y="1428"/>
                  </a:cubicBezTo>
                  <a:cubicBezTo>
                    <a:pt x="1957" y="1429"/>
                    <a:pt x="1957" y="1429"/>
                    <a:pt x="1957" y="1429"/>
                  </a:cubicBezTo>
                  <a:cubicBezTo>
                    <a:pt x="1959" y="1430"/>
                    <a:pt x="1959" y="1430"/>
                    <a:pt x="1959" y="1430"/>
                  </a:cubicBezTo>
                  <a:cubicBezTo>
                    <a:pt x="1960" y="1431"/>
                    <a:pt x="1960" y="1431"/>
                    <a:pt x="1960" y="1431"/>
                  </a:cubicBezTo>
                  <a:cubicBezTo>
                    <a:pt x="1968" y="1436"/>
                    <a:pt x="1968" y="1436"/>
                    <a:pt x="1968" y="1436"/>
                  </a:cubicBezTo>
                  <a:cubicBezTo>
                    <a:pt x="1972" y="1438"/>
                    <a:pt x="1976" y="1440"/>
                    <a:pt x="1980" y="1443"/>
                  </a:cubicBezTo>
                  <a:cubicBezTo>
                    <a:pt x="1982" y="1444"/>
                    <a:pt x="1984" y="1445"/>
                    <a:pt x="1986" y="1446"/>
                  </a:cubicBezTo>
                  <a:cubicBezTo>
                    <a:pt x="1991" y="1449"/>
                    <a:pt x="1991" y="1449"/>
                    <a:pt x="1991" y="1449"/>
                  </a:cubicBezTo>
                  <a:cubicBezTo>
                    <a:pt x="1995" y="1452"/>
                    <a:pt x="1995" y="1452"/>
                    <a:pt x="1995" y="1452"/>
                  </a:cubicBezTo>
                  <a:cubicBezTo>
                    <a:pt x="2001" y="1456"/>
                    <a:pt x="2001" y="1456"/>
                    <a:pt x="2001" y="1456"/>
                  </a:cubicBezTo>
                  <a:cubicBezTo>
                    <a:pt x="2004" y="1458"/>
                    <a:pt x="2004" y="1458"/>
                    <a:pt x="2004" y="1458"/>
                  </a:cubicBezTo>
                  <a:cubicBezTo>
                    <a:pt x="2010" y="1462"/>
                    <a:pt x="2015" y="1465"/>
                    <a:pt x="2021" y="1469"/>
                  </a:cubicBezTo>
                  <a:cubicBezTo>
                    <a:pt x="2021" y="1469"/>
                    <a:pt x="2021" y="1469"/>
                    <a:pt x="2021" y="1469"/>
                  </a:cubicBezTo>
                  <a:cubicBezTo>
                    <a:pt x="2027" y="1473"/>
                    <a:pt x="2033" y="1477"/>
                    <a:pt x="2038" y="1482"/>
                  </a:cubicBezTo>
                  <a:cubicBezTo>
                    <a:pt x="2039" y="1482"/>
                    <a:pt x="2040" y="1483"/>
                    <a:pt x="2041" y="1484"/>
                  </a:cubicBezTo>
                  <a:cubicBezTo>
                    <a:pt x="2046" y="1487"/>
                    <a:pt x="2050" y="1490"/>
                    <a:pt x="2055" y="1494"/>
                  </a:cubicBezTo>
                  <a:cubicBezTo>
                    <a:pt x="2057" y="1496"/>
                    <a:pt x="2059" y="1498"/>
                    <a:pt x="2061" y="1499"/>
                  </a:cubicBezTo>
                  <a:cubicBezTo>
                    <a:pt x="2064" y="1502"/>
                    <a:pt x="2067" y="1505"/>
                    <a:pt x="2071" y="1507"/>
                  </a:cubicBezTo>
                  <a:cubicBezTo>
                    <a:pt x="2073" y="1509"/>
                    <a:pt x="2076" y="1512"/>
                    <a:pt x="2078" y="1514"/>
                  </a:cubicBezTo>
                  <a:cubicBezTo>
                    <a:pt x="2081" y="1516"/>
                    <a:pt x="2081" y="1516"/>
                    <a:pt x="2081" y="1516"/>
                  </a:cubicBezTo>
                  <a:cubicBezTo>
                    <a:pt x="2086" y="1521"/>
                    <a:pt x="2086" y="1521"/>
                    <a:pt x="2086" y="1521"/>
                  </a:cubicBezTo>
                  <a:cubicBezTo>
                    <a:pt x="2090" y="1525"/>
                    <a:pt x="2095" y="1529"/>
                    <a:pt x="2099" y="1533"/>
                  </a:cubicBezTo>
                  <a:cubicBezTo>
                    <a:pt x="2103" y="1537"/>
                    <a:pt x="2107" y="1542"/>
                    <a:pt x="2111" y="1546"/>
                  </a:cubicBezTo>
                  <a:cubicBezTo>
                    <a:pt x="2116" y="1551"/>
                    <a:pt x="2116" y="1551"/>
                    <a:pt x="2116" y="1551"/>
                  </a:cubicBezTo>
                  <a:cubicBezTo>
                    <a:pt x="2118" y="1553"/>
                    <a:pt x="2118" y="1553"/>
                    <a:pt x="2118" y="1553"/>
                  </a:cubicBezTo>
                  <a:cubicBezTo>
                    <a:pt x="2120" y="1556"/>
                    <a:pt x="2122" y="1558"/>
                    <a:pt x="2124" y="1561"/>
                  </a:cubicBezTo>
                  <a:cubicBezTo>
                    <a:pt x="2128" y="1565"/>
                    <a:pt x="2131" y="1569"/>
                    <a:pt x="2135" y="1573"/>
                  </a:cubicBezTo>
                  <a:cubicBezTo>
                    <a:pt x="2135" y="1574"/>
                    <a:pt x="2136" y="1575"/>
                    <a:pt x="2137" y="1577"/>
                  </a:cubicBezTo>
                  <a:cubicBezTo>
                    <a:pt x="2141" y="1582"/>
                    <a:pt x="2145" y="1587"/>
                    <a:pt x="2149" y="1593"/>
                  </a:cubicBezTo>
                  <a:cubicBezTo>
                    <a:pt x="2152" y="1598"/>
                    <a:pt x="2152" y="1598"/>
                    <a:pt x="2152" y="1598"/>
                  </a:cubicBezTo>
                  <a:cubicBezTo>
                    <a:pt x="2155" y="1601"/>
                    <a:pt x="2155" y="1601"/>
                    <a:pt x="2155" y="1601"/>
                  </a:cubicBezTo>
                  <a:cubicBezTo>
                    <a:pt x="2156" y="1604"/>
                    <a:pt x="2158" y="1607"/>
                    <a:pt x="2160" y="1610"/>
                  </a:cubicBezTo>
                  <a:cubicBezTo>
                    <a:pt x="2163" y="1615"/>
                    <a:pt x="2166" y="1620"/>
                    <a:pt x="2169" y="1626"/>
                  </a:cubicBezTo>
                  <a:cubicBezTo>
                    <a:pt x="2170" y="1626"/>
                    <a:pt x="2170" y="1626"/>
                    <a:pt x="2170" y="1627"/>
                  </a:cubicBezTo>
                  <a:cubicBezTo>
                    <a:pt x="2173" y="1633"/>
                    <a:pt x="2176" y="1639"/>
                    <a:pt x="2179" y="1644"/>
                  </a:cubicBezTo>
                  <a:cubicBezTo>
                    <a:pt x="2181" y="1649"/>
                    <a:pt x="2183" y="1654"/>
                    <a:pt x="2185" y="1658"/>
                  </a:cubicBezTo>
                  <a:cubicBezTo>
                    <a:pt x="2186" y="1660"/>
                    <a:pt x="2186" y="1661"/>
                    <a:pt x="2187" y="1662"/>
                  </a:cubicBezTo>
                  <a:cubicBezTo>
                    <a:pt x="2189" y="1669"/>
                    <a:pt x="2192" y="1675"/>
                    <a:pt x="2194" y="1681"/>
                  </a:cubicBezTo>
                  <a:cubicBezTo>
                    <a:pt x="2196" y="1686"/>
                    <a:pt x="2198" y="1692"/>
                    <a:pt x="2199" y="1698"/>
                  </a:cubicBezTo>
                  <a:cubicBezTo>
                    <a:pt x="2200" y="1698"/>
                    <a:pt x="2200" y="1699"/>
                    <a:pt x="2200" y="1699"/>
                  </a:cubicBezTo>
                  <a:cubicBezTo>
                    <a:pt x="2202" y="1706"/>
                    <a:pt x="2203" y="1712"/>
                    <a:pt x="2205" y="1718"/>
                  </a:cubicBezTo>
                  <a:cubicBezTo>
                    <a:pt x="2205" y="1722"/>
                    <a:pt x="2206" y="1725"/>
                    <a:pt x="2207" y="1728"/>
                  </a:cubicBezTo>
                  <a:cubicBezTo>
                    <a:pt x="2208" y="1737"/>
                    <a:pt x="2208" y="1737"/>
                    <a:pt x="2208" y="1737"/>
                  </a:cubicBezTo>
                  <a:cubicBezTo>
                    <a:pt x="2210" y="1747"/>
                    <a:pt x="2210" y="1747"/>
                    <a:pt x="2210" y="1747"/>
                  </a:cubicBezTo>
                  <a:cubicBezTo>
                    <a:pt x="2211" y="1750"/>
                    <a:pt x="2211" y="1750"/>
                    <a:pt x="2211" y="1750"/>
                  </a:cubicBezTo>
                  <a:cubicBezTo>
                    <a:pt x="2211" y="1752"/>
                    <a:pt x="2211" y="1752"/>
                    <a:pt x="2211" y="1752"/>
                  </a:cubicBezTo>
                  <a:cubicBezTo>
                    <a:pt x="2211" y="1757"/>
                    <a:pt x="2211" y="1757"/>
                    <a:pt x="2211" y="1757"/>
                  </a:cubicBezTo>
                  <a:cubicBezTo>
                    <a:pt x="2212" y="1763"/>
                    <a:pt x="2212" y="1769"/>
                    <a:pt x="2213" y="1776"/>
                  </a:cubicBezTo>
                  <a:cubicBezTo>
                    <a:pt x="2214" y="1782"/>
                    <a:pt x="2213" y="1789"/>
                    <a:pt x="2214" y="1795"/>
                  </a:cubicBezTo>
                  <a:cubicBezTo>
                    <a:pt x="2214" y="1805"/>
                    <a:pt x="2214" y="1805"/>
                    <a:pt x="2214" y="1805"/>
                  </a:cubicBezTo>
                  <a:cubicBezTo>
                    <a:pt x="2214" y="1814"/>
                    <a:pt x="2214" y="1814"/>
                    <a:pt x="2214" y="1814"/>
                  </a:cubicBezTo>
                  <a:cubicBezTo>
                    <a:pt x="2213" y="1820"/>
                    <a:pt x="2213" y="1827"/>
                    <a:pt x="2213" y="1833"/>
                  </a:cubicBezTo>
                  <a:cubicBezTo>
                    <a:pt x="2212" y="1837"/>
                    <a:pt x="2212" y="1842"/>
                    <a:pt x="2211" y="1846"/>
                  </a:cubicBezTo>
                  <a:cubicBezTo>
                    <a:pt x="2211" y="1854"/>
                    <a:pt x="2210" y="1863"/>
                    <a:pt x="2208" y="1871"/>
                  </a:cubicBezTo>
                  <a:cubicBezTo>
                    <a:pt x="2207" y="1877"/>
                    <a:pt x="2207" y="1883"/>
                    <a:pt x="2205" y="1889"/>
                  </a:cubicBezTo>
                  <a:cubicBezTo>
                    <a:pt x="2204" y="1896"/>
                    <a:pt x="2203" y="1902"/>
                    <a:pt x="2201" y="1908"/>
                  </a:cubicBezTo>
                  <a:cubicBezTo>
                    <a:pt x="2200" y="1914"/>
                    <a:pt x="2198" y="1920"/>
                    <a:pt x="2197" y="1926"/>
                  </a:cubicBezTo>
                  <a:cubicBezTo>
                    <a:pt x="2195" y="1932"/>
                    <a:pt x="2194" y="1938"/>
                    <a:pt x="2192" y="1944"/>
                  </a:cubicBezTo>
                  <a:cubicBezTo>
                    <a:pt x="2190" y="1950"/>
                    <a:pt x="2188" y="1956"/>
                    <a:pt x="2186" y="1962"/>
                  </a:cubicBezTo>
                  <a:cubicBezTo>
                    <a:pt x="2184" y="1971"/>
                    <a:pt x="2184" y="1971"/>
                    <a:pt x="2184" y="1971"/>
                  </a:cubicBezTo>
                  <a:cubicBezTo>
                    <a:pt x="2181" y="1979"/>
                    <a:pt x="2181" y="1979"/>
                    <a:pt x="2181" y="1979"/>
                  </a:cubicBezTo>
                  <a:cubicBezTo>
                    <a:pt x="2180" y="1981"/>
                    <a:pt x="2180" y="1982"/>
                    <a:pt x="2179" y="1984"/>
                  </a:cubicBezTo>
                  <a:cubicBezTo>
                    <a:pt x="2177" y="1988"/>
                    <a:pt x="2176" y="1992"/>
                    <a:pt x="2174" y="1997"/>
                  </a:cubicBezTo>
                  <a:cubicBezTo>
                    <a:pt x="2174" y="1998"/>
                    <a:pt x="2174" y="1998"/>
                    <a:pt x="2173" y="1999"/>
                  </a:cubicBezTo>
                  <a:cubicBezTo>
                    <a:pt x="2197" y="1999"/>
                    <a:pt x="2197" y="1999"/>
                    <a:pt x="2197" y="1999"/>
                  </a:cubicBezTo>
                  <a:cubicBezTo>
                    <a:pt x="2198" y="1996"/>
                    <a:pt x="2199" y="1992"/>
                    <a:pt x="2200" y="1989"/>
                  </a:cubicBezTo>
                  <a:lnTo>
                    <a:pt x="2204" y="19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1" name="Freeform 8"/>
            <p:cNvSpPr>
              <a:spLocks/>
            </p:cNvSpPr>
            <p:nvPr/>
          </p:nvSpPr>
          <p:spPr bwMode="auto">
            <a:xfrm>
              <a:off x="968375" y="3740150"/>
              <a:ext cx="146050" cy="474663"/>
            </a:xfrm>
            <a:custGeom>
              <a:avLst/>
              <a:gdLst>
                <a:gd name="T0" fmla="*/ 50 w 57"/>
                <a:gd name="T1" fmla="*/ 170 h 187"/>
                <a:gd name="T2" fmla="*/ 43 w 57"/>
                <a:gd name="T3" fmla="*/ 160 h 187"/>
                <a:gd name="T4" fmla="*/ 37 w 57"/>
                <a:gd name="T5" fmla="*/ 149 h 187"/>
                <a:gd name="T6" fmla="*/ 36 w 57"/>
                <a:gd name="T7" fmla="*/ 147 h 187"/>
                <a:gd name="T8" fmla="*/ 36 w 57"/>
                <a:gd name="T9" fmla="*/ 146 h 187"/>
                <a:gd name="T10" fmla="*/ 31 w 57"/>
                <a:gd name="T11" fmla="*/ 136 h 187"/>
                <a:gd name="T12" fmla="*/ 27 w 57"/>
                <a:gd name="T13" fmla="*/ 125 h 187"/>
                <a:gd name="T14" fmla="*/ 26 w 57"/>
                <a:gd name="T15" fmla="*/ 121 h 187"/>
                <a:gd name="T16" fmla="*/ 23 w 57"/>
                <a:gd name="T17" fmla="*/ 113 h 187"/>
                <a:gd name="T18" fmla="*/ 22 w 57"/>
                <a:gd name="T19" fmla="*/ 108 h 187"/>
                <a:gd name="T20" fmla="*/ 21 w 57"/>
                <a:gd name="T21" fmla="*/ 102 h 187"/>
                <a:gd name="T22" fmla="*/ 21 w 57"/>
                <a:gd name="T23" fmla="*/ 101 h 187"/>
                <a:gd name="T24" fmla="*/ 18 w 57"/>
                <a:gd name="T25" fmla="*/ 78 h 187"/>
                <a:gd name="T26" fmla="*/ 18 w 57"/>
                <a:gd name="T27" fmla="*/ 51 h 187"/>
                <a:gd name="T28" fmla="*/ 33 w 57"/>
                <a:gd name="T29" fmla="*/ 0 h 187"/>
                <a:gd name="T30" fmla="*/ 27 w 57"/>
                <a:gd name="T31" fmla="*/ 0 h 187"/>
                <a:gd name="T32" fmla="*/ 25 w 57"/>
                <a:gd name="T33" fmla="*/ 0 h 187"/>
                <a:gd name="T34" fmla="*/ 18 w 57"/>
                <a:gd name="T35" fmla="*/ 0 h 187"/>
                <a:gd name="T36" fmla="*/ 14 w 57"/>
                <a:gd name="T37" fmla="*/ 0 h 187"/>
                <a:gd name="T38" fmla="*/ 2 w 57"/>
                <a:gd name="T39" fmla="*/ 49 h 187"/>
                <a:gd name="T40" fmla="*/ 1 w 57"/>
                <a:gd name="T41" fmla="*/ 73 h 187"/>
                <a:gd name="T42" fmla="*/ 3 w 57"/>
                <a:gd name="T43" fmla="*/ 95 h 187"/>
                <a:gd name="T44" fmla="*/ 3 w 57"/>
                <a:gd name="T45" fmla="*/ 100 h 187"/>
                <a:gd name="T46" fmla="*/ 4 w 57"/>
                <a:gd name="T47" fmla="*/ 104 h 187"/>
                <a:gd name="T48" fmla="*/ 7 w 57"/>
                <a:gd name="T49" fmla="*/ 117 h 187"/>
                <a:gd name="T50" fmla="*/ 8 w 57"/>
                <a:gd name="T51" fmla="*/ 119 h 187"/>
                <a:gd name="T52" fmla="*/ 11 w 57"/>
                <a:gd name="T53" fmla="*/ 130 h 187"/>
                <a:gd name="T54" fmla="*/ 13 w 57"/>
                <a:gd name="T55" fmla="*/ 136 h 187"/>
                <a:gd name="T56" fmla="*/ 15 w 57"/>
                <a:gd name="T57" fmla="*/ 140 h 187"/>
                <a:gd name="T58" fmla="*/ 19 w 57"/>
                <a:gd name="T59" fmla="*/ 150 h 187"/>
                <a:gd name="T60" fmla="*/ 21 w 57"/>
                <a:gd name="T61" fmla="*/ 154 h 187"/>
                <a:gd name="T62" fmla="*/ 25 w 57"/>
                <a:gd name="T63" fmla="*/ 162 h 187"/>
                <a:gd name="T64" fmla="*/ 30 w 57"/>
                <a:gd name="T65" fmla="*/ 171 h 187"/>
                <a:gd name="T66" fmla="*/ 31 w 57"/>
                <a:gd name="T67" fmla="*/ 172 h 187"/>
                <a:gd name="T68" fmla="*/ 38 w 57"/>
                <a:gd name="T69" fmla="*/ 182 h 187"/>
                <a:gd name="T70" fmla="*/ 42 w 57"/>
                <a:gd name="T71" fmla="*/ 187 h 187"/>
                <a:gd name="T72" fmla="*/ 47 w 57"/>
                <a:gd name="T73" fmla="*/ 184 h 187"/>
                <a:gd name="T74" fmla="*/ 50 w 57"/>
                <a:gd name="T75" fmla="*/ 182 h 187"/>
                <a:gd name="T76" fmla="*/ 57 w 57"/>
                <a:gd name="T77" fmla="*/ 179 h 187"/>
                <a:gd name="T78" fmla="*/ 52 w 57"/>
                <a:gd name="T79" fmla="*/ 173 h 187"/>
                <a:gd name="T80" fmla="*/ 50 w 57"/>
                <a:gd name="T81" fmla="*/ 17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" h="187">
                  <a:moveTo>
                    <a:pt x="50" y="170"/>
                  </a:moveTo>
                  <a:cubicBezTo>
                    <a:pt x="48" y="167"/>
                    <a:pt x="45" y="163"/>
                    <a:pt x="43" y="160"/>
                  </a:cubicBezTo>
                  <a:cubicBezTo>
                    <a:pt x="41" y="156"/>
                    <a:pt x="39" y="153"/>
                    <a:pt x="37" y="149"/>
                  </a:cubicBezTo>
                  <a:cubicBezTo>
                    <a:pt x="37" y="148"/>
                    <a:pt x="36" y="148"/>
                    <a:pt x="36" y="147"/>
                  </a:cubicBezTo>
                  <a:cubicBezTo>
                    <a:pt x="36" y="147"/>
                    <a:pt x="36" y="147"/>
                    <a:pt x="36" y="146"/>
                  </a:cubicBezTo>
                  <a:cubicBezTo>
                    <a:pt x="34" y="143"/>
                    <a:pt x="32" y="140"/>
                    <a:pt x="31" y="136"/>
                  </a:cubicBezTo>
                  <a:cubicBezTo>
                    <a:pt x="29" y="132"/>
                    <a:pt x="28" y="129"/>
                    <a:pt x="27" y="125"/>
                  </a:cubicBezTo>
                  <a:cubicBezTo>
                    <a:pt x="26" y="123"/>
                    <a:pt x="26" y="122"/>
                    <a:pt x="26" y="121"/>
                  </a:cubicBezTo>
                  <a:cubicBezTo>
                    <a:pt x="25" y="118"/>
                    <a:pt x="24" y="116"/>
                    <a:pt x="23" y="113"/>
                  </a:cubicBezTo>
                  <a:cubicBezTo>
                    <a:pt x="23" y="111"/>
                    <a:pt x="23" y="110"/>
                    <a:pt x="22" y="108"/>
                  </a:cubicBezTo>
                  <a:cubicBezTo>
                    <a:pt x="22" y="106"/>
                    <a:pt x="21" y="104"/>
                    <a:pt x="21" y="102"/>
                  </a:cubicBezTo>
                  <a:cubicBezTo>
                    <a:pt x="21" y="102"/>
                    <a:pt x="21" y="101"/>
                    <a:pt x="21" y="101"/>
                  </a:cubicBezTo>
                  <a:cubicBezTo>
                    <a:pt x="19" y="93"/>
                    <a:pt x="18" y="85"/>
                    <a:pt x="18" y="78"/>
                  </a:cubicBezTo>
                  <a:cubicBezTo>
                    <a:pt x="17" y="69"/>
                    <a:pt x="17" y="60"/>
                    <a:pt x="18" y="51"/>
                  </a:cubicBezTo>
                  <a:cubicBezTo>
                    <a:pt x="20" y="34"/>
                    <a:pt x="25" y="17"/>
                    <a:pt x="3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8" y="16"/>
                    <a:pt x="3" y="32"/>
                    <a:pt x="2" y="49"/>
                  </a:cubicBezTo>
                  <a:cubicBezTo>
                    <a:pt x="1" y="57"/>
                    <a:pt x="0" y="65"/>
                    <a:pt x="1" y="73"/>
                  </a:cubicBezTo>
                  <a:cubicBezTo>
                    <a:pt x="1" y="80"/>
                    <a:pt x="2" y="88"/>
                    <a:pt x="3" y="95"/>
                  </a:cubicBezTo>
                  <a:cubicBezTo>
                    <a:pt x="3" y="97"/>
                    <a:pt x="3" y="98"/>
                    <a:pt x="3" y="100"/>
                  </a:cubicBezTo>
                  <a:cubicBezTo>
                    <a:pt x="4" y="101"/>
                    <a:pt x="4" y="103"/>
                    <a:pt x="4" y="104"/>
                  </a:cubicBezTo>
                  <a:cubicBezTo>
                    <a:pt x="5" y="108"/>
                    <a:pt x="6" y="113"/>
                    <a:pt x="7" y="117"/>
                  </a:cubicBezTo>
                  <a:cubicBezTo>
                    <a:pt x="7" y="118"/>
                    <a:pt x="8" y="118"/>
                    <a:pt x="8" y="119"/>
                  </a:cubicBezTo>
                  <a:cubicBezTo>
                    <a:pt x="9" y="123"/>
                    <a:pt x="10" y="127"/>
                    <a:pt x="11" y="130"/>
                  </a:cubicBezTo>
                  <a:cubicBezTo>
                    <a:pt x="12" y="132"/>
                    <a:pt x="12" y="134"/>
                    <a:pt x="13" y="136"/>
                  </a:cubicBezTo>
                  <a:cubicBezTo>
                    <a:pt x="14" y="137"/>
                    <a:pt x="14" y="139"/>
                    <a:pt x="15" y="140"/>
                  </a:cubicBezTo>
                  <a:cubicBezTo>
                    <a:pt x="16" y="143"/>
                    <a:pt x="17" y="147"/>
                    <a:pt x="19" y="150"/>
                  </a:cubicBezTo>
                  <a:cubicBezTo>
                    <a:pt x="19" y="151"/>
                    <a:pt x="20" y="152"/>
                    <a:pt x="21" y="154"/>
                  </a:cubicBezTo>
                  <a:cubicBezTo>
                    <a:pt x="22" y="156"/>
                    <a:pt x="23" y="159"/>
                    <a:pt x="25" y="162"/>
                  </a:cubicBezTo>
                  <a:cubicBezTo>
                    <a:pt x="27" y="165"/>
                    <a:pt x="28" y="168"/>
                    <a:pt x="30" y="171"/>
                  </a:cubicBezTo>
                  <a:cubicBezTo>
                    <a:pt x="31" y="171"/>
                    <a:pt x="31" y="172"/>
                    <a:pt x="31" y="172"/>
                  </a:cubicBezTo>
                  <a:cubicBezTo>
                    <a:pt x="34" y="176"/>
                    <a:pt x="36" y="179"/>
                    <a:pt x="38" y="182"/>
                  </a:cubicBezTo>
                  <a:cubicBezTo>
                    <a:pt x="39" y="183"/>
                    <a:pt x="41" y="185"/>
                    <a:pt x="42" y="187"/>
                  </a:cubicBezTo>
                  <a:cubicBezTo>
                    <a:pt x="44" y="186"/>
                    <a:pt x="45" y="185"/>
                    <a:pt x="47" y="184"/>
                  </a:cubicBezTo>
                  <a:cubicBezTo>
                    <a:pt x="48" y="184"/>
                    <a:pt x="49" y="183"/>
                    <a:pt x="50" y="182"/>
                  </a:cubicBezTo>
                  <a:cubicBezTo>
                    <a:pt x="52" y="181"/>
                    <a:pt x="55" y="180"/>
                    <a:pt x="57" y="179"/>
                  </a:cubicBezTo>
                  <a:cubicBezTo>
                    <a:pt x="55" y="177"/>
                    <a:pt x="54" y="175"/>
                    <a:pt x="52" y="173"/>
                  </a:cubicBezTo>
                  <a:cubicBezTo>
                    <a:pt x="52" y="172"/>
                    <a:pt x="51" y="171"/>
                    <a:pt x="50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2" name="Freeform 9"/>
            <p:cNvSpPr>
              <a:spLocks/>
            </p:cNvSpPr>
            <p:nvPr/>
          </p:nvSpPr>
          <p:spPr bwMode="auto">
            <a:xfrm>
              <a:off x="1119188" y="3303588"/>
              <a:ext cx="454025" cy="268288"/>
            </a:xfrm>
            <a:custGeom>
              <a:avLst/>
              <a:gdLst>
                <a:gd name="T0" fmla="*/ 74 w 179"/>
                <a:gd name="T1" fmla="*/ 66 h 106"/>
                <a:gd name="T2" fmla="*/ 83 w 179"/>
                <a:gd name="T3" fmla="*/ 60 h 106"/>
                <a:gd name="T4" fmla="*/ 85 w 179"/>
                <a:gd name="T5" fmla="*/ 59 h 106"/>
                <a:gd name="T6" fmla="*/ 95 w 179"/>
                <a:gd name="T7" fmla="*/ 53 h 106"/>
                <a:gd name="T8" fmla="*/ 106 w 179"/>
                <a:gd name="T9" fmla="*/ 47 h 106"/>
                <a:gd name="T10" fmla="*/ 110 w 179"/>
                <a:gd name="T11" fmla="*/ 45 h 106"/>
                <a:gd name="T12" fmla="*/ 116 w 179"/>
                <a:gd name="T13" fmla="*/ 41 h 106"/>
                <a:gd name="T14" fmla="*/ 127 w 179"/>
                <a:gd name="T15" fmla="*/ 35 h 106"/>
                <a:gd name="T16" fmla="*/ 135 w 179"/>
                <a:gd name="T17" fmla="*/ 31 h 106"/>
                <a:gd name="T18" fmla="*/ 137 w 179"/>
                <a:gd name="T19" fmla="*/ 30 h 106"/>
                <a:gd name="T20" fmla="*/ 147 w 179"/>
                <a:gd name="T21" fmla="*/ 25 h 106"/>
                <a:gd name="T22" fmla="*/ 153 w 179"/>
                <a:gd name="T23" fmla="*/ 22 h 106"/>
                <a:gd name="T24" fmla="*/ 157 w 179"/>
                <a:gd name="T25" fmla="*/ 20 h 106"/>
                <a:gd name="T26" fmla="*/ 161 w 179"/>
                <a:gd name="T27" fmla="*/ 18 h 106"/>
                <a:gd name="T28" fmla="*/ 168 w 179"/>
                <a:gd name="T29" fmla="*/ 15 h 106"/>
                <a:gd name="T30" fmla="*/ 178 w 179"/>
                <a:gd name="T31" fmla="*/ 11 h 106"/>
                <a:gd name="T32" fmla="*/ 179 w 179"/>
                <a:gd name="T33" fmla="*/ 10 h 106"/>
                <a:gd name="T34" fmla="*/ 178 w 179"/>
                <a:gd name="T35" fmla="*/ 9 h 106"/>
                <a:gd name="T36" fmla="*/ 173 w 179"/>
                <a:gd name="T37" fmla="*/ 5 h 106"/>
                <a:gd name="T38" fmla="*/ 170 w 179"/>
                <a:gd name="T39" fmla="*/ 4 h 106"/>
                <a:gd name="T40" fmla="*/ 165 w 179"/>
                <a:gd name="T41" fmla="*/ 1 h 106"/>
                <a:gd name="T42" fmla="*/ 162 w 179"/>
                <a:gd name="T43" fmla="*/ 0 h 106"/>
                <a:gd name="T44" fmla="*/ 161 w 179"/>
                <a:gd name="T45" fmla="*/ 0 h 106"/>
                <a:gd name="T46" fmla="*/ 152 w 179"/>
                <a:gd name="T47" fmla="*/ 3 h 106"/>
                <a:gd name="T48" fmla="*/ 146 w 179"/>
                <a:gd name="T49" fmla="*/ 6 h 106"/>
                <a:gd name="T50" fmla="*/ 142 w 179"/>
                <a:gd name="T51" fmla="*/ 8 h 106"/>
                <a:gd name="T52" fmla="*/ 141 w 179"/>
                <a:gd name="T53" fmla="*/ 9 h 106"/>
                <a:gd name="T54" fmla="*/ 132 w 179"/>
                <a:gd name="T55" fmla="*/ 13 h 106"/>
                <a:gd name="T56" fmla="*/ 122 w 179"/>
                <a:gd name="T57" fmla="*/ 18 h 106"/>
                <a:gd name="T58" fmla="*/ 115 w 179"/>
                <a:gd name="T59" fmla="*/ 22 h 106"/>
                <a:gd name="T60" fmla="*/ 111 w 179"/>
                <a:gd name="T61" fmla="*/ 24 h 106"/>
                <a:gd name="T62" fmla="*/ 101 w 179"/>
                <a:gd name="T63" fmla="*/ 30 h 106"/>
                <a:gd name="T64" fmla="*/ 90 w 179"/>
                <a:gd name="T65" fmla="*/ 36 h 106"/>
                <a:gd name="T66" fmla="*/ 89 w 179"/>
                <a:gd name="T67" fmla="*/ 37 h 106"/>
                <a:gd name="T68" fmla="*/ 80 w 179"/>
                <a:gd name="T69" fmla="*/ 42 h 106"/>
                <a:gd name="T70" fmla="*/ 69 w 179"/>
                <a:gd name="T71" fmla="*/ 49 h 106"/>
                <a:gd name="T72" fmla="*/ 62 w 179"/>
                <a:gd name="T73" fmla="*/ 54 h 106"/>
                <a:gd name="T74" fmla="*/ 59 w 179"/>
                <a:gd name="T75" fmla="*/ 56 h 106"/>
                <a:gd name="T76" fmla="*/ 48 w 179"/>
                <a:gd name="T77" fmla="*/ 64 h 106"/>
                <a:gd name="T78" fmla="*/ 37 w 179"/>
                <a:gd name="T79" fmla="*/ 72 h 106"/>
                <a:gd name="T80" fmla="*/ 36 w 179"/>
                <a:gd name="T81" fmla="*/ 72 h 106"/>
                <a:gd name="T82" fmla="*/ 35 w 179"/>
                <a:gd name="T83" fmla="*/ 74 h 106"/>
                <a:gd name="T84" fmla="*/ 25 w 179"/>
                <a:gd name="T85" fmla="*/ 82 h 106"/>
                <a:gd name="T86" fmla="*/ 14 w 179"/>
                <a:gd name="T87" fmla="*/ 92 h 106"/>
                <a:gd name="T88" fmla="*/ 6 w 179"/>
                <a:gd name="T89" fmla="*/ 99 h 106"/>
                <a:gd name="T90" fmla="*/ 2 w 179"/>
                <a:gd name="T91" fmla="*/ 103 h 106"/>
                <a:gd name="T92" fmla="*/ 0 w 179"/>
                <a:gd name="T93" fmla="*/ 105 h 106"/>
                <a:gd name="T94" fmla="*/ 2 w 179"/>
                <a:gd name="T95" fmla="*/ 105 h 106"/>
                <a:gd name="T96" fmla="*/ 5 w 179"/>
                <a:gd name="T97" fmla="*/ 106 h 106"/>
                <a:gd name="T98" fmla="*/ 8 w 179"/>
                <a:gd name="T99" fmla="*/ 106 h 106"/>
                <a:gd name="T100" fmla="*/ 11 w 179"/>
                <a:gd name="T101" fmla="*/ 105 h 106"/>
                <a:gd name="T102" fmla="*/ 20 w 179"/>
                <a:gd name="T103" fmla="*/ 103 h 106"/>
                <a:gd name="T104" fmla="*/ 22 w 179"/>
                <a:gd name="T105" fmla="*/ 103 h 106"/>
                <a:gd name="T106" fmla="*/ 28 w 179"/>
                <a:gd name="T107" fmla="*/ 102 h 106"/>
                <a:gd name="T108" fmla="*/ 28 w 179"/>
                <a:gd name="T109" fmla="*/ 102 h 106"/>
                <a:gd name="T110" fmla="*/ 30 w 179"/>
                <a:gd name="T111" fmla="*/ 100 h 106"/>
                <a:gd name="T112" fmla="*/ 41 w 179"/>
                <a:gd name="T113" fmla="*/ 90 h 106"/>
                <a:gd name="T114" fmla="*/ 47 w 179"/>
                <a:gd name="T115" fmla="*/ 86 h 106"/>
                <a:gd name="T116" fmla="*/ 53 w 179"/>
                <a:gd name="T117" fmla="*/ 82 h 106"/>
                <a:gd name="T118" fmla="*/ 56 w 179"/>
                <a:gd name="T119" fmla="*/ 79 h 106"/>
                <a:gd name="T120" fmla="*/ 63 w 179"/>
                <a:gd name="T121" fmla="*/ 74 h 106"/>
                <a:gd name="T122" fmla="*/ 74 w 179"/>
                <a:gd name="T123" fmla="*/ 6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" h="106">
                  <a:moveTo>
                    <a:pt x="74" y="66"/>
                  </a:moveTo>
                  <a:cubicBezTo>
                    <a:pt x="77" y="64"/>
                    <a:pt x="80" y="62"/>
                    <a:pt x="83" y="60"/>
                  </a:cubicBezTo>
                  <a:cubicBezTo>
                    <a:pt x="84" y="60"/>
                    <a:pt x="84" y="60"/>
                    <a:pt x="85" y="59"/>
                  </a:cubicBezTo>
                  <a:cubicBezTo>
                    <a:pt x="88" y="57"/>
                    <a:pt x="92" y="55"/>
                    <a:pt x="95" y="53"/>
                  </a:cubicBezTo>
                  <a:cubicBezTo>
                    <a:pt x="99" y="51"/>
                    <a:pt x="102" y="49"/>
                    <a:pt x="106" y="47"/>
                  </a:cubicBezTo>
                  <a:cubicBezTo>
                    <a:pt x="107" y="46"/>
                    <a:pt x="108" y="45"/>
                    <a:pt x="110" y="45"/>
                  </a:cubicBezTo>
                  <a:cubicBezTo>
                    <a:pt x="112" y="43"/>
                    <a:pt x="114" y="42"/>
                    <a:pt x="116" y="41"/>
                  </a:cubicBezTo>
                  <a:cubicBezTo>
                    <a:pt x="120" y="39"/>
                    <a:pt x="123" y="37"/>
                    <a:pt x="127" y="35"/>
                  </a:cubicBezTo>
                  <a:cubicBezTo>
                    <a:pt x="130" y="34"/>
                    <a:pt x="133" y="32"/>
                    <a:pt x="135" y="31"/>
                  </a:cubicBezTo>
                  <a:cubicBezTo>
                    <a:pt x="136" y="31"/>
                    <a:pt x="136" y="30"/>
                    <a:pt x="137" y="30"/>
                  </a:cubicBezTo>
                  <a:cubicBezTo>
                    <a:pt x="140" y="28"/>
                    <a:pt x="144" y="27"/>
                    <a:pt x="147" y="25"/>
                  </a:cubicBezTo>
                  <a:cubicBezTo>
                    <a:pt x="149" y="24"/>
                    <a:pt x="151" y="23"/>
                    <a:pt x="153" y="22"/>
                  </a:cubicBezTo>
                  <a:cubicBezTo>
                    <a:pt x="155" y="21"/>
                    <a:pt x="156" y="21"/>
                    <a:pt x="157" y="20"/>
                  </a:cubicBezTo>
                  <a:cubicBezTo>
                    <a:pt x="159" y="20"/>
                    <a:pt x="160" y="19"/>
                    <a:pt x="161" y="18"/>
                  </a:cubicBezTo>
                  <a:cubicBezTo>
                    <a:pt x="163" y="17"/>
                    <a:pt x="165" y="16"/>
                    <a:pt x="168" y="15"/>
                  </a:cubicBezTo>
                  <a:cubicBezTo>
                    <a:pt x="171" y="14"/>
                    <a:pt x="174" y="12"/>
                    <a:pt x="178" y="11"/>
                  </a:cubicBezTo>
                  <a:cubicBezTo>
                    <a:pt x="178" y="11"/>
                    <a:pt x="179" y="10"/>
                    <a:pt x="179" y="10"/>
                  </a:cubicBezTo>
                  <a:cubicBezTo>
                    <a:pt x="179" y="10"/>
                    <a:pt x="178" y="9"/>
                    <a:pt x="178" y="9"/>
                  </a:cubicBezTo>
                  <a:cubicBezTo>
                    <a:pt x="176" y="7"/>
                    <a:pt x="177" y="8"/>
                    <a:pt x="173" y="5"/>
                  </a:cubicBezTo>
                  <a:cubicBezTo>
                    <a:pt x="172" y="5"/>
                    <a:pt x="171" y="4"/>
                    <a:pt x="170" y="4"/>
                  </a:cubicBezTo>
                  <a:cubicBezTo>
                    <a:pt x="169" y="3"/>
                    <a:pt x="167" y="2"/>
                    <a:pt x="165" y="1"/>
                  </a:cubicBezTo>
                  <a:cubicBezTo>
                    <a:pt x="164" y="1"/>
                    <a:pt x="163" y="1"/>
                    <a:pt x="162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8" y="1"/>
                    <a:pt x="155" y="2"/>
                    <a:pt x="152" y="3"/>
                  </a:cubicBezTo>
                  <a:cubicBezTo>
                    <a:pt x="150" y="4"/>
                    <a:pt x="148" y="5"/>
                    <a:pt x="146" y="6"/>
                  </a:cubicBezTo>
                  <a:cubicBezTo>
                    <a:pt x="145" y="7"/>
                    <a:pt x="143" y="8"/>
                    <a:pt x="142" y="8"/>
                  </a:cubicBezTo>
                  <a:cubicBezTo>
                    <a:pt x="142" y="8"/>
                    <a:pt x="141" y="9"/>
                    <a:pt x="141" y="9"/>
                  </a:cubicBezTo>
                  <a:cubicBezTo>
                    <a:pt x="138" y="10"/>
                    <a:pt x="135" y="12"/>
                    <a:pt x="132" y="13"/>
                  </a:cubicBezTo>
                  <a:cubicBezTo>
                    <a:pt x="128" y="15"/>
                    <a:pt x="125" y="17"/>
                    <a:pt x="122" y="18"/>
                  </a:cubicBezTo>
                  <a:cubicBezTo>
                    <a:pt x="119" y="20"/>
                    <a:pt x="117" y="21"/>
                    <a:pt x="115" y="22"/>
                  </a:cubicBezTo>
                  <a:cubicBezTo>
                    <a:pt x="114" y="23"/>
                    <a:pt x="113" y="23"/>
                    <a:pt x="111" y="24"/>
                  </a:cubicBezTo>
                  <a:cubicBezTo>
                    <a:pt x="108" y="26"/>
                    <a:pt x="104" y="28"/>
                    <a:pt x="101" y="30"/>
                  </a:cubicBezTo>
                  <a:cubicBezTo>
                    <a:pt x="97" y="32"/>
                    <a:pt x="94" y="34"/>
                    <a:pt x="90" y="36"/>
                  </a:cubicBezTo>
                  <a:cubicBezTo>
                    <a:pt x="90" y="36"/>
                    <a:pt x="89" y="36"/>
                    <a:pt x="89" y="37"/>
                  </a:cubicBezTo>
                  <a:cubicBezTo>
                    <a:pt x="86" y="39"/>
                    <a:pt x="83" y="40"/>
                    <a:pt x="80" y="42"/>
                  </a:cubicBezTo>
                  <a:cubicBezTo>
                    <a:pt x="76" y="44"/>
                    <a:pt x="73" y="47"/>
                    <a:pt x="69" y="49"/>
                  </a:cubicBezTo>
                  <a:cubicBezTo>
                    <a:pt x="67" y="51"/>
                    <a:pt x="64" y="52"/>
                    <a:pt x="62" y="54"/>
                  </a:cubicBezTo>
                  <a:cubicBezTo>
                    <a:pt x="61" y="55"/>
                    <a:pt x="60" y="55"/>
                    <a:pt x="59" y="56"/>
                  </a:cubicBezTo>
                  <a:cubicBezTo>
                    <a:pt x="55" y="59"/>
                    <a:pt x="51" y="61"/>
                    <a:pt x="48" y="64"/>
                  </a:cubicBezTo>
                  <a:cubicBezTo>
                    <a:pt x="44" y="67"/>
                    <a:pt x="40" y="69"/>
                    <a:pt x="37" y="72"/>
                  </a:cubicBezTo>
                  <a:cubicBezTo>
                    <a:pt x="37" y="72"/>
                    <a:pt x="37" y="72"/>
                    <a:pt x="36" y="72"/>
                  </a:cubicBezTo>
                  <a:cubicBezTo>
                    <a:pt x="36" y="73"/>
                    <a:pt x="35" y="73"/>
                    <a:pt x="35" y="74"/>
                  </a:cubicBezTo>
                  <a:cubicBezTo>
                    <a:pt x="32" y="76"/>
                    <a:pt x="28" y="79"/>
                    <a:pt x="25" y="82"/>
                  </a:cubicBezTo>
                  <a:cubicBezTo>
                    <a:pt x="22" y="85"/>
                    <a:pt x="18" y="88"/>
                    <a:pt x="14" y="92"/>
                  </a:cubicBezTo>
                  <a:cubicBezTo>
                    <a:pt x="11" y="94"/>
                    <a:pt x="9" y="97"/>
                    <a:pt x="6" y="99"/>
                  </a:cubicBezTo>
                  <a:cubicBezTo>
                    <a:pt x="5" y="101"/>
                    <a:pt x="3" y="102"/>
                    <a:pt x="2" y="103"/>
                  </a:cubicBezTo>
                  <a:cubicBezTo>
                    <a:pt x="2" y="104"/>
                    <a:pt x="1" y="105"/>
                    <a:pt x="0" y="105"/>
                  </a:cubicBezTo>
                  <a:cubicBezTo>
                    <a:pt x="1" y="105"/>
                    <a:pt x="1" y="105"/>
                    <a:pt x="2" y="105"/>
                  </a:cubicBezTo>
                  <a:cubicBezTo>
                    <a:pt x="3" y="106"/>
                    <a:pt x="4" y="106"/>
                    <a:pt x="5" y="106"/>
                  </a:cubicBezTo>
                  <a:cubicBezTo>
                    <a:pt x="6" y="106"/>
                    <a:pt x="7" y="106"/>
                    <a:pt x="8" y="106"/>
                  </a:cubicBezTo>
                  <a:cubicBezTo>
                    <a:pt x="9" y="106"/>
                    <a:pt x="10" y="105"/>
                    <a:pt x="11" y="105"/>
                  </a:cubicBezTo>
                  <a:cubicBezTo>
                    <a:pt x="14" y="105"/>
                    <a:pt x="17" y="104"/>
                    <a:pt x="20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4" y="102"/>
                    <a:pt x="26" y="102"/>
                    <a:pt x="28" y="10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29" y="101"/>
                    <a:pt x="30" y="100"/>
                  </a:cubicBezTo>
                  <a:cubicBezTo>
                    <a:pt x="34" y="97"/>
                    <a:pt x="38" y="94"/>
                    <a:pt x="41" y="90"/>
                  </a:cubicBezTo>
                  <a:cubicBezTo>
                    <a:pt x="43" y="89"/>
                    <a:pt x="45" y="87"/>
                    <a:pt x="47" y="86"/>
                  </a:cubicBezTo>
                  <a:cubicBezTo>
                    <a:pt x="49" y="84"/>
                    <a:pt x="51" y="83"/>
                    <a:pt x="53" y="82"/>
                  </a:cubicBezTo>
                  <a:cubicBezTo>
                    <a:pt x="54" y="81"/>
                    <a:pt x="55" y="80"/>
                    <a:pt x="56" y="79"/>
                  </a:cubicBezTo>
                  <a:cubicBezTo>
                    <a:pt x="59" y="77"/>
                    <a:pt x="61" y="75"/>
                    <a:pt x="63" y="74"/>
                  </a:cubicBezTo>
                  <a:cubicBezTo>
                    <a:pt x="67" y="71"/>
                    <a:pt x="71" y="69"/>
                    <a:pt x="74" y="6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3" name="Freeform 10"/>
            <p:cNvSpPr>
              <a:spLocks/>
            </p:cNvSpPr>
            <p:nvPr/>
          </p:nvSpPr>
          <p:spPr bwMode="auto">
            <a:xfrm>
              <a:off x="438150" y="1652588"/>
              <a:ext cx="257175" cy="38100"/>
            </a:xfrm>
            <a:custGeom>
              <a:avLst/>
              <a:gdLst>
                <a:gd name="T0" fmla="*/ 88 w 101"/>
                <a:gd name="T1" fmla="*/ 2 h 15"/>
                <a:gd name="T2" fmla="*/ 86 w 101"/>
                <a:gd name="T3" fmla="*/ 2 h 15"/>
                <a:gd name="T4" fmla="*/ 77 w 101"/>
                <a:gd name="T5" fmla="*/ 1 h 15"/>
                <a:gd name="T6" fmla="*/ 68 w 101"/>
                <a:gd name="T7" fmla="*/ 1 h 15"/>
                <a:gd name="T8" fmla="*/ 66 w 101"/>
                <a:gd name="T9" fmla="*/ 1 h 15"/>
                <a:gd name="T10" fmla="*/ 59 w 101"/>
                <a:gd name="T11" fmla="*/ 1 h 15"/>
                <a:gd name="T12" fmla="*/ 50 w 101"/>
                <a:gd name="T13" fmla="*/ 1 h 15"/>
                <a:gd name="T14" fmla="*/ 43 w 101"/>
                <a:gd name="T15" fmla="*/ 1 h 15"/>
                <a:gd name="T16" fmla="*/ 41 w 101"/>
                <a:gd name="T17" fmla="*/ 1 h 15"/>
                <a:gd name="T18" fmla="*/ 32 w 101"/>
                <a:gd name="T19" fmla="*/ 0 h 15"/>
                <a:gd name="T20" fmla="*/ 31 w 101"/>
                <a:gd name="T21" fmla="*/ 0 h 15"/>
                <a:gd name="T22" fmla="*/ 23 w 101"/>
                <a:gd name="T23" fmla="*/ 0 h 15"/>
                <a:gd name="T24" fmla="*/ 21 w 101"/>
                <a:gd name="T25" fmla="*/ 0 h 15"/>
                <a:gd name="T26" fmla="*/ 14 w 101"/>
                <a:gd name="T27" fmla="*/ 0 h 15"/>
                <a:gd name="T28" fmla="*/ 5 w 101"/>
                <a:gd name="T29" fmla="*/ 0 h 15"/>
                <a:gd name="T30" fmla="*/ 3 w 101"/>
                <a:gd name="T31" fmla="*/ 0 h 15"/>
                <a:gd name="T32" fmla="*/ 0 w 101"/>
                <a:gd name="T33" fmla="*/ 12 h 15"/>
                <a:gd name="T34" fmla="*/ 3 w 101"/>
                <a:gd name="T35" fmla="*/ 12 h 15"/>
                <a:gd name="T36" fmla="*/ 12 w 101"/>
                <a:gd name="T37" fmla="*/ 12 h 15"/>
                <a:gd name="T38" fmla="*/ 18 w 101"/>
                <a:gd name="T39" fmla="*/ 12 h 15"/>
                <a:gd name="T40" fmla="*/ 21 w 101"/>
                <a:gd name="T41" fmla="*/ 12 h 15"/>
                <a:gd name="T42" fmla="*/ 30 w 101"/>
                <a:gd name="T43" fmla="*/ 12 h 15"/>
                <a:gd name="T44" fmla="*/ 31 w 101"/>
                <a:gd name="T45" fmla="*/ 13 h 15"/>
                <a:gd name="T46" fmla="*/ 38 w 101"/>
                <a:gd name="T47" fmla="*/ 13 h 15"/>
                <a:gd name="T48" fmla="*/ 41 w 101"/>
                <a:gd name="T49" fmla="*/ 13 h 15"/>
                <a:gd name="T50" fmla="*/ 47 w 101"/>
                <a:gd name="T51" fmla="*/ 13 h 15"/>
                <a:gd name="T52" fmla="*/ 56 w 101"/>
                <a:gd name="T53" fmla="*/ 13 h 15"/>
                <a:gd name="T54" fmla="*/ 63 w 101"/>
                <a:gd name="T55" fmla="*/ 13 h 15"/>
                <a:gd name="T56" fmla="*/ 65 w 101"/>
                <a:gd name="T57" fmla="*/ 14 h 15"/>
                <a:gd name="T58" fmla="*/ 74 w 101"/>
                <a:gd name="T59" fmla="*/ 14 h 15"/>
                <a:gd name="T60" fmla="*/ 83 w 101"/>
                <a:gd name="T61" fmla="*/ 14 h 15"/>
                <a:gd name="T62" fmla="*/ 86 w 101"/>
                <a:gd name="T63" fmla="*/ 14 h 15"/>
                <a:gd name="T64" fmla="*/ 92 w 101"/>
                <a:gd name="T65" fmla="*/ 14 h 15"/>
                <a:gd name="T66" fmla="*/ 100 w 101"/>
                <a:gd name="T67" fmla="*/ 15 h 15"/>
                <a:gd name="T68" fmla="*/ 101 w 101"/>
                <a:gd name="T69" fmla="*/ 2 h 15"/>
                <a:gd name="T70" fmla="*/ 95 w 101"/>
                <a:gd name="T71" fmla="*/ 2 h 15"/>
                <a:gd name="T72" fmla="*/ 88 w 101"/>
                <a:gd name="T7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" h="15">
                  <a:moveTo>
                    <a:pt x="88" y="2"/>
                  </a:moveTo>
                  <a:cubicBezTo>
                    <a:pt x="88" y="2"/>
                    <a:pt x="87" y="2"/>
                    <a:pt x="86" y="2"/>
                  </a:cubicBezTo>
                  <a:cubicBezTo>
                    <a:pt x="83" y="2"/>
                    <a:pt x="80" y="2"/>
                    <a:pt x="77" y="1"/>
                  </a:cubicBezTo>
                  <a:cubicBezTo>
                    <a:pt x="74" y="1"/>
                    <a:pt x="71" y="1"/>
                    <a:pt x="68" y="1"/>
                  </a:cubicBezTo>
                  <a:cubicBezTo>
                    <a:pt x="68" y="1"/>
                    <a:pt x="67" y="1"/>
                    <a:pt x="66" y="1"/>
                  </a:cubicBezTo>
                  <a:cubicBezTo>
                    <a:pt x="64" y="1"/>
                    <a:pt x="62" y="1"/>
                    <a:pt x="59" y="1"/>
                  </a:cubicBezTo>
                  <a:cubicBezTo>
                    <a:pt x="56" y="1"/>
                    <a:pt x="53" y="1"/>
                    <a:pt x="50" y="1"/>
                  </a:cubicBezTo>
                  <a:cubicBezTo>
                    <a:pt x="48" y="1"/>
                    <a:pt x="46" y="1"/>
                    <a:pt x="43" y="1"/>
                  </a:cubicBezTo>
                  <a:cubicBezTo>
                    <a:pt x="43" y="1"/>
                    <a:pt x="42" y="1"/>
                    <a:pt x="41" y="1"/>
                  </a:cubicBezTo>
                  <a:cubicBezTo>
                    <a:pt x="38" y="0"/>
                    <a:pt x="35" y="0"/>
                    <a:pt x="32" y="0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28" y="0"/>
                    <a:pt x="26" y="0"/>
                    <a:pt x="23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9" y="0"/>
                    <a:pt x="17" y="0"/>
                    <a:pt x="14" y="0"/>
                  </a:cubicBezTo>
                  <a:cubicBezTo>
                    <a:pt x="11" y="0"/>
                    <a:pt x="8" y="0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4"/>
                    <a:pt x="1" y="8"/>
                    <a:pt x="0" y="12"/>
                  </a:cubicBezTo>
                  <a:cubicBezTo>
                    <a:pt x="1" y="12"/>
                    <a:pt x="2" y="12"/>
                    <a:pt x="3" y="12"/>
                  </a:cubicBezTo>
                  <a:cubicBezTo>
                    <a:pt x="6" y="12"/>
                    <a:pt x="9" y="12"/>
                    <a:pt x="12" y="12"/>
                  </a:cubicBezTo>
                  <a:cubicBezTo>
                    <a:pt x="14" y="12"/>
                    <a:pt x="16" y="12"/>
                    <a:pt x="18" y="12"/>
                  </a:cubicBezTo>
                  <a:cubicBezTo>
                    <a:pt x="19" y="12"/>
                    <a:pt x="20" y="12"/>
                    <a:pt x="21" y="12"/>
                  </a:cubicBezTo>
                  <a:cubicBezTo>
                    <a:pt x="24" y="12"/>
                    <a:pt x="26" y="12"/>
                    <a:pt x="30" y="12"/>
                  </a:cubicBezTo>
                  <a:cubicBezTo>
                    <a:pt x="30" y="12"/>
                    <a:pt x="30" y="12"/>
                    <a:pt x="31" y="13"/>
                  </a:cubicBezTo>
                  <a:cubicBezTo>
                    <a:pt x="33" y="13"/>
                    <a:pt x="36" y="13"/>
                    <a:pt x="38" y="13"/>
                  </a:cubicBezTo>
                  <a:cubicBezTo>
                    <a:pt x="39" y="13"/>
                    <a:pt x="40" y="13"/>
                    <a:pt x="41" y="13"/>
                  </a:cubicBezTo>
                  <a:cubicBezTo>
                    <a:pt x="43" y="13"/>
                    <a:pt x="45" y="13"/>
                    <a:pt x="47" y="13"/>
                  </a:cubicBezTo>
                  <a:cubicBezTo>
                    <a:pt x="50" y="13"/>
                    <a:pt x="53" y="13"/>
                    <a:pt x="56" y="13"/>
                  </a:cubicBezTo>
                  <a:cubicBezTo>
                    <a:pt x="59" y="13"/>
                    <a:pt x="61" y="13"/>
                    <a:pt x="63" y="13"/>
                  </a:cubicBezTo>
                  <a:cubicBezTo>
                    <a:pt x="64" y="13"/>
                    <a:pt x="65" y="13"/>
                    <a:pt x="65" y="14"/>
                  </a:cubicBezTo>
                  <a:cubicBezTo>
                    <a:pt x="68" y="14"/>
                    <a:pt x="71" y="14"/>
                    <a:pt x="74" y="14"/>
                  </a:cubicBezTo>
                  <a:cubicBezTo>
                    <a:pt x="77" y="14"/>
                    <a:pt x="80" y="14"/>
                    <a:pt x="83" y="14"/>
                  </a:cubicBezTo>
                  <a:cubicBezTo>
                    <a:pt x="84" y="14"/>
                    <a:pt x="85" y="14"/>
                    <a:pt x="86" y="14"/>
                  </a:cubicBezTo>
                  <a:cubicBezTo>
                    <a:pt x="88" y="14"/>
                    <a:pt x="90" y="14"/>
                    <a:pt x="92" y="14"/>
                  </a:cubicBezTo>
                  <a:cubicBezTo>
                    <a:pt x="95" y="14"/>
                    <a:pt x="98" y="15"/>
                    <a:pt x="100" y="15"/>
                  </a:cubicBezTo>
                  <a:cubicBezTo>
                    <a:pt x="100" y="10"/>
                    <a:pt x="101" y="6"/>
                    <a:pt x="101" y="2"/>
                  </a:cubicBezTo>
                  <a:cubicBezTo>
                    <a:pt x="99" y="2"/>
                    <a:pt x="97" y="2"/>
                    <a:pt x="95" y="2"/>
                  </a:cubicBezTo>
                  <a:cubicBezTo>
                    <a:pt x="93" y="2"/>
                    <a:pt x="91" y="2"/>
                    <a:pt x="88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4" name="Freeform 11"/>
            <p:cNvSpPr>
              <a:spLocks/>
            </p:cNvSpPr>
            <p:nvPr/>
          </p:nvSpPr>
          <p:spPr bwMode="auto">
            <a:xfrm>
              <a:off x="809625" y="1663700"/>
              <a:ext cx="280988" cy="50800"/>
            </a:xfrm>
            <a:custGeom>
              <a:avLst/>
              <a:gdLst>
                <a:gd name="T0" fmla="*/ 101 w 111"/>
                <a:gd name="T1" fmla="*/ 6 h 20"/>
                <a:gd name="T2" fmla="*/ 99 w 111"/>
                <a:gd name="T3" fmla="*/ 6 h 20"/>
                <a:gd name="T4" fmla="*/ 92 w 111"/>
                <a:gd name="T5" fmla="*/ 6 h 20"/>
                <a:gd name="T6" fmla="*/ 83 w 111"/>
                <a:gd name="T7" fmla="*/ 5 h 20"/>
                <a:gd name="T8" fmla="*/ 77 w 111"/>
                <a:gd name="T9" fmla="*/ 5 h 20"/>
                <a:gd name="T10" fmla="*/ 74 w 111"/>
                <a:gd name="T11" fmla="*/ 5 h 20"/>
                <a:gd name="T12" fmla="*/ 65 w 111"/>
                <a:gd name="T13" fmla="*/ 4 h 20"/>
                <a:gd name="T14" fmla="*/ 56 w 111"/>
                <a:gd name="T15" fmla="*/ 4 h 20"/>
                <a:gd name="T16" fmla="*/ 54 w 111"/>
                <a:gd name="T17" fmla="*/ 3 h 20"/>
                <a:gd name="T18" fmla="*/ 47 w 111"/>
                <a:gd name="T19" fmla="*/ 3 h 20"/>
                <a:gd name="T20" fmla="*/ 39 w 111"/>
                <a:gd name="T21" fmla="*/ 2 h 20"/>
                <a:gd name="T22" fmla="*/ 32 w 111"/>
                <a:gd name="T23" fmla="*/ 2 h 20"/>
                <a:gd name="T24" fmla="*/ 30 w 111"/>
                <a:gd name="T25" fmla="*/ 2 h 20"/>
                <a:gd name="T26" fmla="*/ 21 w 111"/>
                <a:gd name="T27" fmla="*/ 1 h 20"/>
                <a:gd name="T28" fmla="*/ 12 w 111"/>
                <a:gd name="T29" fmla="*/ 1 h 20"/>
                <a:gd name="T30" fmla="*/ 10 w 111"/>
                <a:gd name="T31" fmla="*/ 0 h 20"/>
                <a:gd name="T32" fmla="*/ 3 w 111"/>
                <a:gd name="T33" fmla="*/ 0 h 20"/>
                <a:gd name="T34" fmla="*/ 3 w 111"/>
                <a:gd name="T35" fmla="*/ 0 h 20"/>
                <a:gd name="T36" fmla="*/ 1 w 111"/>
                <a:gd name="T37" fmla="*/ 0 h 20"/>
                <a:gd name="T38" fmla="*/ 0 w 111"/>
                <a:gd name="T39" fmla="*/ 13 h 20"/>
                <a:gd name="T40" fmla="*/ 0 w 111"/>
                <a:gd name="T41" fmla="*/ 13 h 20"/>
                <a:gd name="T42" fmla="*/ 2 w 111"/>
                <a:gd name="T43" fmla="*/ 13 h 20"/>
                <a:gd name="T44" fmla="*/ 7 w 111"/>
                <a:gd name="T45" fmla="*/ 13 h 20"/>
                <a:gd name="T46" fmla="*/ 9 w 111"/>
                <a:gd name="T47" fmla="*/ 13 h 20"/>
                <a:gd name="T48" fmla="*/ 18 w 111"/>
                <a:gd name="T49" fmla="*/ 14 h 20"/>
                <a:gd name="T50" fmla="*/ 27 w 111"/>
                <a:gd name="T51" fmla="*/ 14 h 20"/>
                <a:gd name="T52" fmla="*/ 29 w 111"/>
                <a:gd name="T53" fmla="*/ 15 h 20"/>
                <a:gd name="T54" fmla="*/ 36 w 111"/>
                <a:gd name="T55" fmla="*/ 15 h 20"/>
                <a:gd name="T56" fmla="*/ 44 w 111"/>
                <a:gd name="T57" fmla="*/ 16 h 20"/>
                <a:gd name="T58" fmla="*/ 51 w 111"/>
                <a:gd name="T59" fmla="*/ 16 h 20"/>
                <a:gd name="T60" fmla="*/ 53 w 111"/>
                <a:gd name="T61" fmla="*/ 16 h 20"/>
                <a:gd name="T62" fmla="*/ 62 w 111"/>
                <a:gd name="T63" fmla="*/ 17 h 20"/>
                <a:gd name="T64" fmla="*/ 71 w 111"/>
                <a:gd name="T65" fmla="*/ 17 h 20"/>
                <a:gd name="T66" fmla="*/ 74 w 111"/>
                <a:gd name="T67" fmla="*/ 18 h 20"/>
                <a:gd name="T68" fmla="*/ 80 w 111"/>
                <a:gd name="T69" fmla="*/ 18 h 20"/>
                <a:gd name="T70" fmla="*/ 89 w 111"/>
                <a:gd name="T71" fmla="*/ 19 h 20"/>
                <a:gd name="T72" fmla="*/ 96 w 111"/>
                <a:gd name="T73" fmla="*/ 19 h 20"/>
                <a:gd name="T74" fmla="*/ 98 w 111"/>
                <a:gd name="T75" fmla="*/ 19 h 20"/>
                <a:gd name="T76" fmla="*/ 107 w 111"/>
                <a:gd name="T77" fmla="*/ 20 h 20"/>
                <a:gd name="T78" fmla="*/ 111 w 111"/>
                <a:gd name="T79" fmla="*/ 20 h 20"/>
                <a:gd name="T80" fmla="*/ 111 w 111"/>
                <a:gd name="T81" fmla="*/ 7 h 20"/>
                <a:gd name="T82" fmla="*/ 110 w 111"/>
                <a:gd name="T83" fmla="*/ 7 h 20"/>
                <a:gd name="T84" fmla="*/ 101 w 111"/>
                <a:gd name="T8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1" h="20">
                  <a:moveTo>
                    <a:pt x="101" y="6"/>
                  </a:moveTo>
                  <a:cubicBezTo>
                    <a:pt x="100" y="6"/>
                    <a:pt x="100" y="6"/>
                    <a:pt x="99" y="6"/>
                  </a:cubicBezTo>
                  <a:cubicBezTo>
                    <a:pt x="97" y="6"/>
                    <a:pt x="94" y="6"/>
                    <a:pt x="92" y="6"/>
                  </a:cubicBezTo>
                  <a:cubicBezTo>
                    <a:pt x="89" y="6"/>
                    <a:pt x="86" y="5"/>
                    <a:pt x="83" y="5"/>
                  </a:cubicBezTo>
                  <a:cubicBezTo>
                    <a:pt x="81" y="5"/>
                    <a:pt x="79" y="5"/>
                    <a:pt x="77" y="5"/>
                  </a:cubicBezTo>
                  <a:cubicBezTo>
                    <a:pt x="76" y="5"/>
                    <a:pt x="75" y="5"/>
                    <a:pt x="74" y="5"/>
                  </a:cubicBezTo>
                  <a:cubicBezTo>
                    <a:pt x="71" y="5"/>
                    <a:pt x="68" y="4"/>
                    <a:pt x="65" y="4"/>
                  </a:cubicBezTo>
                  <a:cubicBezTo>
                    <a:pt x="62" y="4"/>
                    <a:pt x="59" y="4"/>
                    <a:pt x="56" y="4"/>
                  </a:cubicBezTo>
                  <a:cubicBezTo>
                    <a:pt x="56" y="4"/>
                    <a:pt x="55" y="4"/>
                    <a:pt x="54" y="3"/>
                  </a:cubicBezTo>
                  <a:cubicBezTo>
                    <a:pt x="52" y="3"/>
                    <a:pt x="50" y="3"/>
                    <a:pt x="47" y="3"/>
                  </a:cubicBezTo>
                  <a:cubicBezTo>
                    <a:pt x="44" y="3"/>
                    <a:pt x="42" y="3"/>
                    <a:pt x="39" y="2"/>
                  </a:cubicBezTo>
                  <a:cubicBezTo>
                    <a:pt x="36" y="2"/>
                    <a:pt x="34" y="2"/>
                    <a:pt x="32" y="2"/>
                  </a:cubicBezTo>
                  <a:cubicBezTo>
                    <a:pt x="31" y="2"/>
                    <a:pt x="30" y="2"/>
                    <a:pt x="30" y="2"/>
                  </a:cubicBezTo>
                  <a:cubicBezTo>
                    <a:pt x="27" y="2"/>
                    <a:pt x="24" y="1"/>
                    <a:pt x="21" y="1"/>
                  </a:cubicBezTo>
                  <a:cubicBezTo>
                    <a:pt x="18" y="1"/>
                    <a:pt x="15" y="1"/>
                    <a:pt x="12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8" y="0"/>
                    <a:pt x="5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4" y="13"/>
                    <a:pt x="5" y="13"/>
                    <a:pt x="7" y="13"/>
                  </a:cubicBezTo>
                  <a:cubicBezTo>
                    <a:pt x="7" y="13"/>
                    <a:pt x="8" y="13"/>
                    <a:pt x="9" y="13"/>
                  </a:cubicBezTo>
                  <a:cubicBezTo>
                    <a:pt x="12" y="13"/>
                    <a:pt x="15" y="14"/>
                    <a:pt x="18" y="14"/>
                  </a:cubicBezTo>
                  <a:cubicBezTo>
                    <a:pt x="21" y="14"/>
                    <a:pt x="24" y="14"/>
                    <a:pt x="27" y="14"/>
                  </a:cubicBezTo>
                  <a:cubicBezTo>
                    <a:pt x="27" y="15"/>
                    <a:pt x="28" y="15"/>
                    <a:pt x="29" y="15"/>
                  </a:cubicBezTo>
                  <a:cubicBezTo>
                    <a:pt x="31" y="15"/>
                    <a:pt x="33" y="15"/>
                    <a:pt x="36" y="15"/>
                  </a:cubicBezTo>
                  <a:cubicBezTo>
                    <a:pt x="39" y="15"/>
                    <a:pt x="42" y="16"/>
                    <a:pt x="44" y="16"/>
                  </a:cubicBezTo>
                  <a:cubicBezTo>
                    <a:pt x="47" y="16"/>
                    <a:pt x="49" y="16"/>
                    <a:pt x="51" y="16"/>
                  </a:cubicBezTo>
                  <a:cubicBezTo>
                    <a:pt x="52" y="16"/>
                    <a:pt x="53" y="16"/>
                    <a:pt x="53" y="16"/>
                  </a:cubicBezTo>
                  <a:cubicBezTo>
                    <a:pt x="56" y="17"/>
                    <a:pt x="59" y="17"/>
                    <a:pt x="62" y="17"/>
                  </a:cubicBezTo>
                  <a:cubicBezTo>
                    <a:pt x="65" y="17"/>
                    <a:pt x="68" y="17"/>
                    <a:pt x="71" y="17"/>
                  </a:cubicBezTo>
                  <a:cubicBezTo>
                    <a:pt x="72" y="18"/>
                    <a:pt x="73" y="18"/>
                    <a:pt x="74" y="18"/>
                  </a:cubicBezTo>
                  <a:cubicBezTo>
                    <a:pt x="76" y="18"/>
                    <a:pt x="78" y="18"/>
                    <a:pt x="80" y="18"/>
                  </a:cubicBezTo>
                  <a:cubicBezTo>
                    <a:pt x="83" y="18"/>
                    <a:pt x="86" y="18"/>
                    <a:pt x="89" y="19"/>
                  </a:cubicBezTo>
                  <a:cubicBezTo>
                    <a:pt x="91" y="19"/>
                    <a:pt x="94" y="19"/>
                    <a:pt x="96" y="19"/>
                  </a:cubicBezTo>
                  <a:cubicBezTo>
                    <a:pt x="97" y="19"/>
                    <a:pt x="97" y="19"/>
                    <a:pt x="98" y="19"/>
                  </a:cubicBezTo>
                  <a:cubicBezTo>
                    <a:pt x="101" y="19"/>
                    <a:pt x="104" y="20"/>
                    <a:pt x="107" y="20"/>
                  </a:cubicBezTo>
                  <a:cubicBezTo>
                    <a:pt x="108" y="20"/>
                    <a:pt x="109" y="20"/>
                    <a:pt x="111" y="20"/>
                  </a:cubicBezTo>
                  <a:cubicBezTo>
                    <a:pt x="111" y="16"/>
                    <a:pt x="111" y="11"/>
                    <a:pt x="111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07" y="7"/>
                    <a:pt x="104" y="6"/>
                    <a:pt x="101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5" name="Freeform 12"/>
            <p:cNvSpPr>
              <a:spLocks/>
            </p:cNvSpPr>
            <p:nvPr/>
          </p:nvSpPr>
          <p:spPr bwMode="auto">
            <a:xfrm>
              <a:off x="1827213" y="3049588"/>
              <a:ext cx="449263" cy="177800"/>
            </a:xfrm>
            <a:custGeom>
              <a:avLst/>
              <a:gdLst>
                <a:gd name="T0" fmla="*/ 5 w 177"/>
                <a:gd name="T1" fmla="*/ 70 h 70"/>
                <a:gd name="T2" fmla="*/ 7 w 177"/>
                <a:gd name="T3" fmla="*/ 69 h 70"/>
                <a:gd name="T4" fmla="*/ 8 w 177"/>
                <a:gd name="T5" fmla="*/ 69 h 70"/>
                <a:gd name="T6" fmla="*/ 18 w 177"/>
                <a:gd name="T7" fmla="*/ 66 h 70"/>
                <a:gd name="T8" fmla="*/ 28 w 177"/>
                <a:gd name="T9" fmla="*/ 63 h 70"/>
                <a:gd name="T10" fmla="*/ 31 w 177"/>
                <a:gd name="T11" fmla="*/ 61 h 70"/>
                <a:gd name="T12" fmla="*/ 37 w 177"/>
                <a:gd name="T13" fmla="*/ 59 h 70"/>
                <a:gd name="T14" fmla="*/ 47 w 177"/>
                <a:gd name="T15" fmla="*/ 56 h 70"/>
                <a:gd name="T16" fmla="*/ 56 w 177"/>
                <a:gd name="T17" fmla="*/ 53 h 70"/>
                <a:gd name="T18" fmla="*/ 57 w 177"/>
                <a:gd name="T19" fmla="*/ 53 h 70"/>
                <a:gd name="T20" fmla="*/ 67 w 177"/>
                <a:gd name="T21" fmla="*/ 50 h 70"/>
                <a:gd name="T22" fmla="*/ 76 w 177"/>
                <a:gd name="T23" fmla="*/ 47 h 70"/>
                <a:gd name="T24" fmla="*/ 80 w 177"/>
                <a:gd name="T25" fmla="*/ 46 h 70"/>
                <a:gd name="T26" fmla="*/ 86 w 177"/>
                <a:gd name="T27" fmla="*/ 44 h 70"/>
                <a:gd name="T28" fmla="*/ 96 w 177"/>
                <a:gd name="T29" fmla="*/ 41 h 70"/>
                <a:gd name="T30" fmla="*/ 105 w 177"/>
                <a:gd name="T31" fmla="*/ 38 h 70"/>
                <a:gd name="T32" fmla="*/ 106 w 177"/>
                <a:gd name="T33" fmla="*/ 38 h 70"/>
                <a:gd name="T34" fmla="*/ 116 w 177"/>
                <a:gd name="T35" fmla="*/ 35 h 70"/>
                <a:gd name="T36" fmla="*/ 125 w 177"/>
                <a:gd name="T37" fmla="*/ 32 h 70"/>
                <a:gd name="T38" fmla="*/ 129 w 177"/>
                <a:gd name="T39" fmla="*/ 30 h 70"/>
                <a:gd name="T40" fmla="*/ 130 w 177"/>
                <a:gd name="T41" fmla="*/ 30 h 70"/>
                <a:gd name="T42" fmla="*/ 135 w 177"/>
                <a:gd name="T43" fmla="*/ 29 h 70"/>
                <a:gd name="T44" fmla="*/ 145 w 177"/>
                <a:gd name="T45" fmla="*/ 25 h 70"/>
                <a:gd name="T46" fmla="*/ 154 w 177"/>
                <a:gd name="T47" fmla="*/ 23 h 70"/>
                <a:gd name="T48" fmla="*/ 155 w 177"/>
                <a:gd name="T49" fmla="*/ 22 h 70"/>
                <a:gd name="T50" fmla="*/ 164 w 177"/>
                <a:gd name="T51" fmla="*/ 19 h 70"/>
                <a:gd name="T52" fmla="*/ 174 w 177"/>
                <a:gd name="T53" fmla="*/ 16 h 70"/>
                <a:gd name="T54" fmla="*/ 177 w 177"/>
                <a:gd name="T55" fmla="*/ 15 h 70"/>
                <a:gd name="T56" fmla="*/ 175 w 177"/>
                <a:gd name="T57" fmla="*/ 11 h 70"/>
                <a:gd name="T58" fmla="*/ 170 w 177"/>
                <a:gd name="T59" fmla="*/ 0 h 70"/>
                <a:gd name="T60" fmla="*/ 169 w 177"/>
                <a:gd name="T61" fmla="*/ 0 h 70"/>
                <a:gd name="T62" fmla="*/ 159 w 177"/>
                <a:gd name="T63" fmla="*/ 3 h 70"/>
                <a:gd name="T64" fmla="*/ 158 w 177"/>
                <a:gd name="T65" fmla="*/ 3 h 70"/>
                <a:gd name="T66" fmla="*/ 149 w 177"/>
                <a:gd name="T67" fmla="*/ 6 h 70"/>
                <a:gd name="T68" fmla="*/ 140 w 177"/>
                <a:gd name="T69" fmla="*/ 9 h 70"/>
                <a:gd name="T70" fmla="*/ 134 w 177"/>
                <a:gd name="T71" fmla="*/ 11 h 70"/>
                <a:gd name="T72" fmla="*/ 130 w 177"/>
                <a:gd name="T73" fmla="*/ 12 h 70"/>
                <a:gd name="T74" fmla="*/ 125 w 177"/>
                <a:gd name="T75" fmla="*/ 14 h 70"/>
                <a:gd name="T76" fmla="*/ 120 w 177"/>
                <a:gd name="T77" fmla="*/ 15 h 70"/>
                <a:gd name="T78" fmla="*/ 110 w 177"/>
                <a:gd name="T79" fmla="*/ 18 h 70"/>
                <a:gd name="T80" fmla="*/ 109 w 177"/>
                <a:gd name="T81" fmla="*/ 19 h 70"/>
                <a:gd name="T82" fmla="*/ 101 w 177"/>
                <a:gd name="T83" fmla="*/ 21 h 70"/>
                <a:gd name="T84" fmla="*/ 91 w 177"/>
                <a:gd name="T85" fmla="*/ 24 h 70"/>
                <a:gd name="T86" fmla="*/ 85 w 177"/>
                <a:gd name="T87" fmla="*/ 26 h 70"/>
                <a:gd name="T88" fmla="*/ 81 w 177"/>
                <a:gd name="T89" fmla="*/ 28 h 70"/>
                <a:gd name="T90" fmla="*/ 71 w 177"/>
                <a:gd name="T91" fmla="*/ 31 h 70"/>
                <a:gd name="T92" fmla="*/ 62 w 177"/>
                <a:gd name="T93" fmla="*/ 34 h 70"/>
                <a:gd name="T94" fmla="*/ 60 w 177"/>
                <a:gd name="T95" fmla="*/ 34 h 70"/>
                <a:gd name="T96" fmla="*/ 52 w 177"/>
                <a:gd name="T97" fmla="*/ 37 h 70"/>
                <a:gd name="T98" fmla="*/ 42 w 177"/>
                <a:gd name="T99" fmla="*/ 40 h 70"/>
                <a:gd name="T100" fmla="*/ 36 w 177"/>
                <a:gd name="T101" fmla="*/ 42 h 70"/>
                <a:gd name="T102" fmla="*/ 32 w 177"/>
                <a:gd name="T103" fmla="*/ 43 h 70"/>
                <a:gd name="T104" fmla="*/ 22 w 177"/>
                <a:gd name="T105" fmla="*/ 46 h 70"/>
                <a:gd name="T106" fmla="*/ 13 w 177"/>
                <a:gd name="T107" fmla="*/ 50 h 70"/>
                <a:gd name="T108" fmla="*/ 11 w 177"/>
                <a:gd name="T109" fmla="*/ 50 h 70"/>
                <a:gd name="T110" fmla="*/ 3 w 177"/>
                <a:gd name="T111" fmla="*/ 53 h 70"/>
                <a:gd name="T112" fmla="*/ 0 w 177"/>
                <a:gd name="T113" fmla="*/ 54 h 70"/>
                <a:gd name="T114" fmla="*/ 2 w 177"/>
                <a:gd name="T115" fmla="*/ 58 h 70"/>
                <a:gd name="T116" fmla="*/ 5 w 177"/>
                <a:gd name="T1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7" h="70">
                  <a:moveTo>
                    <a:pt x="5" y="70"/>
                  </a:moveTo>
                  <a:cubicBezTo>
                    <a:pt x="6" y="70"/>
                    <a:pt x="6" y="70"/>
                    <a:pt x="7" y="69"/>
                  </a:cubicBezTo>
                  <a:cubicBezTo>
                    <a:pt x="7" y="69"/>
                    <a:pt x="8" y="69"/>
                    <a:pt x="8" y="69"/>
                  </a:cubicBezTo>
                  <a:cubicBezTo>
                    <a:pt x="11" y="68"/>
                    <a:pt x="15" y="67"/>
                    <a:pt x="18" y="66"/>
                  </a:cubicBezTo>
                  <a:cubicBezTo>
                    <a:pt x="21" y="65"/>
                    <a:pt x="24" y="64"/>
                    <a:pt x="28" y="63"/>
                  </a:cubicBezTo>
                  <a:cubicBezTo>
                    <a:pt x="29" y="62"/>
                    <a:pt x="30" y="62"/>
                    <a:pt x="31" y="61"/>
                  </a:cubicBezTo>
                  <a:cubicBezTo>
                    <a:pt x="33" y="61"/>
                    <a:pt x="35" y="60"/>
                    <a:pt x="37" y="59"/>
                  </a:cubicBezTo>
                  <a:cubicBezTo>
                    <a:pt x="41" y="58"/>
                    <a:pt x="44" y="57"/>
                    <a:pt x="47" y="56"/>
                  </a:cubicBezTo>
                  <a:cubicBezTo>
                    <a:pt x="50" y="55"/>
                    <a:pt x="53" y="54"/>
                    <a:pt x="56" y="53"/>
                  </a:cubicBezTo>
                  <a:cubicBezTo>
                    <a:pt x="56" y="53"/>
                    <a:pt x="57" y="53"/>
                    <a:pt x="57" y="53"/>
                  </a:cubicBezTo>
                  <a:cubicBezTo>
                    <a:pt x="60" y="52"/>
                    <a:pt x="63" y="51"/>
                    <a:pt x="67" y="50"/>
                  </a:cubicBezTo>
                  <a:cubicBezTo>
                    <a:pt x="70" y="49"/>
                    <a:pt x="73" y="48"/>
                    <a:pt x="76" y="47"/>
                  </a:cubicBezTo>
                  <a:cubicBezTo>
                    <a:pt x="78" y="46"/>
                    <a:pt x="79" y="46"/>
                    <a:pt x="80" y="46"/>
                  </a:cubicBezTo>
                  <a:cubicBezTo>
                    <a:pt x="82" y="45"/>
                    <a:pt x="84" y="44"/>
                    <a:pt x="86" y="44"/>
                  </a:cubicBezTo>
                  <a:cubicBezTo>
                    <a:pt x="89" y="43"/>
                    <a:pt x="93" y="42"/>
                    <a:pt x="96" y="41"/>
                  </a:cubicBezTo>
                  <a:cubicBezTo>
                    <a:pt x="99" y="40"/>
                    <a:pt x="102" y="39"/>
                    <a:pt x="105" y="38"/>
                  </a:cubicBezTo>
                  <a:cubicBezTo>
                    <a:pt x="105" y="38"/>
                    <a:pt x="105" y="38"/>
                    <a:pt x="106" y="38"/>
                  </a:cubicBezTo>
                  <a:cubicBezTo>
                    <a:pt x="109" y="37"/>
                    <a:pt x="112" y="36"/>
                    <a:pt x="116" y="35"/>
                  </a:cubicBezTo>
                  <a:cubicBezTo>
                    <a:pt x="119" y="34"/>
                    <a:pt x="122" y="33"/>
                    <a:pt x="125" y="32"/>
                  </a:cubicBezTo>
                  <a:cubicBezTo>
                    <a:pt x="127" y="31"/>
                    <a:pt x="128" y="31"/>
                    <a:pt x="129" y="30"/>
                  </a:cubicBezTo>
                  <a:cubicBezTo>
                    <a:pt x="129" y="30"/>
                    <a:pt x="130" y="30"/>
                    <a:pt x="130" y="30"/>
                  </a:cubicBezTo>
                  <a:cubicBezTo>
                    <a:pt x="131" y="30"/>
                    <a:pt x="133" y="29"/>
                    <a:pt x="135" y="29"/>
                  </a:cubicBezTo>
                  <a:cubicBezTo>
                    <a:pt x="138" y="28"/>
                    <a:pt x="142" y="26"/>
                    <a:pt x="145" y="25"/>
                  </a:cubicBezTo>
                  <a:cubicBezTo>
                    <a:pt x="148" y="25"/>
                    <a:pt x="151" y="24"/>
                    <a:pt x="154" y="23"/>
                  </a:cubicBezTo>
                  <a:cubicBezTo>
                    <a:pt x="154" y="23"/>
                    <a:pt x="154" y="22"/>
                    <a:pt x="155" y="22"/>
                  </a:cubicBezTo>
                  <a:cubicBezTo>
                    <a:pt x="158" y="21"/>
                    <a:pt x="161" y="20"/>
                    <a:pt x="164" y="19"/>
                  </a:cubicBezTo>
                  <a:cubicBezTo>
                    <a:pt x="168" y="18"/>
                    <a:pt x="171" y="17"/>
                    <a:pt x="174" y="16"/>
                  </a:cubicBezTo>
                  <a:cubicBezTo>
                    <a:pt x="175" y="16"/>
                    <a:pt x="176" y="15"/>
                    <a:pt x="177" y="15"/>
                  </a:cubicBezTo>
                  <a:cubicBezTo>
                    <a:pt x="177" y="14"/>
                    <a:pt x="176" y="12"/>
                    <a:pt x="175" y="11"/>
                  </a:cubicBezTo>
                  <a:cubicBezTo>
                    <a:pt x="174" y="7"/>
                    <a:pt x="172" y="3"/>
                    <a:pt x="170" y="0"/>
                  </a:cubicBezTo>
                  <a:cubicBezTo>
                    <a:pt x="170" y="0"/>
                    <a:pt x="169" y="0"/>
                    <a:pt x="169" y="0"/>
                  </a:cubicBezTo>
                  <a:cubicBezTo>
                    <a:pt x="166" y="1"/>
                    <a:pt x="162" y="2"/>
                    <a:pt x="159" y="3"/>
                  </a:cubicBezTo>
                  <a:cubicBezTo>
                    <a:pt x="159" y="3"/>
                    <a:pt x="158" y="3"/>
                    <a:pt x="158" y="3"/>
                  </a:cubicBezTo>
                  <a:cubicBezTo>
                    <a:pt x="155" y="4"/>
                    <a:pt x="152" y="5"/>
                    <a:pt x="149" y="6"/>
                  </a:cubicBezTo>
                  <a:cubicBezTo>
                    <a:pt x="146" y="7"/>
                    <a:pt x="143" y="8"/>
                    <a:pt x="140" y="9"/>
                  </a:cubicBezTo>
                  <a:cubicBezTo>
                    <a:pt x="138" y="10"/>
                    <a:pt x="136" y="11"/>
                    <a:pt x="134" y="11"/>
                  </a:cubicBezTo>
                  <a:cubicBezTo>
                    <a:pt x="132" y="12"/>
                    <a:pt x="131" y="12"/>
                    <a:pt x="130" y="12"/>
                  </a:cubicBezTo>
                  <a:cubicBezTo>
                    <a:pt x="128" y="13"/>
                    <a:pt x="126" y="13"/>
                    <a:pt x="125" y="14"/>
                  </a:cubicBezTo>
                  <a:cubicBezTo>
                    <a:pt x="123" y="14"/>
                    <a:pt x="122" y="15"/>
                    <a:pt x="120" y="15"/>
                  </a:cubicBezTo>
                  <a:cubicBezTo>
                    <a:pt x="117" y="16"/>
                    <a:pt x="114" y="17"/>
                    <a:pt x="110" y="18"/>
                  </a:cubicBezTo>
                  <a:cubicBezTo>
                    <a:pt x="110" y="19"/>
                    <a:pt x="110" y="19"/>
                    <a:pt x="109" y="19"/>
                  </a:cubicBezTo>
                  <a:cubicBezTo>
                    <a:pt x="106" y="20"/>
                    <a:pt x="103" y="21"/>
                    <a:pt x="101" y="21"/>
                  </a:cubicBezTo>
                  <a:cubicBezTo>
                    <a:pt x="97" y="22"/>
                    <a:pt x="94" y="23"/>
                    <a:pt x="91" y="24"/>
                  </a:cubicBezTo>
                  <a:cubicBezTo>
                    <a:pt x="89" y="25"/>
                    <a:pt x="87" y="26"/>
                    <a:pt x="85" y="26"/>
                  </a:cubicBezTo>
                  <a:cubicBezTo>
                    <a:pt x="84" y="27"/>
                    <a:pt x="82" y="27"/>
                    <a:pt x="81" y="28"/>
                  </a:cubicBezTo>
                  <a:cubicBezTo>
                    <a:pt x="78" y="29"/>
                    <a:pt x="75" y="30"/>
                    <a:pt x="71" y="31"/>
                  </a:cubicBezTo>
                  <a:cubicBezTo>
                    <a:pt x="68" y="32"/>
                    <a:pt x="65" y="33"/>
                    <a:pt x="62" y="34"/>
                  </a:cubicBezTo>
                  <a:cubicBezTo>
                    <a:pt x="61" y="34"/>
                    <a:pt x="61" y="34"/>
                    <a:pt x="60" y="34"/>
                  </a:cubicBezTo>
                  <a:cubicBezTo>
                    <a:pt x="58" y="35"/>
                    <a:pt x="55" y="36"/>
                    <a:pt x="52" y="37"/>
                  </a:cubicBezTo>
                  <a:cubicBezTo>
                    <a:pt x="48" y="38"/>
                    <a:pt x="45" y="39"/>
                    <a:pt x="42" y="40"/>
                  </a:cubicBezTo>
                  <a:cubicBezTo>
                    <a:pt x="40" y="41"/>
                    <a:pt x="38" y="41"/>
                    <a:pt x="36" y="42"/>
                  </a:cubicBezTo>
                  <a:cubicBezTo>
                    <a:pt x="35" y="42"/>
                    <a:pt x="33" y="43"/>
                    <a:pt x="32" y="43"/>
                  </a:cubicBezTo>
                  <a:cubicBezTo>
                    <a:pt x="29" y="44"/>
                    <a:pt x="26" y="45"/>
                    <a:pt x="22" y="46"/>
                  </a:cubicBezTo>
                  <a:cubicBezTo>
                    <a:pt x="19" y="47"/>
                    <a:pt x="16" y="48"/>
                    <a:pt x="13" y="50"/>
                  </a:cubicBezTo>
                  <a:cubicBezTo>
                    <a:pt x="12" y="50"/>
                    <a:pt x="12" y="50"/>
                    <a:pt x="11" y="50"/>
                  </a:cubicBezTo>
                  <a:cubicBezTo>
                    <a:pt x="9" y="51"/>
                    <a:pt x="6" y="52"/>
                    <a:pt x="3" y="53"/>
                  </a:cubicBezTo>
                  <a:cubicBezTo>
                    <a:pt x="2" y="53"/>
                    <a:pt x="1" y="53"/>
                    <a:pt x="0" y="54"/>
                  </a:cubicBezTo>
                  <a:cubicBezTo>
                    <a:pt x="0" y="55"/>
                    <a:pt x="1" y="57"/>
                    <a:pt x="2" y="58"/>
                  </a:cubicBezTo>
                  <a:cubicBezTo>
                    <a:pt x="3" y="62"/>
                    <a:pt x="4" y="66"/>
                    <a:pt x="5" y="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6" name="Freeform 13"/>
            <p:cNvSpPr>
              <a:spLocks/>
            </p:cNvSpPr>
            <p:nvPr/>
          </p:nvSpPr>
          <p:spPr bwMode="auto">
            <a:xfrm>
              <a:off x="1277938" y="4346575"/>
              <a:ext cx="503238" cy="238125"/>
            </a:xfrm>
            <a:custGeom>
              <a:avLst/>
              <a:gdLst>
                <a:gd name="T0" fmla="*/ 189 w 198"/>
                <a:gd name="T1" fmla="*/ 75 h 94"/>
                <a:gd name="T2" fmla="*/ 175 w 198"/>
                <a:gd name="T3" fmla="*/ 70 h 94"/>
                <a:gd name="T4" fmla="*/ 167 w 198"/>
                <a:gd name="T5" fmla="*/ 67 h 94"/>
                <a:gd name="T6" fmla="*/ 159 w 198"/>
                <a:gd name="T7" fmla="*/ 64 h 94"/>
                <a:gd name="T8" fmla="*/ 149 w 198"/>
                <a:gd name="T9" fmla="*/ 61 h 94"/>
                <a:gd name="T10" fmla="*/ 134 w 198"/>
                <a:gd name="T11" fmla="*/ 55 h 94"/>
                <a:gd name="T12" fmla="*/ 125 w 198"/>
                <a:gd name="T13" fmla="*/ 52 h 94"/>
                <a:gd name="T14" fmla="*/ 109 w 198"/>
                <a:gd name="T15" fmla="*/ 45 h 94"/>
                <a:gd name="T16" fmla="*/ 101 w 198"/>
                <a:gd name="T17" fmla="*/ 42 h 94"/>
                <a:gd name="T18" fmla="*/ 87 w 198"/>
                <a:gd name="T19" fmla="*/ 37 h 94"/>
                <a:gd name="T20" fmla="*/ 76 w 198"/>
                <a:gd name="T21" fmla="*/ 32 h 94"/>
                <a:gd name="T22" fmla="*/ 68 w 198"/>
                <a:gd name="T23" fmla="*/ 29 h 94"/>
                <a:gd name="T24" fmla="*/ 59 w 198"/>
                <a:gd name="T25" fmla="*/ 25 h 94"/>
                <a:gd name="T26" fmla="*/ 46 w 198"/>
                <a:gd name="T27" fmla="*/ 19 h 94"/>
                <a:gd name="T28" fmla="*/ 35 w 198"/>
                <a:gd name="T29" fmla="*/ 13 h 94"/>
                <a:gd name="T30" fmla="*/ 26 w 198"/>
                <a:gd name="T31" fmla="*/ 9 h 94"/>
                <a:gd name="T32" fmla="*/ 11 w 198"/>
                <a:gd name="T33" fmla="*/ 1 h 94"/>
                <a:gd name="T34" fmla="*/ 3 w 198"/>
                <a:gd name="T35" fmla="*/ 10 h 94"/>
                <a:gd name="T36" fmla="*/ 2 w 198"/>
                <a:gd name="T37" fmla="*/ 14 h 94"/>
                <a:gd name="T38" fmla="*/ 15 w 198"/>
                <a:gd name="T39" fmla="*/ 21 h 94"/>
                <a:gd name="T40" fmla="*/ 23 w 198"/>
                <a:gd name="T41" fmla="*/ 26 h 94"/>
                <a:gd name="T42" fmla="*/ 39 w 198"/>
                <a:gd name="T43" fmla="*/ 34 h 94"/>
                <a:gd name="T44" fmla="*/ 47 w 198"/>
                <a:gd name="T45" fmla="*/ 37 h 94"/>
                <a:gd name="T46" fmla="*/ 62 w 198"/>
                <a:gd name="T47" fmla="*/ 44 h 94"/>
                <a:gd name="T48" fmla="*/ 64 w 198"/>
                <a:gd name="T49" fmla="*/ 45 h 94"/>
                <a:gd name="T50" fmla="*/ 80 w 198"/>
                <a:gd name="T51" fmla="*/ 51 h 94"/>
                <a:gd name="T52" fmla="*/ 89 w 198"/>
                <a:gd name="T53" fmla="*/ 55 h 94"/>
                <a:gd name="T54" fmla="*/ 104 w 198"/>
                <a:gd name="T55" fmla="*/ 61 h 94"/>
                <a:gd name="T56" fmla="*/ 113 w 198"/>
                <a:gd name="T57" fmla="*/ 64 h 94"/>
                <a:gd name="T58" fmla="*/ 125 w 198"/>
                <a:gd name="T59" fmla="*/ 69 h 94"/>
                <a:gd name="T60" fmla="*/ 138 w 198"/>
                <a:gd name="T61" fmla="*/ 74 h 94"/>
                <a:gd name="T62" fmla="*/ 147 w 198"/>
                <a:gd name="T63" fmla="*/ 77 h 94"/>
                <a:gd name="T64" fmla="*/ 158 w 198"/>
                <a:gd name="T65" fmla="*/ 81 h 94"/>
                <a:gd name="T66" fmla="*/ 167 w 198"/>
                <a:gd name="T67" fmla="*/ 84 h 94"/>
                <a:gd name="T68" fmla="*/ 180 w 198"/>
                <a:gd name="T69" fmla="*/ 89 h 94"/>
                <a:gd name="T70" fmla="*/ 187 w 198"/>
                <a:gd name="T71" fmla="*/ 92 h 94"/>
                <a:gd name="T72" fmla="*/ 192 w 198"/>
                <a:gd name="T73" fmla="*/ 94 h 94"/>
                <a:gd name="T74" fmla="*/ 192 w 198"/>
                <a:gd name="T75" fmla="*/ 7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8" h="94">
                  <a:moveTo>
                    <a:pt x="191" y="76"/>
                  </a:moveTo>
                  <a:cubicBezTo>
                    <a:pt x="190" y="76"/>
                    <a:pt x="190" y="76"/>
                    <a:pt x="189" y="75"/>
                  </a:cubicBezTo>
                  <a:cubicBezTo>
                    <a:pt x="188" y="75"/>
                    <a:pt x="186" y="74"/>
                    <a:pt x="184" y="73"/>
                  </a:cubicBezTo>
                  <a:cubicBezTo>
                    <a:pt x="181" y="72"/>
                    <a:pt x="178" y="71"/>
                    <a:pt x="175" y="70"/>
                  </a:cubicBezTo>
                  <a:cubicBezTo>
                    <a:pt x="174" y="70"/>
                    <a:pt x="172" y="69"/>
                    <a:pt x="170" y="68"/>
                  </a:cubicBezTo>
                  <a:cubicBezTo>
                    <a:pt x="169" y="68"/>
                    <a:pt x="168" y="67"/>
                    <a:pt x="167" y="67"/>
                  </a:cubicBezTo>
                  <a:cubicBezTo>
                    <a:pt x="166" y="67"/>
                    <a:pt x="165" y="66"/>
                    <a:pt x="164" y="66"/>
                  </a:cubicBezTo>
                  <a:cubicBezTo>
                    <a:pt x="162" y="65"/>
                    <a:pt x="160" y="65"/>
                    <a:pt x="159" y="64"/>
                  </a:cubicBezTo>
                  <a:cubicBezTo>
                    <a:pt x="156" y="63"/>
                    <a:pt x="153" y="62"/>
                    <a:pt x="150" y="61"/>
                  </a:cubicBezTo>
                  <a:cubicBezTo>
                    <a:pt x="150" y="61"/>
                    <a:pt x="150" y="61"/>
                    <a:pt x="149" y="61"/>
                  </a:cubicBezTo>
                  <a:cubicBezTo>
                    <a:pt x="147" y="60"/>
                    <a:pt x="145" y="59"/>
                    <a:pt x="142" y="58"/>
                  </a:cubicBezTo>
                  <a:cubicBezTo>
                    <a:pt x="139" y="57"/>
                    <a:pt x="137" y="56"/>
                    <a:pt x="134" y="55"/>
                  </a:cubicBezTo>
                  <a:cubicBezTo>
                    <a:pt x="132" y="54"/>
                    <a:pt x="130" y="53"/>
                    <a:pt x="129" y="53"/>
                  </a:cubicBezTo>
                  <a:cubicBezTo>
                    <a:pt x="128" y="52"/>
                    <a:pt x="127" y="52"/>
                    <a:pt x="125" y="52"/>
                  </a:cubicBezTo>
                  <a:cubicBezTo>
                    <a:pt x="123" y="51"/>
                    <a:pt x="120" y="50"/>
                    <a:pt x="117" y="49"/>
                  </a:cubicBezTo>
                  <a:cubicBezTo>
                    <a:pt x="114" y="47"/>
                    <a:pt x="112" y="46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5" y="44"/>
                    <a:pt x="103" y="43"/>
                    <a:pt x="101" y="42"/>
                  </a:cubicBezTo>
                  <a:cubicBezTo>
                    <a:pt x="98" y="41"/>
                    <a:pt x="95" y="40"/>
                    <a:pt x="92" y="39"/>
                  </a:cubicBezTo>
                  <a:cubicBezTo>
                    <a:pt x="91" y="38"/>
                    <a:pt x="89" y="37"/>
                    <a:pt x="87" y="37"/>
                  </a:cubicBezTo>
                  <a:cubicBezTo>
                    <a:pt x="86" y="36"/>
                    <a:pt x="85" y="36"/>
                    <a:pt x="84" y="35"/>
                  </a:cubicBezTo>
                  <a:cubicBezTo>
                    <a:pt x="81" y="34"/>
                    <a:pt x="79" y="33"/>
                    <a:pt x="76" y="32"/>
                  </a:cubicBezTo>
                  <a:cubicBezTo>
                    <a:pt x="73" y="31"/>
                    <a:pt x="71" y="30"/>
                    <a:pt x="69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4" y="27"/>
                    <a:pt x="62" y="26"/>
                    <a:pt x="59" y="25"/>
                  </a:cubicBezTo>
                  <a:cubicBezTo>
                    <a:pt x="57" y="24"/>
                    <a:pt x="54" y="22"/>
                    <a:pt x="51" y="21"/>
                  </a:cubicBezTo>
                  <a:cubicBezTo>
                    <a:pt x="50" y="20"/>
                    <a:pt x="48" y="20"/>
                    <a:pt x="46" y="19"/>
                  </a:cubicBezTo>
                  <a:cubicBezTo>
                    <a:pt x="45" y="18"/>
                    <a:pt x="44" y="18"/>
                    <a:pt x="43" y="17"/>
                  </a:cubicBezTo>
                  <a:cubicBezTo>
                    <a:pt x="41" y="16"/>
                    <a:pt x="38" y="15"/>
                    <a:pt x="35" y="13"/>
                  </a:cubicBezTo>
                  <a:cubicBezTo>
                    <a:pt x="32" y="12"/>
                    <a:pt x="30" y="11"/>
                    <a:pt x="27" y="9"/>
                  </a:cubicBezTo>
                  <a:cubicBezTo>
                    <a:pt x="27" y="9"/>
                    <a:pt x="26" y="9"/>
                    <a:pt x="26" y="9"/>
                  </a:cubicBezTo>
                  <a:cubicBezTo>
                    <a:pt x="24" y="8"/>
                    <a:pt x="21" y="6"/>
                    <a:pt x="19" y="5"/>
                  </a:cubicBezTo>
                  <a:cubicBezTo>
                    <a:pt x="16" y="4"/>
                    <a:pt x="14" y="2"/>
                    <a:pt x="11" y="1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8" y="3"/>
                    <a:pt x="5" y="6"/>
                    <a:pt x="3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4" y="15"/>
                    <a:pt x="5" y="16"/>
                    <a:pt x="7" y="17"/>
                  </a:cubicBezTo>
                  <a:cubicBezTo>
                    <a:pt x="10" y="19"/>
                    <a:pt x="12" y="20"/>
                    <a:pt x="15" y="21"/>
                  </a:cubicBezTo>
                  <a:cubicBezTo>
                    <a:pt x="17" y="23"/>
                    <a:pt x="20" y="24"/>
                    <a:pt x="22" y="25"/>
                  </a:cubicBezTo>
                  <a:cubicBezTo>
                    <a:pt x="22" y="25"/>
                    <a:pt x="23" y="25"/>
                    <a:pt x="23" y="26"/>
                  </a:cubicBezTo>
                  <a:cubicBezTo>
                    <a:pt x="26" y="27"/>
                    <a:pt x="29" y="28"/>
                    <a:pt x="31" y="30"/>
                  </a:cubicBezTo>
                  <a:cubicBezTo>
                    <a:pt x="34" y="31"/>
                    <a:pt x="37" y="32"/>
                    <a:pt x="39" y="34"/>
                  </a:cubicBezTo>
                  <a:cubicBezTo>
                    <a:pt x="40" y="34"/>
                    <a:pt x="41" y="35"/>
                    <a:pt x="42" y="35"/>
                  </a:cubicBezTo>
                  <a:cubicBezTo>
                    <a:pt x="44" y="36"/>
                    <a:pt x="46" y="37"/>
                    <a:pt x="47" y="37"/>
                  </a:cubicBezTo>
                  <a:cubicBezTo>
                    <a:pt x="50" y="39"/>
                    <a:pt x="53" y="40"/>
                    <a:pt x="56" y="41"/>
                  </a:cubicBezTo>
                  <a:cubicBezTo>
                    <a:pt x="58" y="42"/>
                    <a:pt x="60" y="43"/>
                    <a:pt x="62" y="44"/>
                  </a:cubicBezTo>
                  <a:cubicBezTo>
                    <a:pt x="62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7" y="46"/>
                    <a:pt x="69" y="47"/>
                    <a:pt x="72" y="48"/>
                  </a:cubicBezTo>
                  <a:cubicBezTo>
                    <a:pt x="75" y="49"/>
                    <a:pt x="78" y="50"/>
                    <a:pt x="80" y="51"/>
                  </a:cubicBezTo>
                  <a:cubicBezTo>
                    <a:pt x="81" y="52"/>
                    <a:pt x="82" y="52"/>
                    <a:pt x="83" y="53"/>
                  </a:cubicBezTo>
                  <a:cubicBezTo>
                    <a:pt x="85" y="53"/>
                    <a:pt x="87" y="54"/>
                    <a:pt x="89" y="55"/>
                  </a:cubicBezTo>
                  <a:cubicBezTo>
                    <a:pt x="91" y="56"/>
                    <a:pt x="94" y="57"/>
                    <a:pt x="97" y="58"/>
                  </a:cubicBezTo>
                  <a:cubicBezTo>
                    <a:pt x="99" y="59"/>
                    <a:pt x="102" y="60"/>
                    <a:pt x="104" y="61"/>
                  </a:cubicBezTo>
                  <a:cubicBezTo>
                    <a:pt x="104" y="61"/>
                    <a:pt x="105" y="61"/>
                    <a:pt x="105" y="61"/>
                  </a:cubicBezTo>
                  <a:cubicBezTo>
                    <a:pt x="108" y="62"/>
                    <a:pt x="111" y="63"/>
                    <a:pt x="113" y="64"/>
                  </a:cubicBezTo>
                  <a:cubicBezTo>
                    <a:pt x="116" y="65"/>
                    <a:pt x="119" y="66"/>
                    <a:pt x="122" y="67"/>
                  </a:cubicBezTo>
                  <a:cubicBezTo>
                    <a:pt x="123" y="68"/>
                    <a:pt x="124" y="68"/>
                    <a:pt x="125" y="69"/>
                  </a:cubicBezTo>
                  <a:cubicBezTo>
                    <a:pt x="127" y="69"/>
                    <a:pt x="128" y="70"/>
                    <a:pt x="130" y="71"/>
                  </a:cubicBezTo>
                  <a:cubicBezTo>
                    <a:pt x="133" y="72"/>
                    <a:pt x="136" y="73"/>
                    <a:pt x="138" y="74"/>
                  </a:cubicBezTo>
                  <a:cubicBezTo>
                    <a:pt x="141" y="75"/>
                    <a:pt x="143" y="75"/>
                    <a:pt x="146" y="76"/>
                  </a:cubicBezTo>
                  <a:cubicBezTo>
                    <a:pt x="146" y="76"/>
                    <a:pt x="146" y="77"/>
                    <a:pt x="147" y="77"/>
                  </a:cubicBezTo>
                  <a:cubicBezTo>
                    <a:pt x="150" y="78"/>
                    <a:pt x="152" y="79"/>
                    <a:pt x="155" y="80"/>
                  </a:cubicBezTo>
                  <a:cubicBezTo>
                    <a:pt x="156" y="80"/>
                    <a:pt x="157" y="80"/>
                    <a:pt x="158" y="81"/>
                  </a:cubicBezTo>
                  <a:cubicBezTo>
                    <a:pt x="160" y="82"/>
                    <a:pt x="162" y="82"/>
                    <a:pt x="163" y="83"/>
                  </a:cubicBezTo>
                  <a:cubicBezTo>
                    <a:pt x="164" y="83"/>
                    <a:pt x="165" y="84"/>
                    <a:pt x="167" y="84"/>
                  </a:cubicBezTo>
                  <a:cubicBezTo>
                    <a:pt x="168" y="85"/>
                    <a:pt x="170" y="85"/>
                    <a:pt x="172" y="86"/>
                  </a:cubicBezTo>
                  <a:cubicBezTo>
                    <a:pt x="175" y="87"/>
                    <a:pt x="177" y="88"/>
                    <a:pt x="180" y="89"/>
                  </a:cubicBezTo>
                  <a:cubicBezTo>
                    <a:pt x="181" y="89"/>
                    <a:pt x="182" y="90"/>
                    <a:pt x="183" y="90"/>
                  </a:cubicBezTo>
                  <a:cubicBezTo>
                    <a:pt x="185" y="91"/>
                    <a:pt x="186" y="91"/>
                    <a:pt x="187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91" y="93"/>
                    <a:pt x="192" y="94"/>
                    <a:pt x="192" y="94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6" y="78"/>
                    <a:pt x="192" y="76"/>
                  </a:cubicBezTo>
                  <a:cubicBezTo>
                    <a:pt x="192" y="76"/>
                    <a:pt x="191" y="76"/>
                    <a:pt x="191" y="7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Freeform 14"/>
            <p:cNvSpPr>
              <a:spLocks/>
            </p:cNvSpPr>
            <p:nvPr/>
          </p:nvSpPr>
          <p:spPr bwMode="auto">
            <a:xfrm>
              <a:off x="1735138" y="1722438"/>
              <a:ext cx="373063" cy="80963"/>
            </a:xfrm>
            <a:custGeom>
              <a:avLst/>
              <a:gdLst>
                <a:gd name="T0" fmla="*/ 135 w 147"/>
                <a:gd name="T1" fmla="*/ 16 h 32"/>
                <a:gd name="T2" fmla="*/ 134 w 147"/>
                <a:gd name="T3" fmla="*/ 15 h 32"/>
                <a:gd name="T4" fmla="*/ 126 w 147"/>
                <a:gd name="T5" fmla="*/ 14 h 32"/>
                <a:gd name="T6" fmla="*/ 117 w 147"/>
                <a:gd name="T7" fmla="*/ 13 h 32"/>
                <a:gd name="T8" fmla="*/ 112 w 147"/>
                <a:gd name="T9" fmla="*/ 12 h 32"/>
                <a:gd name="T10" fmla="*/ 109 w 147"/>
                <a:gd name="T11" fmla="*/ 12 h 32"/>
                <a:gd name="T12" fmla="*/ 100 w 147"/>
                <a:gd name="T13" fmla="*/ 11 h 32"/>
                <a:gd name="T14" fmla="*/ 91 w 147"/>
                <a:gd name="T15" fmla="*/ 10 h 32"/>
                <a:gd name="T16" fmla="*/ 90 w 147"/>
                <a:gd name="T17" fmla="*/ 9 h 32"/>
                <a:gd name="T18" fmla="*/ 82 w 147"/>
                <a:gd name="T19" fmla="*/ 9 h 32"/>
                <a:gd name="T20" fmla="*/ 74 w 147"/>
                <a:gd name="T21" fmla="*/ 8 h 32"/>
                <a:gd name="T22" fmla="*/ 68 w 147"/>
                <a:gd name="T23" fmla="*/ 7 h 32"/>
                <a:gd name="T24" fmla="*/ 65 w 147"/>
                <a:gd name="T25" fmla="*/ 6 h 32"/>
                <a:gd name="T26" fmla="*/ 56 w 147"/>
                <a:gd name="T27" fmla="*/ 6 h 32"/>
                <a:gd name="T28" fmla="*/ 47 w 147"/>
                <a:gd name="T29" fmla="*/ 5 h 32"/>
                <a:gd name="T30" fmla="*/ 46 w 147"/>
                <a:gd name="T31" fmla="*/ 4 h 32"/>
                <a:gd name="T32" fmla="*/ 38 w 147"/>
                <a:gd name="T33" fmla="*/ 4 h 32"/>
                <a:gd name="T34" fmla="*/ 37 w 147"/>
                <a:gd name="T35" fmla="*/ 3 h 32"/>
                <a:gd name="T36" fmla="*/ 30 w 147"/>
                <a:gd name="T37" fmla="*/ 3 h 32"/>
                <a:gd name="T38" fmla="*/ 24 w 147"/>
                <a:gd name="T39" fmla="*/ 2 h 32"/>
                <a:gd name="T40" fmla="*/ 21 w 147"/>
                <a:gd name="T41" fmla="*/ 2 h 32"/>
                <a:gd name="T42" fmla="*/ 12 w 147"/>
                <a:gd name="T43" fmla="*/ 1 h 32"/>
                <a:gd name="T44" fmla="*/ 3 w 147"/>
                <a:gd name="T45" fmla="*/ 0 h 32"/>
                <a:gd name="T46" fmla="*/ 2 w 147"/>
                <a:gd name="T47" fmla="*/ 0 h 32"/>
                <a:gd name="T48" fmla="*/ 0 w 147"/>
                <a:gd name="T49" fmla="*/ 0 h 32"/>
                <a:gd name="T50" fmla="*/ 0 w 147"/>
                <a:gd name="T51" fmla="*/ 8 h 32"/>
                <a:gd name="T52" fmla="*/ 0 w 147"/>
                <a:gd name="T53" fmla="*/ 14 h 32"/>
                <a:gd name="T54" fmla="*/ 0 w 147"/>
                <a:gd name="T55" fmla="*/ 14 h 32"/>
                <a:gd name="T56" fmla="*/ 9 w 147"/>
                <a:gd name="T57" fmla="*/ 15 h 32"/>
                <a:gd name="T58" fmla="*/ 17 w 147"/>
                <a:gd name="T59" fmla="*/ 16 h 32"/>
                <a:gd name="T60" fmla="*/ 20 w 147"/>
                <a:gd name="T61" fmla="*/ 16 h 32"/>
                <a:gd name="T62" fmla="*/ 26 w 147"/>
                <a:gd name="T63" fmla="*/ 17 h 32"/>
                <a:gd name="T64" fmla="*/ 35 w 147"/>
                <a:gd name="T65" fmla="*/ 18 h 32"/>
                <a:gd name="T66" fmla="*/ 35 w 147"/>
                <a:gd name="T67" fmla="*/ 18 h 32"/>
                <a:gd name="T68" fmla="*/ 43 w 147"/>
                <a:gd name="T69" fmla="*/ 18 h 32"/>
                <a:gd name="T70" fmla="*/ 44 w 147"/>
                <a:gd name="T71" fmla="*/ 18 h 32"/>
                <a:gd name="T72" fmla="*/ 53 w 147"/>
                <a:gd name="T73" fmla="*/ 19 h 32"/>
                <a:gd name="T74" fmla="*/ 61 w 147"/>
                <a:gd name="T75" fmla="*/ 20 h 32"/>
                <a:gd name="T76" fmla="*/ 65 w 147"/>
                <a:gd name="T77" fmla="*/ 21 h 32"/>
                <a:gd name="T78" fmla="*/ 70 w 147"/>
                <a:gd name="T79" fmla="*/ 21 h 32"/>
                <a:gd name="T80" fmla="*/ 79 w 147"/>
                <a:gd name="T81" fmla="*/ 23 h 32"/>
                <a:gd name="T82" fmla="*/ 87 w 147"/>
                <a:gd name="T83" fmla="*/ 24 h 32"/>
                <a:gd name="T84" fmla="*/ 88 w 147"/>
                <a:gd name="T85" fmla="*/ 24 h 32"/>
                <a:gd name="T86" fmla="*/ 97 w 147"/>
                <a:gd name="T87" fmla="*/ 25 h 32"/>
                <a:gd name="T88" fmla="*/ 105 w 147"/>
                <a:gd name="T89" fmla="*/ 26 h 32"/>
                <a:gd name="T90" fmla="*/ 109 w 147"/>
                <a:gd name="T91" fmla="*/ 26 h 32"/>
                <a:gd name="T92" fmla="*/ 114 w 147"/>
                <a:gd name="T93" fmla="*/ 27 h 32"/>
                <a:gd name="T94" fmla="*/ 123 w 147"/>
                <a:gd name="T95" fmla="*/ 28 h 32"/>
                <a:gd name="T96" fmla="*/ 130 w 147"/>
                <a:gd name="T97" fmla="*/ 30 h 32"/>
                <a:gd name="T98" fmla="*/ 132 w 147"/>
                <a:gd name="T99" fmla="*/ 30 h 32"/>
                <a:gd name="T100" fmla="*/ 140 w 147"/>
                <a:gd name="T101" fmla="*/ 31 h 32"/>
                <a:gd name="T102" fmla="*/ 144 w 147"/>
                <a:gd name="T103" fmla="*/ 32 h 32"/>
                <a:gd name="T104" fmla="*/ 147 w 147"/>
                <a:gd name="T105" fmla="*/ 17 h 32"/>
                <a:gd name="T106" fmla="*/ 144 w 147"/>
                <a:gd name="T107" fmla="*/ 17 h 32"/>
                <a:gd name="T108" fmla="*/ 135 w 147"/>
                <a:gd name="T10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" h="32">
                  <a:moveTo>
                    <a:pt x="135" y="16"/>
                  </a:moveTo>
                  <a:cubicBezTo>
                    <a:pt x="135" y="16"/>
                    <a:pt x="134" y="15"/>
                    <a:pt x="134" y="15"/>
                  </a:cubicBezTo>
                  <a:cubicBezTo>
                    <a:pt x="131" y="15"/>
                    <a:pt x="129" y="15"/>
                    <a:pt x="126" y="14"/>
                  </a:cubicBezTo>
                  <a:cubicBezTo>
                    <a:pt x="123" y="14"/>
                    <a:pt x="120" y="13"/>
                    <a:pt x="117" y="13"/>
                  </a:cubicBezTo>
                  <a:cubicBezTo>
                    <a:pt x="116" y="13"/>
                    <a:pt x="114" y="13"/>
                    <a:pt x="112" y="12"/>
                  </a:cubicBezTo>
                  <a:cubicBezTo>
                    <a:pt x="111" y="12"/>
                    <a:pt x="110" y="12"/>
                    <a:pt x="109" y="12"/>
                  </a:cubicBezTo>
                  <a:cubicBezTo>
                    <a:pt x="106" y="12"/>
                    <a:pt x="103" y="11"/>
                    <a:pt x="100" y="11"/>
                  </a:cubicBezTo>
                  <a:cubicBezTo>
                    <a:pt x="97" y="10"/>
                    <a:pt x="94" y="10"/>
                    <a:pt x="91" y="10"/>
                  </a:cubicBezTo>
                  <a:cubicBezTo>
                    <a:pt x="91" y="10"/>
                    <a:pt x="90" y="10"/>
                    <a:pt x="90" y="9"/>
                  </a:cubicBezTo>
                  <a:cubicBezTo>
                    <a:pt x="87" y="9"/>
                    <a:pt x="85" y="9"/>
                    <a:pt x="82" y="9"/>
                  </a:cubicBezTo>
                  <a:cubicBezTo>
                    <a:pt x="79" y="8"/>
                    <a:pt x="77" y="8"/>
                    <a:pt x="74" y="8"/>
                  </a:cubicBezTo>
                  <a:cubicBezTo>
                    <a:pt x="72" y="7"/>
                    <a:pt x="70" y="7"/>
                    <a:pt x="68" y="7"/>
                  </a:cubicBezTo>
                  <a:cubicBezTo>
                    <a:pt x="67" y="7"/>
                    <a:pt x="66" y="7"/>
                    <a:pt x="65" y="6"/>
                  </a:cubicBezTo>
                  <a:cubicBezTo>
                    <a:pt x="62" y="6"/>
                    <a:pt x="59" y="6"/>
                    <a:pt x="56" y="6"/>
                  </a:cubicBezTo>
                  <a:cubicBezTo>
                    <a:pt x="53" y="5"/>
                    <a:pt x="50" y="5"/>
                    <a:pt x="47" y="5"/>
                  </a:cubicBezTo>
                  <a:cubicBezTo>
                    <a:pt x="47" y="5"/>
                    <a:pt x="46" y="4"/>
                    <a:pt x="46" y="4"/>
                  </a:cubicBezTo>
                  <a:cubicBezTo>
                    <a:pt x="43" y="4"/>
                    <a:pt x="41" y="4"/>
                    <a:pt x="38" y="4"/>
                  </a:cubicBezTo>
                  <a:cubicBezTo>
                    <a:pt x="38" y="4"/>
                    <a:pt x="37" y="3"/>
                    <a:pt x="37" y="3"/>
                  </a:cubicBezTo>
                  <a:cubicBezTo>
                    <a:pt x="34" y="3"/>
                    <a:pt x="32" y="3"/>
                    <a:pt x="30" y="3"/>
                  </a:cubicBezTo>
                  <a:cubicBezTo>
                    <a:pt x="28" y="3"/>
                    <a:pt x="26" y="2"/>
                    <a:pt x="24" y="2"/>
                  </a:cubicBezTo>
                  <a:cubicBezTo>
                    <a:pt x="23" y="2"/>
                    <a:pt x="22" y="2"/>
                    <a:pt x="21" y="2"/>
                  </a:cubicBezTo>
                  <a:cubicBezTo>
                    <a:pt x="18" y="2"/>
                    <a:pt x="15" y="1"/>
                    <a:pt x="12" y="1"/>
                  </a:cubicBezTo>
                  <a:cubicBezTo>
                    <a:pt x="9" y="1"/>
                    <a:pt x="6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0" y="10"/>
                    <a:pt x="0" y="1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4"/>
                    <a:pt x="6" y="15"/>
                    <a:pt x="9" y="15"/>
                  </a:cubicBezTo>
                  <a:cubicBezTo>
                    <a:pt x="12" y="15"/>
                    <a:pt x="14" y="16"/>
                    <a:pt x="17" y="16"/>
                  </a:cubicBezTo>
                  <a:cubicBezTo>
                    <a:pt x="18" y="16"/>
                    <a:pt x="19" y="16"/>
                    <a:pt x="20" y="16"/>
                  </a:cubicBezTo>
                  <a:cubicBezTo>
                    <a:pt x="22" y="16"/>
                    <a:pt x="24" y="16"/>
                    <a:pt x="26" y="17"/>
                  </a:cubicBezTo>
                  <a:cubicBezTo>
                    <a:pt x="29" y="17"/>
                    <a:pt x="32" y="17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8" y="18"/>
                    <a:pt x="40" y="18"/>
                    <a:pt x="43" y="18"/>
                  </a:cubicBezTo>
                  <a:cubicBezTo>
                    <a:pt x="43" y="18"/>
                    <a:pt x="43" y="18"/>
                    <a:pt x="44" y="18"/>
                  </a:cubicBezTo>
                  <a:cubicBezTo>
                    <a:pt x="47" y="19"/>
                    <a:pt x="50" y="19"/>
                    <a:pt x="53" y="19"/>
                  </a:cubicBezTo>
                  <a:cubicBezTo>
                    <a:pt x="56" y="20"/>
                    <a:pt x="59" y="20"/>
                    <a:pt x="61" y="20"/>
                  </a:cubicBezTo>
                  <a:cubicBezTo>
                    <a:pt x="63" y="21"/>
                    <a:pt x="64" y="21"/>
                    <a:pt x="65" y="21"/>
                  </a:cubicBezTo>
                  <a:cubicBezTo>
                    <a:pt x="66" y="21"/>
                    <a:pt x="68" y="21"/>
                    <a:pt x="70" y="21"/>
                  </a:cubicBezTo>
                  <a:cubicBezTo>
                    <a:pt x="73" y="22"/>
                    <a:pt x="76" y="22"/>
                    <a:pt x="79" y="23"/>
                  </a:cubicBezTo>
                  <a:cubicBezTo>
                    <a:pt x="82" y="23"/>
                    <a:pt x="84" y="23"/>
                    <a:pt x="87" y="24"/>
                  </a:cubicBezTo>
                  <a:cubicBezTo>
                    <a:pt x="87" y="24"/>
                    <a:pt x="87" y="24"/>
                    <a:pt x="88" y="24"/>
                  </a:cubicBezTo>
                  <a:cubicBezTo>
                    <a:pt x="91" y="24"/>
                    <a:pt x="94" y="24"/>
                    <a:pt x="97" y="25"/>
                  </a:cubicBezTo>
                  <a:cubicBezTo>
                    <a:pt x="100" y="25"/>
                    <a:pt x="102" y="26"/>
                    <a:pt x="105" y="26"/>
                  </a:cubicBezTo>
                  <a:cubicBezTo>
                    <a:pt x="106" y="26"/>
                    <a:pt x="107" y="26"/>
                    <a:pt x="109" y="26"/>
                  </a:cubicBezTo>
                  <a:cubicBezTo>
                    <a:pt x="110" y="27"/>
                    <a:pt x="112" y="27"/>
                    <a:pt x="114" y="27"/>
                  </a:cubicBezTo>
                  <a:cubicBezTo>
                    <a:pt x="117" y="28"/>
                    <a:pt x="120" y="28"/>
                    <a:pt x="123" y="28"/>
                  </a:cubicBezTo>
                  <a:cubicBezTo>
                    <a:pt x="125" y="29"/>
                    <a:pt x="128" y="29"/>
                    <a:pt x="130" y="30"/>
                  </a:cubicBezTo>
                  <a:cubicBezTo>
                    <a:pt x="131" y="30"/>
                    <a:pt x="131" y="30"/>
                    <a:pt x="132" y="30"/>
                  </a:cubicBezTo>
                  <a:cubicBezTo>
                    <a:pt x="134" y="30"/>
                    <a:pt x="137" y="31"/>
                    <a:pt x="140" y="31"/>
                  </a:cubicBezTo>
                  <a:cubicBezTo>
                    <a:pt x="142" y="31"/>
                    <a:pt x="143" y="31"/>
                    <a:pt x="144" y="32"/>
                  </a:cubicBezTo>
                  <a:cubicBezTo>
                    <a:pt x="145" y="27"/>
                    <a:pt x="146" y="22"/>
                    <a:pt x="147" y="17"/>
                  </a:cubicBezTo>
                  <a:cubicBezTo>
                    <a:pt x="146" y="17"/>
                    <a:pt x="145" y="17"/>
                    <a:pt x="144" y="17"/>
                  </a:cubicBezTo>
                  <a:cubicBezTo>
                    <a:pt x="141" y="16"/>
                    <a:pt x="138" y="16"/>
                    <a:pt x="135" y="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Freeform 15"/>
            <p:cNvSpPr>
              <a:spLocks/>
            </p:cNvSpPr>
            <p:nvPr/>
          </p:nvSpPr>
          <p:spPr bwMode="auto">
            <a:xfrm>
              <a:off x="1208088" y="1685925"/>
              <a:ext cx="411163" cy="61913"/>
            </a:xfrm>
            <a:custGeom>
              <a:avLst/>
              <a:gdLst>
                <a:gd name="T0" fmla="*/ 149 w 162"/>
                <a:gd name="T1" fmla="*/ 9 h 24"/>
                <a:gd name="T2" fmla="*/ 143 w 162"/>
                <a:gd name="T3" fmla="*/ 9 h 24"/>
                <a:gd name="T4" fmla="*/ 140 w 162"/>
                <a:gd name="T5" fmla="*/ 9 h 24"/>
                <a:gd name="T6" fmla="*/ 131 w 162"/>
                <a:gd name="T7" fmla="*/ 8 h 24"/>
                <a:gd name="T8" fmla="*/ 122 w 162"/>
                <a:gd name="T9" fmla="*/ 8 h 24"/>
                <a:gd name="T10" fmla="*/ 121 w 162"/>
                <a:gd name="T11" fmla="*/ 7 h 24"/>
                <a:gd name="T12" fmla="*/ 113 w 162"/>
                <a:gd name="T13" fmla="*/ 7 h 24"/>
                <a:gd name="T14" fmla="*/ 104 w 162"/>
                <a:gd name="T15" fmla="*/ 6 h 24"/>
                <a:gd name="T16" fmla="*/ 98 w 162"/>
                <a:gd name="T17" fmla="*/ 6 h 24"/>
                <a:gd name="T18" fmla="*/ 96 w 162"/>
                <a:gd name="T19" fmla="*/ 6 h 24"/>
                <a:gd name="T20" fmla="*/ 87 w 162"/>
                <a:gd name="T21" fmla="*/ 5 h 24"/>
                <a:gd name="T22" fmla="*/ 78 w 162"/>
                <a:gd name="T23" fmla="*/ 5 h 24"/>
                <a:gd name="T24" fmla="*/ 76 w 162"/>
                <a:gd name="T25" fmla="*/ 5 h 24"/>
                <a:gd name="T26" fmla="*/ 69 w 162"/>
                <a:gd name="T27" fmla="*/ 4 h 24"/>
                <a:gd name="T28" fmla="*/ 60 w 162"/>
                <a:gd name="T29" fmla="*/ 4 h 24"/>
                <a:gd name="T30" fmla="*/ 54 w 162"/>
                <a:gd name="T31" fmla="*/ 3 h 24"/>
                <a:gd name="T32" fmla="*/ 51 w 162"/>
                <a:gd name="T33" fmla="*/ 3 h 24"/>
                <a:gd name="T34" fmla="*/ 42 w 162"/>
                <a:gd name="T35" fmla="*/ 3 h 24"/>
                <a:gd name="T36" fmla="*/ 33 w 162"/>
                <a:gd name="T37" fmla="*/ 2 h 24"/>
                <a:gd name="T38" fmla="*/ 31 w 162"/>
                <a:gd name="T39" fmla="*/ 2 h 24"/>
                <a:gd name="T40" fmla="*/ 24 w 162"/>
                <a:gd name="T41" fmla="*/ 2 h 24"/>
                <a:gd name="T42" fmla="*/ 15 w 162"/>
                <a:gd name="T43" fmla="*/ 1 h 24"/>
                <a:gd name="T44" fmla="*/ 9 w 162"/>
                <a:gd name="T45" fmla="*/ 1 h 24"/>
                <a:gd name="T46" fmla="*/ 6 w 162"/>
                <a:gd name="T47" fmla="*/ 1 h 24"/>
                <a:gd name="T48" fmla="*/ 0 w 162"/>
                <a:gd name="T49" fmla="*/ 0 h 24"/>
                <a:gd name="T50" fmla="*/ 0 w 162"/>
                <a:gd name="T51" fmla="*/ 14 h 24"/>
                <a:gd name="T52" fmla="*/ 3 w 162"/>
                <a:gd name="T53" fmla="*/ 14 h 24"/>
                <a:gd name="T54" fmla="*/ 6 w 162"/>
                <a:gd name="T55" fmla="*/ 14 h 24"/>
                <a:gd name="T56" fmla="*/ 12 w 162"/>
                <a:gd name="T57" fmla="*/ 14 h 24"/>
                <a:gd name="T58" fmla="*/ 21 w 162"/>
                <a:gd name="T59" fmla="*/ 15 h 24"/>
                <a:gd name="T60" fmla="*/ 28 w 162"/>
                <a:gd name="T61" fmla="*/ 15 h 24"/>
                <a:gd name="T62" fmla="*/ 30 w 162"/>
                <a:gd name="T63" fmla="*/ 15 h 24"/>
                <a:gd name="T64" fmla="*/ 39 w 162"/>
                <a:gd name="T65" fmla="*/ 16 h 24"/>
                <a:gd name="T66" fmla="*/ 48 w 162"/>
                <a:gd name="T67" fmla="*/ 17 h 24"/>
                <a:gd name="T68" fmla="*/ 51 w 162"/>
                <a:gd name="T69" fmla="*/ 17 h 24"/>
                <a:gd name="T70" fmla="*/ 57 w 162"/>
                <a:gd name="T71" fmla="*/ 17 h 24"/>
                <a:gd name="T72" fmla="*/ 66 w 162"/>
                <a:gd name="T73" fmla="*/ 18 h 24"/>
                <a:gd name="T74" fmla="*/ 73 w 162"/>
                <a:gd name="T75" fmla="*/ 18 h 24"/>
                <a:gd name="T76" fmla="*/ 75 w 162"/>
                <a:gd name="T77" fmla="*/ 18 h 24"/>
                <a:gd name="T78" fmla="*/ 83 w 162"/>
                <a:gd name="T79" fmla="*/ 19 h 24"/>
                <a:gd name="T80" fmla="*/ 92 w 162"/>
                <a:gd name="T81" fmla="*/ 19 h 24"/>
                <a:gd name="T82" fmla="*/ 95 w 162"/>
                <a:gd name="T83" fmla="*/ 19 h 24"/>
                <a:gd name="T84" fmla="*/ 101 w 162"/>
                <a:gd name="T85" fmla="*/ 20 h 24"/>
                <a:gd name="T86" fmla="*/ 110 w 162"/>
                <a:gd name="T87" fmla="*/ 20 h 24"/>
                <a:gd name="T88" fmla="*/ 117 w 162"/>
                <a:gd name="T89" fmla="*/ 21 h 24"/>
                <a:gd name="T90" fmla="*/ 119 w 162"/>
                <a:gd name="T91" fmla="*/ 21 h 24"/>
                <a:gd name="T92" fmla="*/ 128 w 162"/>
                <a:gd name="T93" fmla="*/ 22 h 24"/>
                <a:gd name="T94" fmla="*/ 137 w 162"/>
                <a:gd name="T95" fmla="*/ 22 h 24"/>
                <a:gd name="T96" fmla="*/ 140 w 162"/>
                <a:gd name="T97" fmla="*/ 23 h 24"/>
                <a:gd name="T98" fmla="*/ 146 w 162"/>
                <a:gd name="T99" fmla="*/ 23 h 24"/>
                <a:gd name="T100" fmla="*/ 155 w 162"/>
                <a:gd name="T101" fmla="*/ 24 h 24"/>
                <a:gd name="T102" fmla="*/ 162 w 162"/>
                <a:gd name="T103" fmla="*/ 24 h 24"/>
                <a:gd name="T104" fmla="*/ 162 w 162"/>
                <a:gd name="T105" fmla="*/ 10 h 24"/>
                <a:gd name="T106" fmla="*/ 158 w 162"/>
                <a:gd name="T107" fmla="*/ 10 h 24"/>
                <a:gd name="T108" fmla="*/ 149 w 162"/>
                <a:gd name="T10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" h="24">
                  <a:moveTo>
                    <a:pt x="149" y="9"/>
                  </a:moveTo>
                  <a:cubicBezTo>
                    <a:pt x="147" y="9"/>
                    <a:pt x="145" y="9"/>
                    <a:pt x="143" y="9"/>
                  </a:cubicBezTo>
                  <a:cubicBezTo>
                    <a:pt x="142" y="9"/>
                    <a:pt x="141" y="9"/>
                    <a:pt x="140" y="9"/>
                  </a:cubicBezTo>
                  <a:cubicBezTo>
                    <a:pt x="137" y="9"/>
                    <a:pt x="134" y="8"/>
                    <a:pt x="131" y="8"/>
                  </a:cubicBezTo>
                  <a:cubicBezTo>
                    <a:pt x="128" y="8"/>
                    <a:pt x="125" y="8"/>
                    <a:pt x="122" y="8"/>
                  </a:cubicBezTo>
                  <a:cubicBezTo>
                    <a:pt x="122" y="8"/>
                    <a:pt x="121" y="7"/>
                    <a:pt x="121" y="7"/>
                  </a:cubicBezTo>
                  <a:cubicBezTo>
                    <a:pt x="118" y="7"/>
                    <a:pt x="116" y="7"/>
                    <a:pt x="113" y="7"/>
                  </a:cubicBezTo>
                  <a:cubicBezTo>
                    <a:pt x="110" y="7"/>
                    <a:pt x="107" y="7"/>
                    <a:pt x="104" y="6"/>
                  </a:cubicBezTo>
                  <a:cubicBezTo>
                    <a:pt x="102" y="6"/>
                    <a:pt x="100" y="6"/>
                    <a:pt x="98" y="6"/>
                  </a:cubicBezTo>
                  <a:cubicBezTo>
                    <a:pt x="97" y="6"/>
                    <a:pt x="96" y="6"/>
                    <a:pt x="96" y="6"/>
                  </a:cubicBezTo>
                  <a:cubicBezTo>
                    <a:pt x="93" y="6"/>
                    <a:pt x="90" y="5"/>
                    <a:pt x="87" y="5"/>
                  </a:cubicBezTo>
                  <a:cubicBezTo>
                    <a:pt x="84" y="5"/>
                    <a:pt x="81" y="5"/>
                    <a:pt x="78" y="5"/>
                  </a:cubicBezTo>
                  <a:cubicBezTo>
                    <a:pt x="77" y="5"/>
                    <a:pt x="77" y="5"/>
                    <a:pt x="76" y="5"/>
                  </a:cubicBezTo>
                  <a:cubicBezTo>
                    <a:pt x="74" y="5"/>
                    <a:pt x="71" y="4"/>
                    <a:pt x="69" y="4"/>
                  </a:cubicBezTo>
                  <a:cubicBezTo>
                    <a:pt x="66" y="4"/>
                    <a:pt x="63" y="4"/>
                    <a:pt x="60" y="4"/>
                  </a:cubicBezTo>
                  <a:cubicBezTo>
                    <a:pt x="58" y="4"/>
                    <a:pt x="56" y="4"/>
                    <a:pt x="54" y="3"/>
                  </a:cubicBezTo>
                  <a:cubicBezTo>
                    <a:pt x="53" y="3"/>
                    <a:pt x="52" y="3"/>
                    <a:pt x="51" y="3"/>
                  </a:cubicBezTo>
                  <a:cubicBezTo>
                    <a:pt x="48" y="3"/>
                    <a:pt x="45" y="3"/>
                    <a:pt x="42" y="3"/>
                  </a:cubicBezTo>
                  <a:cubicBezTo>
                    <a:pt x="39" y="3"/>
                    <a:pt x="36" y="2"/>
                    <a:pt x="33" y="2"/>
                  </a:cubicBezTo>
                  <a:cubicBezTo>
                    <a:pt x="33" y="2"/>
                    <a:pt x="32" y="2"/>
                    <a:pt x="31" y="2"/>
                  </a:cubicBezTo>
                  <a:cubicBezTo>
                    <a:pt x="29" y="2"/>
                    <a:pt x="27" y="2"/>
                    <a:pt x="24" y="2"/>
                  </a:cubicBezTo>
                  <a:cubicBezTo>
                    <a:pt x="21" y="2"/>
                    <a:pt x="18" y="1"/>
                    <a:pt x="15" y="1"/>
                  </a:cubicBezTo>
                  <a:cubicBezTo>
                    <a:pt x="13" y="1"/>
                    <a:pt x="11" y="1"/>
                    <a:pt x="9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ubicBezTo>
                    <a:pt x="0" y="5"/>
                    <a:pt x="0" y="9"/>
                    <a:pt x="0" y="14"/>
                  </a:cubicBezTo>
                  <a:cubicBezTo>
                    <a:pt x="1" y="14"/>
                    <a:pt x="2" y="14"/>
                    <a:pt x="3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8" y="14"/>
                    <a:pt x="10" y="14"/>
                    <a:pt x="12" y="14"/>
                  </a:cubicBezTo>
                  <a:cubicBezTo>
                    <a:pt x="15" y="15"/>
                    <a:pt x="18" y="15"/>
                    <a:pt x="21" y="15"/>
                  </a:cubicBezTo>
                  <a:cubicBezTo>
                    <a:pt x="23" y="15"/>
                    <a:pt x="26" y="15"/>
                    <a:pt x="28" y="15"/>
                  </a:cubicBezTo>
                  <a:cubicBezTo>
                    <a:pt x="29" y="15"/>
                    <a:pt x="29" y="15"/>
                    <a:pt x="30" y="15"/>
                  </a:cubicBezTo>
                  <a:cubicBezTo>
                    <a:pt x="33" y="16"/>
                    <a:pt x="36" y="16"/>
                    <a:pt x="39" y="16"/>
                  </a:cubicBezTo>
                  <a:cubicBezTo>
                    <a:pt x="42" y="16"/>
                    <a:pt x="45" y="16"/>
                    <a:pt x="48" y="17"/>
                  </a:cubicBezTo>
                  <a:cubicBezTo>
                    <a:pt x="49" y="17"/>
                    <a:pt x="50" y="17"/>
                    <a:pt x="51" y="17"/>
                  </a:cubicBezTo>
                  <a:cubicBezTo>
                    <a:pt x="53" y="17"/>
                    <a:pt x="55" y="17"/>
                    <a:pt x="57" y="17"/>
                  </a:cubicBezTo>
                  <a:cubicBezTo>
                    <a:pt x="60" y="17"/>
                    <a:pt x="63" y="17"/>
                    <a:pt x="66" y="18"/>
                  </a:cubicBezTo>
                  <a:cubicBezTo>
                    <a:pt x="68" y="18"/>
                    <a:pt x="70" y="18"/>
                    <a:pt x="73" y="18"/>
                  </a:cubicBezTo>
                  <a:cubicBezTo>
                    <a:pt x="73" y="18"/>
                    <a:pt x="74" y="18"/>
                    <a:pt x="75" y="18"/>
                  </a:cubicBezTo>
                  <a:cubicBezTo>
                    <a:pt x="78" y="18"/>
                    <a:pt x="80" y="19"/>
                    <a:pt x="83" y="19"/>
                  </a:cubicBezTo>
                  <a:cubicBezTo>
                    <a:pt x="86" y="19"/>
                    <a:pt x="89" y="19"/>
                    <a:pt x="92" y="19"/>
                  </a:cubicBezTo>
                  <a:cubicBezTo>
                    <a:pt x="93" y="19"/>
                    <a:pt x="94" y="19"/>
                    <a:pt x="95" y="19"/>
                  </a:cubicBezTo>
                  <a:cubicBezTo>
                    <a:pt x="97" y="20"/>
                    <a:pt x="99" y="20"/>
                    <a:pt x="101" y="20"/>
                  </a:cubicBezTo>
                  <a:cubicBezTo>
                    <a:pt x="104" y="20"/>
                    <a:pt x="107" y="20"/>
                    <a:pt x="110" y="20"/>
                  </a:cubicBezTo>
                  <a:cubicBezTo>
                    <a:pt x="113" y="21"/>
                    <a:pt x="115" y="21"/>
                    <a:pt x="117" y="21"/>
                  </a:cubicBezTo>
                  <a:cubicBezTo>
                    <a:pt x="118" y="21"/>
                    <a:pt x="118" y="21"/>
                    <a:pt x="119" y="21"/>
                  </a:cubicBezTo>
                  <a:cubicBezTo>
                    <a:pt x="122" y="21"/>
                    <a:pt x="125" y="21"/>
                    <a:pt x="128" y="22"/>
                  </a:cubicBezTo>
                  <a:cubicBezTo>
                    <a:pt x="131" y="22"/>
                    <a:pt x="134" y="22"/>
                    <a:pt x="137" y="22"/>
                  </a:cubicBezTo>
                  <a:cubicBezTo>
                    <a:pt x="138" y="22"/>
                    <a:pt x="139" y="22"/>
                    <a:pt x="140" y="23"/>
                  </a:cubicBezTo>
                  <a:cubicBezTo>
                    <a:pt x="142" y="23"/>
                    <a:pt x="144" y="23"/>
                    <a:pt x="146" y="23"/>
                  </a:cubicBezTo>
                  <a:cubicBezTo>
                    <a:pt x="149" y="23"/>
                    <a:pt x="152" y="23"/>
                    <a:pt x="155" y="24"/>
                  </a:cubicBezTo>
                  <a:cubicBezTo>
                    <a:pt x="157" y="24"/>
                    <a:pt x="159" y="24"/>
                    <a:pt x="162" y="24"/>
                  </a:cubicBezTo>
                  <a:cubicBezTo>
                    <a:pt x="162" y="20"/>
                    <a:pt x="162" y="15"/>
                    <a:pt x="162" y="10"/>
                  </a:cubicBezTo>
                  <a:cubicBezTo>
                    <a:pt x="160" y="10"/>
                    <a:pt x="159" y="10"/>
                    <a:pt x="158" y="10"/>
                  </a:cubicBezTo>
                  <a:cubicBezTo>
                    <a:pt x="155" y="10"/>
                    <a:pt x="152" y="10"/>
                    <a:pt x="149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9" name="Freeform 16"/>
            <p:cNvSpPr>
              <a:spLocks/>
            </p:cNvSpPr>
            <p:nvPr/>
          </p:nvSpPr>
          <p:spPr bwMode="auto">
            <a:xfrm>
              <a:off x="2217738" y="1785938"/>
              <a:ext cx="438150" cy="136525"/>
            </a:xfrm>
            <a:custGeom>
              <a:avLst/>
              <a:gdLst>
                <a:gd name="T0" fmla="*/ 160 w 173"/>
                <a:gd name="T1" fmla="*/ 35 h 54"/>
                <a:gd name="T2" fmla="*/ 160 w 173"/>
                <a:gd name="T3" fmla="*/ 35 h 54"/>
                <a:gd name="T4" fmla="*/ 152 w 173"/>
                <a:gd name="T5" fmla="*/ 33 h 54"/>
                <a:gd name="T6" fmla="*/ 143 w 173"/>
                <a:gd name="T7" fmla="*/ 31 h 54"/>
                <a:gd name="T8" fmla="*/ 138 w 173"/>
                <a:gd name="T9" fmla="*/ 29 h 54"/>
                <a:gd name="T10" fmla="*/ 135 w 173"/>
                <a:gd name="T11" fmla="*/ 28 h 54"/>
                <a:gd name="T12" fmla="*/ 135 w 173"/>
                <a:gd name="T13" fmla="*/ 28 h 54"/>
                <a:gd name="T14" fmla="*/ 126 w 173"/>
                <a:gd name="T15" fmla="*/ 26 h 54"/>
                <a:gd name="T16" fmla="*/ 118 w 173"/>
                <a:gd name="T17" fmla="*/ 24 h 54"/>
                <a:gd name="T18" fmla="*/ 117 w 173"/>
                <a:gd name="T19" fmla="*/ 24 h 54"/>
                <a:gd name="T20" fmla="*/ 109 w 173"/>
                <a:gd name="T21" fmla="*/ 22 h 54"/>
                <a:gd name="T22" fmla="*/ 101 w 173"/>
                <a:gd name="T23" fmla="*/ 20 h 54"/>
                <a:gd name="T24" fmla="*/ 96 w 173"/>
                <a:gd name="T25" fmla="*/ 18 h 54"/>
                <a:gd name="T26" fmla="*/ 92 w 173"/>
                <a:gd name="T27" fmla="*/ 18 h 54"/>
                <a:gd name="T28" fmla="*/ 84 w 173"/>
                <a:gd name="T29" fmla="*/ 16 h 54"/>
                <a:gd name="T30" fmla="*/ 75 w 173"/>
                <a:gd name="T31" fmla="*/ 14 h 54"/>
                <a:gd name="T32" fmla="*/ 74 w 173"/>
                <a:gd name="T33" fmla="*/ 14 h 54"/>
                <a:gd name="T34" fmla="*/ 66 w 173"/>
                <a:gd name="T35" fmla="*/ 12 h 54"/>
                <a:gd name="T36" fmla="*/ 58 w 173"/>
                <a:gd name="T37" fmla="*/ 10 h 54"/>
                <a:gd name="T38" fmla="*/ 53 w 173"/>
                <a:gd name="T39" fmla="*/ 9 h 54"/>
                <a:gd name="T40" fmla="*/ 49 w 173"/>
                <a:gd name="T41" fmla="*/ 8 h 54"/>
                <a:gd name="T42" fmla="*/ 41 w 173"/>
                <a:gd name="T43" fmla="*/ 7 h 54"/>
                <a:gd name="T44" fmla="*/ 32 w 173"/>
                <a:gd name="T45" fmla="*/ 5 h 54"/>
                <a:gd name="T46" fmla="*/ 31 w 173"/>
                <a:gd name="T47" fmla="*/ 5 h 54"/>
                <a:gd name="T48" fmla="*/ 23 w 173"/>
                <a:gd name="T49" fmla="*/ 3 h 54"/>
                <a:gd name="T50" fmla="*/ 15 w 173"/>
                <a:gd name="T51" fmla="*/ 2 h 54"/>
                <a:gd name="T52" fmla="*/ 9 w 173"/>
                <a:gd name="T53" fmla="*/ 1 h 54"/>
                <a:gd name="T54" fmla="*/ 6 w 173"/>
                <a:gd name="T55" fmla="*/ 0 h 54"/>
                <a:gd name="T56" fmla="*/ 2 w 173"/>
                <a:gd name="T57" fmla="*/ 0 h 54"/>
                <a:gd name="T58" fmla="*/ 0 w 173"/>
                <a:gd name="T59" fmla="*/ 14 h 54"/>
                <a:gd name="T60" fmla="*/ 3 w 173"/>
                <a:gd name="T61" fmla="*/ 15 h 54"/>
                <a:gd name="T62" fmla="*/ 6 w 173"/>
                <a:gd name="T63" fmla="*/ 15 h 54"/>
                <a:gd name="T64" fmla="*/ 11 w 173"/>
                <a:gd name="T65" fmla="*/ 16 h 54"/>
                <a:gd name="T66" fmla="*/ 20 w 173"/>
                <a:gd name="T67" fmla="*/ 18 h 54"/>
                <a:gd name="T68" fmla="*/ 27 w 173"/>
                <a:gd name="T69" fmla="*/ 19 h 54"/>
                <a:gd name="T70" fmla="*/ 28 w 173"/>
                <a:gd name="T71" fmla="*/ 19 h 54"/>
                <a:gd name="T72" fmla="*/ 37 w 173"/>
                <a:gd name="T73" fmla="*/ 21 h 54"/>
                <a:gd name="T74" fmla="*/ 46 w 173"/>
                <a:gd name="T75" fmla="*/ 23 h 54"/>
                <a:gd name="T76" fmla="*/ 49 w 173"/>
                <a:gd name="T77" fmla="*/ 24 h 54"/>
                <a:gd name="T78" fmla="*/ 54 w 173"/>
                <a:gd name="T79" fmla="*/ 25 h 54"/>
                <a:gd name="T80" fmla="*/ 63 w 173"/>
                <a:gd name="T81" fmla="*/ 26 h 54"/>
                <a:gd name="T82" fmla="*/ 71 w 173"/>
                <a:gd name="T83" fmla="*/ 28 h 54"/>
                <a:gd name="T84" fmla="*/ 72 w 173"/>
                <a:gd name="T85" fmla="*/ 28 h 54"/>
                <a:gd name="T86" fmla="*/ 80 w 173"/>
                <a:gd name="T87" fmla="*/ 30 h 54"/>
                <a:gd name="T88" fmla="*/ 89 w 173"/>
                <a:gd name="T89" fmla="*/ 32 h 54"/>
                <a:gd name="T90" fmla="*/ 92 w 173"/>
                <a:gd name="T91" fmla="*/ 33 h 54"/>
                <a:gd name="T92" fmla="*/ 97 w 173"/>
                <a:gd name="T93" fmla="*/ 34 h 54"/>
                <a:gd name="T94" fmla="*/ 106 w 173"/>
                <a:gd name="T95" fmla="*/ 36 h 54"/>
                <a:gd name="T96" fmla="*/ 114 w 173"/>
                <a:gd name="T97" fmla="*/ 38 h 54"/>
                <a:gd name="T98" fmla="*/ 114 w 173"/>
                <a:gd name="T99" fmla="*/ 39 h 54"/>
                <a:gd name="T100" fmla="*/ 123 w 173"/>
                <a:gd name="T101" fmla="*/ 41 h 54"/>
                <a:gd name="T102" fmla="*/ 131 w 173"/>
                <a:gd name="T103" fmla="*/ 43 h 54"/>
                <a:gd name="T104" fmla="*/ 131 w 173"/>
                <a:gd name="T105" fmla="*/ 43 h 54"/>
                <a:gd name="T106" fmla="*/ 135 w 173"/>
                <a:gd name="T107" fmla="*/ 44 h 54"/>
                <a:gd name="T108" fmla="*/ 140 w 173"/>
                <a:gd name="T109" fmla="*/ 45 h 54"/>
                <a:gd name="T110" fmla="*/ 148 w 173"/>
                <a:gd name="T111" fmla="*/ 48 h 54"/>
                <a:gd name="T112" fmla="*/ 156 w 173"/>
                <a:gd name="T113" fmla="*/ 50 h 54"/>
                <a:gd name="T114" fmla="*/ 157 w 173"/>
                <a:gd name="T115" fmla="*/ 50 h 54"/>
                <a:gd name="T116" fmla="*/ 165 w 173"/>
                <a:gd name="T117" fmla="*/ 53 h 54"/>
                <a:gd name="T118" fmla="*/ 170 w 173"/>
                <a:gd name="T119" fmla="*/ 54 h 54"/>
                <a:gd name="T120" fmla="*/ 173 w 173"/>
                <a:gd name="T121" fmla="*/ 39 h 54"/>
                <a:gd name="T122" fmla="*/ 169 w 173"/>
                <a:gd name="T123" fmla="*/ 38 h 54"/>
                <a:gd name="T124" fmla="*/ 160 w 173"/>
                <a:gd name="T125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54">
                  <a:moveTo>
                    <a:pt x="160" y="35"/>
                  </a:moveTo>
                  <a:cubicBezTo>
                    <a:pt x="160" y="35"/>
                    <a:pt x="160" y="35"/>
                    <a:pt x="160" y="35"/>
                  </a:cubicBezTo>
                  <a:cubicBezTo>
                    <a:pt x="157" y="34"/>
                    <a:pt x="154" y="34"/>
                    <a:pt x="152" y="33"/>
                  </a:cubicBezTo>
                  <a:cubicBezTo>
                    <a:pt x="149" y="32"/>
                    <a:pt x="146" y="31"/>
                    <a:pt x="143" y="31"/>
                  </a:cubicBezTo>
                  <a:cubicBezTo>
                    <a:pt x="142" y="30"/>
                    <a:pt x="140" y="30"/>
                    <a:pt x="138" y="29"/>
                  </a:cubicBezTo>
                  <a:cubicBezTo>
                    <a:pt x="137" y="29"/>
                    <a:pt x="136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2" y="27"/>
                    <a:pt x="129" y="27"/>
                    <a:pt x="126" y="26"/>
                  </a:cubicBezTo>
                  <a:cubicBezTo>
                    <a:pt x="124" y="25"/>
                    <a:pt x="121" y="24"/>
                    <a:pt x="118" y="24"/>
                  </a:cubicBezTo>
                  <a:cubicBezTo>
                    <a:pt x="118" y="24"/>
                    <a:pt x="117" y="24"/>
                    <a:pt x="117" y="24"/>
                  </a:cubicBezTo>
                  <a:cubicBezTo>
                    <a:pt x="114" y="23"/>
                    <a:pt x="112" y="22"/>
                    <a:pt x="109" y="22"/>
                  </a:cubicBezTo>
                  <a:cubicBezTo>
                    <a:pt x="106" y="21"/>
                    <a:pt x="104" y="20"/>
                    <a:pt x="101" y="20"/>
                  </a:cubicBezTo>
                  <a:cubicBezTo>
                    <a:pt x="99" y="19"/>
                    <a:pt x="97" y="19"/>
                    <a:pt x="96" y="18"/>
                  </a:cubicBezTo>
                  <a:cubicBezTo>
                    <a:pt x="94" y="18"/>
                    <a:pt x="93" y="18"/>
                    <a:pt x="92" y="18"/>
                  </a:cubicBezTo>
                  <a:cubicBezTo>
                    <a:pt x="89" y="17"/>
                    <a:pt x="86" y="16"/>
                    <a:pt x="84" y="16"/>
                  </a:cubicBezTo>
                  <a:cubicBezTo>
                    <a:pt x="81" y="15"/>
                    <a:pt x="78" y="14"/>
                    <a:pt x="75" y="14"/>
                  </a:cubicBezTo>
                  <a:cubicBezTo>
                    <a:pt x="75" y="14"/>
                    <a:pt x="74" y="14"/>
                    <a:pt x="74" y="14"/>
                  </a:cubicBezTo>
                  <a:cubicBezTo>
                    <a:pt x="72" y="13"/>
                    <a:pt x="69" y="12"/>
                    <a:pt x="66" y="12"/>
                  </a:cubicBezTo>
                  <a:cubicBezTo>
                    <a:pt x="64" y="11"/>
                    <a:pt x="61" y="11"/>
                    <a:pt x="58" y="10"/>
                  </a:cubicBezTo>
                  <a:cubicBezTo>
                    <a:pt x="56" y="10"/>
                    <a:pt x="54" y="9"/>
                    <a:pt x="53" y="9"/>
                  </a:cubicBezTo>
                  <a:cubicBezTo>
                    <a:pt x="51" y="9"/>
                    <a:pt x="50" y="9"/>
                    <a:pt x="49" y="8"/>
                  </a:cubicBezTo>
                  <a:cubicBezTo>
                    <a:pt x="46" y="8"/>
                    <a:pt x="43" y="7"/>
                    <a:pt x="41" y="7"/>
                  </a:cubicBezTo>
                  <a:cubicBezTo>
                    <a:pt x="38" y="6"/>
                    <a:pt x="35" y="6"/>
                    <a:pt x="32" y="5"/>
                  </a:cubicBezTo>
                  <a:cubicBezTo>
                    <a:pt x="32" y="5"/>
                    <a:pt x="31" y="5"/>
                    <a:pt x="31" y="5"/>
                  </a:cubicBezTo>
                  <a:cubicBezTo>
                    <a:pt x="28" y="4"/>
                    <a:pt x="26" y="4"/>
                    <a:pt x="23" y="3"/>
                  </a:cubicBezTo>
                  <a:cubicBezTo>
                    <a:pt x="20" y="3"/>
                    <a:pt x="17" y="2"/>
                    <a:pt x="15" y="2"/>
                  </a:cubicBezTo>
                  <a:cubicBezTo>
                    <a:pt x="13" y="1"/>
                    <a:pt x="11" y="1"/>
                    <a:pt x="9" y="1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4"/>
                    <a:pt x="1" y="9"/>
                    <a:pt x="0" y="14"/>
                  </a:cubicBezTo>
                  <a:cubicBezTo>
                    <a:pt x="1" y="14"/>
                    <a:pt x="2" y="14"/>
                    <a:pt x="3" y="15"/>
                  </a:cubicBezTo>
                  <a:cubicBezTo>
                    <a:pt x="4" y="15"/>
                    <a:pt x="5" y="15"/>
                    <a:pt x="6" y="15"/>
                  </a:cubicBezTo>
                  <a:cubicBezTo>
                    <a:pt x="8" y="16"/>
                    <a:pt x="9" y="16"/>
                    <a:pt x="11" y="16"/>
                  </a:cubicBezTo>
                  <a:cubicBezTo>
                    <a:pt x="14" y="17"/>
                    <a:pt x="17" y="17"/>
                    <a:pt x="20" y="18"/>
                  </a:cubicBezTo>
                  <a:cubicBezTo>
                    <a:pt x="22" y="18"/>
                    <a:pt x="25" y="19"/>
                    <a:pt x="27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1" y="20"/>
                    <a:pt x="34" y="21"/>
                    <a:pt x="37" y="21"/>
                  </a:cubicBezTo>
                  <a:cubicBezTo>
                    <a:pt x="40" y="22"/>
                    <a:pt x="43" y="22"/>
                    <a:pt x="46" y="23"/>
                  </a:cubicBezTo>
                  <a:cubicBezTo>
                    <a:pt x="47" y="23"/>
                    <a:pt x="48" y="23"/>
                    <a:pt x="49" y="24"/>
                  </a:cubicBezTo>
                  <a:cubicBezTo>
                    <a:pt x="51" y="24"/>
                    <a:pt x="53" y="24"/>
                    <a:pt x="54" y="25"/>
                  </a:cubicBezTo>
                  <a:cubicBezTo>
                    <a:pt x="57" y="25"/>
                    <a:pt x="60" y="26"/>
                    <a:pt x="63" y="26"/>
                  </a:cubicBezTo>
                  <a:cubicBezTo>
                    <a:pt x="66" y="27"/>
                    <a:pt x="68" y="28"/>
                    <a:pt x="71" y="28"/>
                  </a:cubicBezTo>
                  <a:cubicBezTo>
                    <a:pt x="71" y="28"/>
                    <a:pt x="71" y="28"/>
                    <a:pt x="72" y="28"/>
                  </a:cubicBezTo>
                  <a:cubicBezTo>
                    <a:pt x="74" y="29"/>
                    <a:pt x="77" y="30"/>
                    <a:pt x="80" y="30"/>
                  </a:cubicBezTo>
                  <a:cubicBezTo>
                    <a:pt x="83" y="31"/>
                    <a:pt x="86" y="32"/>
                    <a:pt x="89" y="32"/>
                  </a:cubicBezTo>
                  <a:cubicBezTo>
                    <a:pt x="90" y="33"/>
                    <a:pt x="91" y="33"/>
                    <a:pt x="92" y="33"/>
                  </a:cubicBezTo>
                  <a:cubicBezTo>
                    <a:pt x="94" y="33"/>
                    <a:pt x="96" y="34"/>
                    <a:pt x="97" y="34"/>
                  </a:cubicBezTo>
                  <a:cubicBezTo>
                    <a:pt x="100" y="35"/>
                    <a:pt x="103" y="36"/>
                    <a:pt x="106" y="36"/>
                  </a:cubicBezTo>
                  <a:cubicBezTo>
                    <a:pt x="108" y="37"/>
                    <a:pt x="111" y="38"/>
                    <a:pt x="114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7" y="39"/>
                    <a:pt x="120" y="40"/>
                    <a:pt x="123" y="41"/>
                  </a:cubicBezTo>
                  <a:cubicBezTo>
                    <a:pt x="126" y="41"/>
                    <a:pt x="128" y="42"/>
                    <a:pt x="131" y="43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33" y="43"/>
                    <a:pt x="134" y="44"/>
                    <a:pt x="135" y="44"/>
                  </a:cubicBezTo>
                  <a:cubicBezTo>
                    <a:pt x="137" y="44"/>
                    <a:pt x="138" y="45"/>
                    <a:pt x="140" y="45"/>
                  </a:cubicBezTo>
                  <a:cubicBezTo>
                    <a:pt x="143" y="46"/>
                    <a:pt x="145" y="47"/>
                    <a:pt x="148" y="48"/>
                  </a:cubicBezTo>
                  <a:cubicBezTo>
                    <a:pt x="151" y="49"/>
                    <a:pt x="153" y="49"/>
                    <a:pt x="156" y="50"/>
                  </a:cubicBezTo>
                  <a:cubicBezTo>
                    <a:pt x="156" y="50"/>
                    <a:pt x="157" y="50"/>
                    <a:pt x="157" y="50"/>
                  </a:cubicBezTo>
                  <a:cubicBezTo>
                    <a:pt x="160" y="51"/>
                    <a:pt x="162" y="52"/>
                    <a:pt x="165" y="53"/>
                  </a:cubicBezTo>
                  <a:cubicBezTo>
                    <a:pt x="167" y="53"/>
                    <a:pt x="168" y="54"/>
                    <a:pt x="170" y="54"/>
                  </a:cubicBezTo>
                  <a:cubicBezTo>
                    <a:pt x="171" y="49"/>
                    <a:pt x="172" y="44"/>
                    <a:pt x="173" y="39"/>
                  </a:cubicBezTo>
                  <a:cubicBezTo>
                    <a:pt x="172" y="39"/>
                    <a:pt x="170" y="38"/>
                    <a:pt x="169" y="38"/>
                  </a:cubicBezTo>
                  <a:cubicBezTo>
                    <a:pt x="166" y="37"/>
                    <a:pt x="163" y="36"/>
                    <a:pt x="160" y="3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Freeform 17"/>
            <p:cNvSpPr>
              <a:spLocks/>
            </p:cNvSpPr>
            <p:nvPr/>
          </p:nvSpPr>
          <p:spPr bwMode="auto">
            <a:xfrm>
              <a:off x="2473325" y="2813050"/>
              <a:ext cx="403225" cy="200025"/>
            </a:xfrm>
            <a:custGeom>
              <a:avLst/>
              <a:gdLst>
                <a:gd name="T0" fmla="*/ 2 w 159"/>
                <a:gd name="T1" fmla="*/ 66 h 79"/>
                <a:gd name="T2" fmla="*/ 8 w 159"/>
                <a:gd name="T3" fmla="*/ 78 h 79"/>
                <a:gd name="T4" fmla="*/ 8 w 159"/>
                <a:gd name="T5" fmla="*/ 79 h 79"/>
                <a:gd name="T6" fmla="*/ 12 w 159"/>
                <a:gd name="T7" fmla="*/ 77 h 79"/>
                <a:gd name="T8" fmla="*/ 17 w 159"/>
                <a:gd name="T9" fmla="*/ 75 h 79"/>
                <a:gd name="T10" fmla="*/ 22 w 159"/>
                <a:gd name="T11" fmla="*/ 74 h 79"/>
                <a:gd name="T12" fmla="*/ 27 w 159"/>
                <a:gd name="T13" fmla="*/ 71 h 79"/>
                <a:gd name="T14" fmla="*/ 37 w 159"/>
                <a:gd name="T15" fmla="*/ 67 h 79"/>
                <a:gd name="T16" fmla="*/ 47 w 159"/>
                <a:gd name="T17" fmla="*/ 64 h 79"/>
                <a:gd name="T18" fmla="*/ 47 w 159"/>
                <a:gd name="T19" fmla="*/ 63 h 79"/>
                <a:gd name="T20" fmla="*/ 57 w 159"/>
                <a:gd name="T21" fmla="*/ 59 h 79"/>
                <a:gd name="T22" fmla="*/ 67 w 159"/>
                <a:gd name="T23" fmla="*/ 55 h 79"/>
                <a:gd name="T24" fmla="*/ 72 w 159"/>
                <a:gd name="T25" fmla="*/ 53 h 79"/>
                <a:gd name="T26" fmla="*/ 78 w 159"/>
                <a:gd name="T27" fmla="*/ 50 h 79"/>
                <a:gd name="T28" fmla="*/ 88 w 159"/>
                <a:gd name="T29" fmla="*/ 46 h 79"/>
                <a:gd name="T30" fmla="*/ 97 w 159"/>
                <a:gd name="T31" fmla="*/ 41 h 79"/>
                <a:gd name="T32" fmla="*/ 98 w 159"/>
                <a:gd name="T33" fmla="*/ 41 h 79"/>
                <a:gd name="T34" fmla="*/ 108 w 159"/>
                <a:gd name="T35" fmla="*/ 36 h 79"/>
                <a:gd name="T36" fmla="*/ 118 w 159"/>
                <a:gd name="T37" fmla="*/ 31 h 79"/>
                <a:gd name="T38" fmla="*/ 123 w 159"/>
                <a:gd name="T39" fmla="*/ 29 h 79"/>
                <a:gd name="T40" fmla="*/ 129 w 159"/>
                <a:gd name="T41" fmla="*/ 26 h 79"/>
                <a:gd name="T42" fmla="*/ 139 w 159"/>
                <a:gd name="T43" fmla="*/ 20 h 79"/>
                <a:gd name="T44" fmla="*/ 147 w 159"/>
                <a:gd name="T45" fmla="*/ 16 h 79"/>
                <a:gd name="T46" fmla="*/ 149 w 159"/>
                <a:gd name="T47" fmla="*/ 15 h 79"/>
                <a:gd name="T48" fmla="*/ 149 w 159"/>
                <a:gd name="T49" fmla="*/ 14 h 79"/>
                <a:gd name="T50" fmla="*/ 159 w 159"/>
                <a:gd name="T51" fmla="*/ 9 h 79"/>
                <a:gd name="T52" fmla="*/ 152 w 159"/>
                <a:gd name="T53" fmla="*/ 5 h 79"/>
                <a:gd name="T54" fmla="*/ 151 w 159"/>
                <a:gd name="T55" fmla="*/ 5 h 79"/>
                <a:gd name="T56" fmla="*/ 144 w 159"/>
                <a:gd name="T57" fmla="*/ 1 h 79"/>
                <a:gd name="T58" fmla="*/ 142 w 159"/>
                <a:gd name="T59" fmla="*/ 0 h 79"/>
                <a:gd name="T60" fmla="*/ 139 w 159"/>
                <a:gd name="T61" fmla="*/ 1 h 79"/>
                <a:gd name="T62" fmla="*/ 134 w 159"/>
                <a:gd name="T63" fmla="*/ 4 h 79"/>
                <a:gd name="T64" fmla="*/ 128 w 159"/>
                <a:gd name="T65" fmla="*/ 7 h 79"/>
                <a:gd name="T66" fmla="*/ 123 w 159"/>
                <a:gd name="T67" fmla="*/ 10 h 79"/>
                <a:gd name="T68" fmla="*/ 113 w 159"/>
                <a:gd name="T69" fmla="*/ 15 h 79"/>
                <a:gd name="T70" fmla="*/ 103 w 159"/>
                <a:gd name="T71" fmla="*/ 20 h 79"/>
                <a:gd name="T72" fmla="*/ 102 w 159"/>
                <a:gd name="T73" fmla="*/ 20 h 79"/>
                <a:gd name="T74" fmla="*/ 93 w 159"/>
                <a:gd name="T75" fmla="*/ 25 h 79"/>
                <a:gd name="T76" fmla="*/ 82 w 159"/>
                <a:gd name="T77" fmla="*/ 30 h 79"/>
                <a:gd name="T78" fmla="*/ 77 w 159"/>
                <a:gd name="T79" fmla="*/ 32 h 79"/>
                <a:gd name="T80" fmla="*/ 72 w 159"/>
                <a:gd name="T81" fmla="*/ 34 h 79"/>
                <a:gd name="T82" fmla="*/ 62 w 159"/>
                <a:gd name="T83" fmla="*/ 39 h 79"/>
                <a:gd name="T84" fmla="*/ 52 w 159"/>
                <a:gd name="T85" fmla="*/ 43 h 79"/>
                <a:gd name="T86" fmla="*/ 51 w 159"/>
                <a:gd name="T87" fmla="*/ 43 h 79"/>
                <a:gd name="T88" fmla="*/ 42 w 159"/>
                <a:gd name="T89" fmla="*/ 47 h 79"/>
                <a:gd name="T90" fmla="*/ 32 w 159"/>
                <a:gd name="T91" fmla="*/ 51 h 79"/>
                <a:gd name="T92" fmla="*/ 26 w 159"/>
                <a:gd name="T93" fmla="*/ 54 h 79"/>
                <a:gd name="T94" fmla="*/ 22 w 159"/>
                <a:gd name="T95" fmla="*/ 55 h 79"/>
                <a:gd name="T96" fmla="*/ 12 w 159"/>
                <a:gd name="T97" fmla="*/ 59 h 79"/>
                <a:gd name="T98" fmla="*/ 6 w 159"/>
                <a:gd name="T99" fmla="*/ 62 h 79"/>
                <a:gd name="T100" fmla="*/ 2 w 159"/>
                <a:gd name="T101" fmla="*/ 63 h 79"/>
                <a:gd name="T102" fmla="*/ 2 w 159"/>
                <a:gd name="T103" fmla="*/ 63 h 79"/>
                <a:gd name="T104" fmla="*/ 0 w 159"/>
                <a:gd name="T105" fmla="*/ 64 h 79"/>
                <a:gd name="T106" fmla="*/ 1 w 159"/>
                <a:gd name="T107" fmla="*/ 65 h 79"/>
                <a:gd name="T108" fmla="*/ 2 w 159"/>
                <a:gd name="T109" fmla="*/ 6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9" h="79">
                  <a:moveTo>
                    <a:pt x="2" y="66"/>
                  </a:moveTo>
                  <a:cubicBezTo>
                    <a:pt x="4" y="70"/>
                    <a:pt x="6" y="74"/>
                    <a:pt x="8" y="78"/>
                  </a:cubicBezTo>
                  <a:cubicBezTo>
                    <a:pt x="8" y="78"/>
                    <a:pt x="8" y="78"/>
                    <a:pt x="8" y="79"/>
                  </a:cubicBezTo>
                  <a:cubicBezTo>
                    <a:pt x="10" y="78"/>
                    <a:pt x="11" y="78"/>
                    <a:pt x="12" y="77"/>
                  </a:cubicBezTo>
                  <a:cubicBezTo>
                    <a:pt x="14" y="77"/>
                    <a:pt x="16" y="76"/>
                    <a:pt x="17" y="75"/>
                  </a:cubicBezTo>
                  <a:cubicBezTo>
                    <a:pt x="19" y="75"/>
                    <a:pt x="20" y="74"/>
                    <a:pt x="22" y="74"/>
                  </a:cubicBezTo>
                  <a:cubicBezTo>
                    <a:pt x="24" y="73"/>
                    <a:pt x="26" y="72"/>
                    <a:pt x="27" y="71"/>
                  </a:cubicBezTo>
                  <a:cubicBezTo>
                    <a:pt x="31" y="70"/>
                    <a:pt x="34" y="69"/>
                    <a:pt x="37" y="67"/>
                  </a:cubicBezTo>
                  <a:cubicBezTo>
                    <a:pt x="41" y="66"/>
                    <a:pt x="44" y="65"/>
                    <a:pt x="47" y="64"/>
                  </a:cubicBezTo>
                  <a:cubicBezTo>
                    <a:pt x="47" y="64"/>
                    <a:pt x="47" y="63"/>
                    <a:pt x="47" y="63"/>
                  </a:cubicBezTo>
                  <a:cubicBezTo>
                    <a:pt x="51" y="62"/>
                    <a:pt x="54" y="61"/>
                    <a:pt x="57" y="59"/>
                  </a:cubicBezTo>
                  <a:cubicBezTo>
                    <a:pt x="61" y="58"/>
                    <a:pt x="64" y="56"/>
                    <a:pt x="67" y="55"/>
                  </a:cubicBezTo>
                  <a:cubicBezTo>
                    <a:pt x="69" y="54"/>
                    <a:pt x="70" y="53"/>
                    <a:pt x="72" y="53"/>
                  </a:cubicBezTo>
                  <a:cubicBezTo>
                    <a:pt x="74" y="52"/>
                    <a:pt x="76" y="51"/>
                    <a:pt x="78" y="50"/>
                  </a:cubicBezTo>
                  <a:cubicBezTo>
                    <a:pt x="81" y="49"/>
                    <a:pt x="84" y="47"/>
                    <a:pt x="88" y="46"/>
                  </a:cubicBezTo>
                  <a:cubicBezTo>
                    <a:pt x="91" y="44"/>
                    <a:pt x="94" y="43"/>
                    <a:pt x="97" y="41"/>
                  </a:cubicBezTo>
                  <a:cubicBezTo>
                    <a:pt x="97" y="41"/>
                    <a:pt x="98" y="41"/>
                    <a:pt x="98" y="41"/>
                  </a:cubicBezTo>
                  <a:cubicBezTo>
                    <a:pt x="101" y="39"/>
                    <a:pt x="105" y="38"/>
                    <a:pt x="108" y="36"/>
                  </a:cubicBezTo>
                  <a:cubicBezTo>
                    <a:pt x="111" y="34"/>
                    <a:pt x="115" y="33"/>
                    <a:pt x="118" y="31"/>
                  </a:cubicBezTo>
                  <a:cubicBezTo>
                    <a:pt x="120" y="30"/>
                    <a:pt x="121" y="29"/>
                    <a:pt x="123" y="29"/>
                  </a:cubicBezTo>
                  <a:cubicBezTo>
                    <a:pt x="125" y="28"/>
                    <a:pt x="127" y="27"/>
                    <a:pt x="129" y="26"/>
                  </a:cubicBezTo>
                  <a:cubicBezTo>
                    <a:pt x="132" y="24"/>
                    <a:pt x="135" y="22"/>
                    <a:pt x="139" y="20"/>
                  </a:cubicBezTo>
                  <a:cubicBezTo>
                    <a:pt x="142" y="19"/>
                    <a:pt x="144" y="17"/>
                    <a:pt x="147" y="16"/>
                  </a:cubicBezTo>
                  <a:cubicBezTo>
                    <a:pt x="148" y="15"/>
                    <a:pt x="148" y="15"/>
                    <a:pt x="149" y="15"/>
                  </a:cubicBezTo>
                  <a:cubicBezTo>
                    <a:pt x="149" y="15"/>
                    <a:pt x="149" y="14"/>
                    <a:pt x="149" y="14"/>
                  </a:cubicBezTo>
                  <a:cubicBezTo>
                    <a:pt x="152" y="13"/>
                    <a:pt x="156" y="11"/>
                    <a:pt x="159" y="9"/>
                  </a:cubicBezTo>
                  <a:cubicBezTo>
                    <a:pt x="156" y="8"/>
                    <a:pt x="154" y="6"/>
                    <a:pt x="152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49" y="4"/>
                    <a:pt x="146" y="2"/>
                    <a:pt x="144" y="1"/>
                  </a:cubicBezTo>
                  <a:cubicBezTo>
                    <a:pt x="143" y="0"/>
                    <a:pt x="142" y="0"/>
                    <a:pt x="142" y="0"/>
                  </a:cubicBezTo>
                  <a:cubicBezTo>
                    <a:pt x="141" y="0"/>
                    <a:pt x="140" y="1"/>
                    <a:pt x="139" y="1"/>
                  </a:cubicBezTo>
                  <a:cubicBezTo>
                    <a:pt x="137" y="2"/>
                    <a:pt x="135" y="3"/>
                    <a:pt x="134" y="4"/>
                  </a:cubicBezTo>
                  <a:cubicBezTo>
                    <a:pt x="132" y="5"/>
                    <a:pt x="130" y="6"/>
                    <a:pt x="128" y="7"/>
                  </a:cubicBezTo>
                  <a:cubicBezTo>
                    <a:pt x="126" y="8"/>
                    <a:pt x="125" y="9"/>
                    <a:pt x="123" y="10"/>
                  </a:cubicBezTo>
                  <a:cubicBezTo>
                    <a:pt x="120" y="11"/>
                    <a:pt x="116" y="13"/>
                    <a:pt x="113" y="15"/>
                  </a:cubicBezTo>
                  <a:cubicBezTo>
                    <a:pt x="110" y="17"/>
                    <a:pt x="106" y="18"/>
                    <a:pt x="103" y="20"/>
                  </a:cubicBezTo>
                  <a:cubicBezTo>
                    <a:pt x="103" y="20"/>
                    <a:pt x="102" y="20"/>
                    <a:pt x="102" y="20"/>
                  </a:cubicBezTo>
                  <a:cubicBezTo>
                    <a:pt x="99" y="22"/>
                    <a:pt x="96" y="24"/>
                    <a:pt x="93" y="25"/>
                  </a:cubicBezTo>
                  <a:cubicBezTo>
                    <a:pt x="89" y="27"/>
                    <a:pt x="86" y="28"/>
                    <a:pt x="82" y="30"/>
                  </a:cubicBezTo>
                  <a:cubicBezTo>
                    <a:pt x="81" y="31"/>
                    <a:pt x="79" y="32"/>
                    <a:pt x="77" y="32"/>
                  </a:cubicBezTo>
                  <a:cubicBezTo>
                    <a:pt x="75" y="33"/>
                    <a:pt x="74" y="34"/>
                    <a:pt x="72" y="34"/>
                  </a:cubicBezTo>
                  <a:cubicBezTo>
                    <a:pt x="69" y="36"/>
                    <a:pt x="66" y="37"/>
                    <a:pt x="62" y="39"/>
                  </a:cubicBezTo>
                  <a:cubicBezTo>
                    <a:pt x="59" y="40"/>
                    <a:pt x="55" y="42"/>
                    <a:pt x="52" y="43"/>
                  </a:cubicBezTo>
                  <a:cubicBezTo>
                    <a:pt x="52" y="43"/>
                    <a:pt x="52" y="43"/>
                    <a:pt x="51" y="43"/>
                  </a:cubicBezTo>
                  <a:cubicBezTo>
                    <a:pt x="48" y="45"/>
                    <a:pt x="45" y="46"/>
                    <a:pt x="42" y="47"/>
                  </a:cubicBezTo>
                  <a:cubicBezTo>
                    <a:pt x="39" y="49"/>
                    <a:pt x="35" y="50"/>
                    <a:pt x="32" y="51"/>
                  </a:cubicBezTo>
                  <a:cubicBezTo>
                    <a:pt x="30" y="52"/>
                    <a:pt x="28" y="53"/>
                    <a:pt x="26" y="54"/>
                  </a:cubicBezTo>
                  <a:cubicBezTo>
                    <a:pt x="25" y="54"/>
                    <a:pt x="24" y="55"/>
                    <a:pt x="22" y="55"/>
                  </a:cubicBezTo>
                  <a:cubicBezTo>
                    <a:pt x="19" y="57"/>
                    <a:pt x="16" y="58"/>
                    <a:pt x="12" y="59"/>
                  </a:cubicBezTo>
                  <a:cubicBezTo>
                    <a:pt x="10" y="60"/>
                    <a:pt x="8" y="61"/>
                    <a:pt x="6" y="62"/>
                  </a:cubicBezTo>
                  <a:cubicBezTo>
                    <a:pt x="5" y="62"/>
                    <a:pt x="4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1" y="64"/>
                    <a:pt x="0" y="64"/>
                  </a:cubicBezTo>
                  <a:cubicBezTo>
                    <a:pt x="0" y="64"/>
                    <a:pt x="1" y="65"/>
                    <a:pt x="1" y="65"/>
                  </a:cubicBezTo>
                  <a:cubicBezTo>
                    <a:pt x="1" y="66"/>
                    <a:pt x="1" y="66"/>
                    <a:pt x="2" y="6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1" name="Freeform 18"/>
            <p:cNvSpPr>
              <a:spLocks/>
            </p:cNvSpPr>
            <p:nvPr/>
          </p:nvSpPr>
          <p:spPr bwMode="auto">
            <a:xfrm>
              <a:off x="2989263" y="2419350"/>
              <a:ext cx="255588" cy="315913"/>
            </a:xfrm>
            <a:custGeom>
              <a:avLst/>
              <a:gdLst>
                <a:gd name="T0" fmla="*/ 65 w 101"/>
                <a:gd name="T1" fmla="*/ 51 h 124"/>
                <a:gd name="T2" fmla="*/ 64 w 101"/>
                <a:gd name="T3" fmla="*/ 52 h 124"/>
                <a:gd name="T4" fmla="*/ 53 w 101"/>
                <a:gd name="T5" fmla="*/ 69 h 124"/>
                <a:gd name="T6" fmla="*/ 51 w 101"/>
                <a:gd name="T7" fmla="*/ 71 h 124"/>
                <a:gd name="T8" fmla="*/ 39 w 101"/>
                <a:gd name="T9" fmla="*/ 84 h 124"/>
                <a:gd name="T10" fmla="*/ 32 w 101"/>
                <a:gd name="T11" fmla="*/ 90 h 124"/>
                <a:gd name="T12" fmla="*/ 27 w 101"/>
                <a:gd name="T13" fmla="*/ 95 h 124"/>
                <a:gd name="T14" fmla="*/ 16 w 101"/>
                <a:gd name="T15" fmla="*/ 105 h 124"/>
                <a:gd name="T16" fmla="*/ 5 w 101"/>
                <a:gd name="T17" fmla="*/ 113 h 124"/>
                <a:gd name="T18" fmla="*/ 4 w 101"/>
                <a:gd name="T19" fmla="*/ 113 h 124"/>
                <a:gd name="T20" fmla="*/ 0 w 101"/>
                <a:gd name="T21" fmla="*/ 117 h 124"/>
                <a:gd name="T22" fmla="*/ 3 w 101"/>
                <a:gd name="T23" fmla="*/ 118 h 124"/>
                <a:gd name="T24" fmla="*/ 4 w 101"/>
                <a:gd name="T25" fmla="*/ 118 h 124"/>
                <a:gd name="T26" fmla="*/ 12 w 101"/>
                <a:gd name="T27" fmla="*/ 121 h 124"/>
                <a:gd name="T28" fmla="*/ 17 w 101"/>
                <a:gd name="T29" fmla="*/ 123 h 124"/>
                <a:gd name="T30" fmla="*/ 18 w 101"/>
                <a:gd name="T31" fmla="*/ 124 h 124"/>
                <a:gd name="T32" fmla="*/ 21 w 101"/>
                <a:gd name="T33" fmla="*/ 122 h 124"/>
                <a:gd name="T34" fmla="*/ 26 w 101"/>
                <a:gd name="T35" fmla="*/ 118 h 124"/>
                <a:gd name="T36" fmla="*/ 32 w 101"/>
                <a:gd name="T37" fmla="*/ 113 h 124"/>
                <a:gd name="T38" fmla="*/ 43 w 101"/>
                <a:gd name="T39" fmla="*/ 103 h 124"/>
                <a:gd name="T40" fmla="*/ 55 w 101"/>
                <a:gd name="T41" fmla="*/ 91 h 124"/>
                <a:gd name="T42" fmla="*/ 55 w 101"/>
                <a:gd name="T43" fmla="*/ 91 h 124"/>
                <a:gd name="T44" fmla="*/ 66 w 101"/>
                <a:gd name="T45" fmla="*/ 79 h 124"/>
                <a:gd name="T46" fmla="*/ 68 w 101"/>
                <a:gd name="T47" fmla="*/ 76 h 124"/>
                <a:gd name="T48" fmla="*/ 82 w 101"/>
                <a:gd name="T49" fmla="*/ 53 h 124"/>
                <a:gd name="T50" fmla="*/ 86 w 101"/>
                <a:gd name="T51" fmla="*/ 45 h 124"/>
                <a:gd name="T52" fmla="*/ 91 w 101"/>
                <a:gd name="T53" fmla="*/ 35 h 124"/>
                <a:gd name="T54" fmla="*/ 99 w 101"/>
                <a:gd name="T55" fmla="*/ 8 h 124"/>
                <a:gd name="T56" fmla="*/ 101 w 101"/>
                <a:gd name="T57" fmla="*/ 0 h 124"/>
                <a:gd name="T58" fmla="*/ 99 w 101"/>
                <a:gd name="T59" fmla="*/ 0 h 124"/>
                <a:gd name="T60" fmla="*/ 99 w 101"/>
                <a:gd name="T61" fmla="*/ 0 h 124"/>
                <a:gd name="T62" fmla="*/ 95 w 101"/>
                <a:gd name="T63" fmla="*/ 0 h 124"/>
                <a:gd name="T64" fmla="*/ 86 w 101"/>
                <a:gd name="T65" fmla="*/ 0 h 124"/>
                <a:gd name="T66" fmla="*/ 84 w 101"/>
                <a:gd name="T67" fmla="*/ 0 h 124"/>
                <a:gd name="T68" fmla="*/ 84 w 101"/>
                <a:gd name="T69" fmla="*/ 4 h 124"/>
                <a:gd name="T70" fmla="*/ 72 w 101"/>
                <a:gd name="T71" fmla="*/ 38 h 124"/>
                <a:gd name="T72" fmla="*/ 65 w 101"/>
                <a:gd name="T73" fmla="*/ 5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" h="124">
                  <a:moveTo>
                    <a:pt x="65" y="51"/>
                  </a:moveTo>
                  <a:cubicBezTo>
                    <a:pt x="64" y="51"/>
                    <a:pt x="64" y="52"/>
                    <a:pt x="64" y="52"/>
                  </a:cubicBezTo>
                  <a:cubicBezTo>
                    <a:pt x="61" y="58"/>
                    <a:pt x="57" y="63"/>
                    <a:pt x="53" y="69"/>
                  </a:cubicBezTo>
                  <a:cubicBezTo>
                    <a:pt x="52" y="69"/>
                    <a:pt x="52" y="70"/>
                    <a:pt x="51" y="71"/>
                  </a:cubicBezTo>
                  <a:cubicBezTo>
                    <a:pt x="47" y="75"/>
                    <a:pt x="43" y="80"/>
                    <a:pt x="39" y="84"/>
                  </a:cubicBezTo>
                  <a:cubicBezTo>
                    <a:pt x="37" y="86"/>
                    <a:pt x="35" y="88"/>
                    <a:pt x="32" y="90"/>
                  </a:cubicBezTo>
                  <a:cubicBezTo>
                    <a:pt x="31" y="92"/>
                    <a:pt x="29" y="94"/>
                    <a:pt x="27" y="95"/>
                  </a:cubicBezTo>
                  <a:cubicBezTo>
                    <a:pt x="23" y="98"/>
                    <a:pt x="20" y="102"/>
                    <a:pt x="16" y="105"/>
                  </a:cubicBezTo>
                  <a:cubicBezTo>
                    <a:pt x="12" y="107"/>
                    <a:pt x="9" y="110"/>
                    <a:pt x="5" y="113"/>
                  </a:cubicBezTo>
                  <a:cubicBezTo>
                    <a:pt x="5" y="113"/>
                    <a:pt x="5" y="113"/>
                    <a:pt x="4" y="113"/>
                  </a:cubicBezTo>
                  <a:cubicBezTo>
                    <a:pt x="3" y="114"/>
                    <a:pt x="1" y="116"/>
                    <a:pt x="0" y="117"/>
                  </a:cubicBezTo>
                  <a:cubicBezTo>
                    <a:pt x="1" y="117"/>
                    <a:pt x="2" y="118"/>
                    <a:pt x="3" y="118"/>
                  </a:cubicBezTo>
                  <a:cubicBezTo>
                    <a:pt x="3" y="118"/>
                    <a:pt x="4" y="118"/>
                    <a:pt x="4" y="118"/>
                  </a:cubicBezTo>
                  <a:cubicBezTo>
                    <a:pt x="6" y="119"/>
                    <a:pt x="9" y="120"/>
                    <a:pt x="12" y="121"/>
                  </a:cubicBezTo>
                  <a:cubicBezTo>
                    <a:pt x="14" y="122"/>
                    <a:pt x="15" y="122"/>
                    <a:pt x="17" y="123"/>
                  </a:cubicBezTo>
                  <a:cubicBezTo>
                    <a:pt x="17" y="123"/>
                    <a:pt x="18" y="123"/>
                    <a:pt x="18" y="124"/>
                  </a:cubicBezTo>
                  <a:cubicBezTo>
                    <a:pt x="19" y="123"/>
                    <a:pt x="20" y="122"/>
                    <a:pt x="21" y="122"/>
                  </a:cubicBezTo>
                  <a:cubicBezTo>
                    <a:pt x="23" y="120"/>
                    <a:pt x="24" y="119"/>
                    <a:pt x="26" y="118"/>
                  </a:cubicBezTo>
                  <a:cubicBezTo>
                    <a:pt x="28" y="116"/>
                    <a:pt x="30" y="114"/>
                    <a:pt x="32" y="113"/>
                  </a:cubicBezTo>
                  <a:cubicBezTo>
                    <a:pt x="36" y="109"/>
                    <a:pt x="40" y="106"/>
                    <a:pt x="43" y="103"/>
                  </a:cubicBezTo>
                  <a:cubicBezTo>
                    <a:pt x="47" y="99"/>
                    <a:pt x="51" y="95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9" y="87"/>
                    <a:pt x="62" y="83"/>
                    <a:pt x="66" y="79"/>
                  </a:cubicBezTo>
                  <a:cubicBezTo>
                    <a:pt x="66" y="78"/>
                    <a:pt x="67" y="77"/>
                    <a:pt x="68" y="76"/>
                  </a:cubicBezTo>
                  <a:cubicBezTo>
                    <a:pt x="73" y="69"/>
                    <a:pt x="78" y="61"/>
                    <a:pt x="82" y="53"/>
                  </a:cubicBezTo>
                  <a:cubicBezTo>
                    <a:pt x="84" y="51"/>
                    <a:pt x="85" y="48"/>
                    <a:pt x="86" y="45"/>
                  </a:cubicBezTo>
                  <a:cubicBezTo>
                    <a:pt x="88" y="42"/>
                    <a:pt x="89" y="39"/>
                    <a:pt x="91" y="35"/>
                  </a:cubicBezTo>
                  <a:cubicBezTo>
                    <a:pt x="94" y="27"/>
                    <a:pt x="97" y="17"/>
                    <a:pt x="99" y="8"/>
                  </a:cubicBezTo>
                  <a:cubicBezTo>
                    <a:pt x="100" y="5"/>
                    <a:pt x="101" y="3"/>
                    <a:pt x="101" y="0"/>
                  </a:cubicBezTo>
                  <a:cubicBezTo>
                    <a:pt x="100" y="0"/>
                    <a:pt x="100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7" y="0"/>
                    <a:pt x="96" y="0"/>
                    <a:pt x="95" y="0"/>
                  </a:cubicBezTo>
                  <a:cubicBezTo>
                    <a:pt x="92" y="0"/>
                    <a:pt x="89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84" y="2"/>
                    <a:pt x="84" y="3"/>
                    <a:pt x="84" y="4"/>
                  </a:cubicBezTo>
                  <a:cubicBezTo>
                    <a:pt x="81" y="16"/>
                    <a:pt x="77" y="27"/>
                    <a:pt x="72" y="38"/>
                  </a:cubicBezTo>
                  <a:cubicBezTo>
                    <a:pt x="69" y="43"/>
                    <a:pt x="67" y="47"/>
                    <a:pt x="65" y="5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2" name="Freeform 19"/>
            <p:cNvSpPr>
              <a:spLocks/>
            </p:cNvSpPr>
            <p:nvPr/>
          </p:nvSpPr>
          <p:spPr bwMode="auto">
            <a:xfrm>
              <a:off x="2819400" y="1943100"/>
              <a:ext cx="374650" cy="260350"/>
            </a:xfrm>
            <a:custGeom>
              <a:avLst/>
              <a:gdLst>
                <a:gd name="T0" fmla="*/ 3 w 148"/>
                <a:gd name="T1" fmla="*/ 18 h 103"/>
                <a:gd name="T2" fmla="*/ 11 w 148"/>
                <a:gd name="T3" fmla="*/ 21 h 103"/>
                <a:gd name="T4" fmla="*/ 20 w 148"/>
                <a:gd name="T5" fmla="*/ 25 h 103"/>
                <a:gd name="T6" fmla="*/ 23 w 148"/>
                <a:gd name="T7" fmla="*/ 26 h 103"/>
                <a:gd name="T8" fmla="*/ 28 w 148"/>
                <a:gd name="T9" fmla="*/ 28 h 103"/>
                <a:gd name="T10" fmla="*/ 34 w 148"/>
                <a:gd name="T11" fmla="*/ 31 h 103"/>
                <a:gd name="T12" fmla="*/ 36 w 148"/>
                <a:gd name="T13" fmla="*/ 32 h 103"/>
                <a:gd name="T14" fmla="*/ 43 w 148"/>
                <a:gd name="T15" fmla="*/ 36 h 103"/>
                <a:gd name="T16" fmla="*/ 44 w 148"/>
                <a:gd name="T17" fmla="*/ 36 h 103"/>
                <a:gd name="T18" fmla="*/ 52 w 148"/>
                <a:gd name="T19" fmla="*/ 41 h 103"/>
                <a:gd name="T20" fmla="*/ 60 w 148"/>
                <a:gd name="T21" fmla="*/ 45 h 103"/>
                <a:gd name="T22" fmla="*/ 63 w 148"/>
                <a:gd name="T23" fmla="*/ 47 h 103"/>
                <a:gd name="T24" fmla="*/ 68 w 148"/>
                <a:gd name="T25" fmla="*/ 50 h 103"/>
                <a:gd name="T26" fmla="*/ 76 w 148"/>
                <a:gd name="T27" fmla="*/ 55 h 103"/>
                <a:gd name="T28" fmla="*/ 83 w 148"/>
                <a:gd name="T29" fmla="*/ 60 h 103"/>
                <a:gd name="T30" fmla="*/ 83 w 148"/>
                <a:gd name="T31" fmla="*/ 60 h 103"/>
                <a:gd name="T32" fmla="*/ 91 w 148"/>
                <a:gd name="T33" fmla="*/ 66 h 103"/>
                <a:gd name="T34" fmla="*/ 96 w 148"/>
                <a:gd name="T35" fmla="*/ 70 h 103"/>
                <a:gd name="T36" fmla="*/ 99 w 148"/>
                <a:gd name="T37" fmla="*/ 72 h 103"/>
                <a:gd name="T38" fmla="*/ 102 w 148"/>
                <a:gd name="T39" fmla="*/ 75 h 103"/>
                <a:gd name="T40" fmla="*/ 106 w 148"/>
                <a:gd name="T41" fmla="*/ 78 h 103"/>
                <a:gd name="T42" fmla="*/ 114 w 148"/>
                <a:gd name="T43" fmla="*/ 85 h 103"/>
                <a:gd name="T44" fmla="*/ 121 w 148"/>
                <a:gd name="T45" fmla="*/ 92 h 103"/>
                <a:gd name="T46" fmla="*/ 121 w 148"/>
                <a:gd name="T47" fmla="*/ 93 h 103"/>
                <a:gd name="T48" fmla="*/ 128 w 148"/>
                <a:gd name="T49" fmla="*/ 101 h 103"/>
                <a:gd name="T50" fmla="*/ 129 w 148"/>
                <a:gd name="T51" fmla="*/ 103 h 103"/>
                <a:gd name="T52" fmla="*/ 137 w 148"/>
                <a:gd name="T53" fmla="*/ 102 h 103"/>
                <a:gd name="T54" fmla="*/ 141 w 148"/>
                <a:gd name="T55" fmla="*/ 102 h 103"/>
                <a:gd name="T56" fmla="*/ 146 w 148"/>
                <a:gd name="T57" fmla="*/ 101 h 103"/>
                <a:gd name="T58" fmla="*/ 148 w 148"/>
                <a:gd name="T59" fmla="*/ 101 h 103"/>
                <a:gd name="T60" fmla="*/ 147 w 148"/>
                <a:gd name="T61" fmla="*/ 99 h 103"/>
                <a:gd name="T62" fmla="*/ 143 w 148"/>
                <a:gd name="T63" fmla="*/ 94 h 103"/>
                <a:gd name="T64" fmla="*/ 140 w 148"/>
                <a:gd name="T65" fmla="*/ 90 h 103"/>
                <a:gd name="T66" fmla="*/ 133 w 148"/>
                <a:gd name="T67" fmla="*/ 81 h 103"/>
                <a:gd name="T68" fmla="*/ 125 w 148"/>
                <a:gd name="T69" fmla="*/ 74 h 103"/>
                <a:gd name="T70" fmla="*/ 125 w 148"/>
                <a:gd name="T71" fmla="*/ 74 h 103"/>
                <a:gd name="T72" fmla="*/ 118 w 148"/>
                <a:gd name="T73" fmla="*/ 67 h 103"/>
                <a:gd name="T74" fmla="*/ 111 w 148"/>
                <a:gd name="T75" fmla="*/ 61 h 103"/>
                <a:gd name="T76" fmla="*/ 106 w 148"/>
                <a:gd name="T77" fmla="*/ 57 h 103"/>
                <a:gd name="T78" fmla="*/ 106 w 148"/>
                <a:gd name="T79" fmla="*/ 57 h 103"/>
                <a:gd name="T80" fmla="*/ 103 w 148"/>
                <a:gd name="T81" fmla="*/ 55 h 103"/>
                <a:gd name="T82" fmla="*/ 95 w 148"/>
                <a:gd name="T83" fmla="*/ 49 h 103"/>
                <a:gd name="T84" fmla="*/ 87 w 148"/>
                <a:gd name="T85" fmla="*/ 44 h 103"/>
                <a:gd name="T86" fmla="*/ 87 w 148"/>
                <a:gd name="T87" fmla="*/ 43 h 103"/>
                <a:gd name="T88" fmla="*/ 80 w 148"/>
                <a:gd name="T89" fmla="*/ 38 h 103"/>
                <a:gd name="T90" fmla="*/ 72 w 148"/>
                <a:gd name="T91" fmla="*/ 34 h 103"/>
                <a:gd name="T92" fmla="*/ 67 w 148"/>
                <a:gd name="T93" fmla="*/ 31 h 103"/>
                <a:gd name="T94" fmla="*/ 64 w 148"/>
                <a:gd name="T95" fmla="*/ 29 h 103"/>
                <a:gd name="T96" fmla="*/ 56 w 148"/>
                <a:gd name="T97" fmla="*/ 25 h 103"/>
                <a:gd name="T98" fmla="*/ 48 w 148"/>
                <a:gd name="T99" fmla="*/ 21 h 103"/>
                <a:gd name="T100" fmla="*/ 47 w 148"/>
                <a:gd name="T101" fmla="*/ 20 h 103"/>
                <a:gd name="T102" fmla="*/ 40 w 148"/>
                <a:gd name="T103" fmla="*/ 17 h 103"/>
                <a:gd name="T104" fmla="*/ 40 w 148"/>
                <a:gd name="T105" fmla="*/ 17 h 103"/>
                <a:gd name="T106" fmla="*/ 31 w 148"/>
                <a:gd name="T107" fmla="*/ 13 h 103"/>
                <a:gd name="T108" fmla="*/ 27 w 148"/>
                <a:gd name="T109" fmla="*/ 11 h 103"/>
                <a:gd name="T110" fmla="*/ 23 w 148"/>
                <a:gd name="T111" fmla="*/ 9 h 103"/>
                <a:gd name="T112" fmla="*/ 15 w 148"/>
                <a:gd name="T113" fmla="*/ 6 h 103"/>
                <a:gd name="T114" fmla="*/ 7 w 148"/>
                <a:gd name="T115" fmla="*/ 2 h 103"/>
                <a:gd name="T116" fmla="*/ 6 w 148"/>
                <a:gd name="T117" fmla="*/ 2 h 103"/>
                <a:gd name="T118" fmla="*/ 2 w 148"/>
                <a:gd name="T119" fmla="*/ 0 h 103"/>
                <a:gd name="T120" fmla="*/ 0 w 148"/>
                <a:gd name="T121" fmla="*/ 16 h 103"/>
                <a:gd name="T122" fmla="*/ 3 w 148"/>
                <a:gd name="T123" fmla="*/ 17 h 103"/>
                <a:gd name="T124" fmla="*/ 3 w 148"/>
                <a:gd name="T125" fmla="*/ 1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" h="103">
                  <a:moveTo>
                    <a:pt x="3" y="18"/>
                  </a:moveTo>
                  <a:cubicBezTo>
                    <a:pt x="6" y="19"/>
                    <a:pt x="9" y="20"/>
                    <a:pt x="11" y="21"/>
                  </a:cubicBezTo>
                  <a:cubicBezTo>
                    <a:pt x="14" y="22"/>
                    <a:pt x="17" y="23"/>
                    <a:pt x="20" y="25"/>
                  </a:cubicBezTo>
                  <a:cubicBezTo>
                    <a:pt x="21" y="25"/>
                    <a:pt x="22" y="26"/>
                    <a:pt x="23" y="26"/>
                  </a:cubicBezTo>
                  <a:cubicBezTo>
                    <a:pt x="25" y="27"/>
                    <a:pt x="26" y="28"/>
                    <a:pt x="28" y="28"/>
                  </a:cubicBezTo>
                  <a:cubicBezTo>
                    <a:pt x="30" y="29"/>
                    <a:pt x="32" y="30"/>
                    <a:pt x="34" y="31"/>
                  </a:cubicBezTo>
                  <a:cubicBezTo>
                    <a:pt x="34" y="32"/>
                    <a:pt x="35" y="32"/>
                    <a:pt x="36" y="32"/>
                  </a:cubicBezTo>
                  <a:cubicBezTo>
                    <a:pt x="38" y="34"/>
                    <a:pt x="41" y="35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7" y="38"/>
                    <a:pt x="49" y="39"/>
                    <a:pt x="52" y="41"/>
                  </a:cubicBezTo>
                  <a:cubicBezTo>
                    <a:pt x="55" y="42"/>
                    <a:pt x="57" y="44"/>
                    <a:pt x="60" y="45"/>
                  </a:cubicBezTo>
                  <a:cubicBezTo>
                    <a:pt x="61" y="46"/>
                    <a:pt x="62" y="47"/>
                    <a:pt x="63" y="47"/>
                  </a:cubicBezTo>
                  <a:cubicBezTo>
                    <a:pt x="65" y="48"/>
                    <a:pt x="66" y="49"/>
                    <a:pt x="68" y="50"/>
                  </a:cubicBezTo>
                  <a:cubicBezTo>
                    <a:pt x="70" y="52"/>
                    <a:pt x="73" y="53"/>
                    <a:pt x="76" y="55"/>
                  </a:cubicBezTo>
                  <a:cubicBezTo>
                    <a:pt x="78" y="57"/>
                    <a:pt x="81" y="58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2"/>
                    <a:pt x="89" y="64"/>
                    <a:pt x="91" y="66"/>
                  </a:cubicBezTo>
                  <a:cubicBezTo>
                    <a:pt x="93" y="67"/>
                    <a:pt x="95" y="68"/>
                    <a:pt x="96" y="70"/>
                  </a:cubicBezTo>
                  <a:cubicBezTo>
                    <a:pt x="97" y="70"/>
                    <a:pt x="98" y="71"/>
                    <a:pt x="99" y="72"/>
                  </a:cubicBezTo>
                  <a:cubicBezTo>
                    <a:pt x="100" y="73"/>
                    <a:pt x="101" y="74"/>
                    <a:pt x="102" y="75"/>
                  </a:cubicBezTo>
                  <a:cubicBezTo>
                    <a:pt x="104" y="76"/>
                    <a:pt x="105" y="77"/>
                    <a:pt x="106" y="78"/>
                  </a:cubicBezTo>
                  <a:cubicBezTo>
                    <a:pt x="109" y="80"/>
                    <a:pt x="111" y="83"/>
                    <a:pt x="114" y="85"/>
                  </a:cubicBezTo>
                  <a:cubicBezTo>
                    <a:pt x="116" y="87"/>
                    <a:pt x="119" y="90"/>
                    <a:pt x="121" y="92"/>
                  </a:cubicBezTo>
                  <a:cubicBezTo>
                    <a:pt x="121" y="92"/>
                    <a:pt x="121" y="92"/>
                    <a:pt x="121" y="93"/>
                  </a:cubicBezTo>
                  <a:cubicBezTo>
                    <a:pt x="123" y="95"/>
                    <a:pt x="126" y="98"/>
                    <a:pt x="128" y="101"/>
                  </a:cubicBezTo>
                  <a:cubicBezTo>
                    <a:pt x="129" y="102"/>
                    <a:pt x="129" y="102"/>
                    <a:pt x="129" y="103"/>
                  </a:cubicBezTo>
                  <a:cubicBezTo>
                    <a:pt x="132" y="102"/>
                    <a:pt x="134" y="102"/>
                    <a:pt x="137" y="102"/>
                  </a:cubicBezTo>
                  <a:cubicBezTo>
                    <a:pt x="138" y="102"/>
                    <a:pt x="140" y="102"/>
                    <a:pt x="141" y="102"/>
                  </a:cubicBezTo>
                  <a:cubicBezTo>
                    <a:pt x="143" y="101"/>
                    <a:pt x="145" y="101"/>
                    <a:pt x="146" y="101"/>
                  </a:cubicBezTo>
                  <a:cubicBezTo>
                    <a:pt x="147" y="101"/>
                    <a:pt x="147" y="101"/>
                    <a:pt x="148" y="101"/>
                  </a:cubicBezTo>
                  <a:cubicBezTo>
                    <a:pt x="148" y="100"/>
                    <a:pt x="147" y="99"/>
                    <a:pt x="147" y="99"/>
                  </a:cubicBezTo>
                  <a:cubicBezTo>
                    <a:pt x="145" y="97"/>
                    <a:pt x="144" y="95"/>
                    <a:pt x="143" y="94"/>
                  </a:cubicBezTo>
                  <a:cubicBezTo>
                    <a:pt x="142" y="92"/>
                    <a:pt x="141" y="91"/>
                    <a:pt x="140" y="90"/>
                  </a:cubicBezTo>
                  <a:cubicBezTo>
                    <a:pt x="138" y="87"/>
                    <a:pt x="135" y="84"/>
                    <a:pt x="133" y="81"/>
                  </a:cubicBezTo>
                  <a:cubicBezTo>
                    <a:pt x="130" y="79"/>
                    <a:pt x="128" y="76"/>
                    <a:pt x="125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3" y="71"/>
                    <a:pt x="120" y="69"/>
                    <a:pt x="118" y="67"/>
                  </a:cubicBezTo>
                  <a:cubicBezTo>
                    <a:pt x="116" y="65"/>
                    <a:pt x="113" y="63"/>
                    <a:pt x="111" y="61"/>
                  </a:cubicBezTo>
                  <a:cubicBezTo>
                    <a:pt x="109" y="59"/>
                    <a:pt x="108" y="58"/>
                    <a:pt x="106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5" y="56"/>
                    <a:pt x="104" y="55"/>
                    <a:pt x="103" y="55"/>
                  </a:cubicBezTo>
                  <a:cubicBezTo>
                    <a:pt x="100" y="53"/>
                    <a:pt x="98" y="51"/>
                    <a:pt x="95" y="49"/>
                  </a:cubicBezTo>
                  <a:cubicBezTo>
                    <a:pt x="93" y="47"/>
                    <a:pt x="90" y="45"/>
                    <a:pt x="87" y="44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5" y="42"/>
                    <a:pt x="82" y="40"/>
                    <a:pt x="80" y="38"/>
                  </a:cubicBezTo>
                  <a:cubicBezTo>
                    <a:pt x="77" y="37"/>
                    <a:pt x="74" y="35"/>
                    <a:pt x="72" y="34"/>
                  </a:cubicBezTo>
                  <a:cubicBezTo>
                    <a:pt x="70" y="33"/>
                    <a:pt x="69" y="32"/>
                    <a:pt x="67" y="31"/>
                  </a:cubicBezTo>
                  <a:cubicBezTo>
                    <a:pt x="66" y="30"/>
                    <a:pt x="65" y="30"/>
                    <a:pt x="64" y="29"/>
                  </a:cubicBezTo>
                  <a:cubicBezTo>
                    <a:pt x="61" y="28"/>
                    <a:pt x="58" y="26"/>
                    <a:pt x="56" y="25"/>
                  </a:cubicBezTo>
                  <a:cubicBezTo>
                    <a:pt x="53" y="23"/>
                    <a:pt x="50" y="22"/>
                    <a:pt x="48" y="21"/>
                  </a:cubicBezTo>
                  <a:cubicBezTo>
                    <a:pt x="48" y="21"/>
                    <a:pt x="47" y="20"/>
                    <a:pt x="47" y="20"/>
                  </a:cubicBezTo>
                  <a:cubicBezTo>
                    <a:pt x="45" y="19"/>
                    <a:pt x="43" y="18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7" y="15"/>
                    <a:pt x="34" y="14"/>
                    <a:pt x="31" y="13"/>
                  </a:cubicBezTo>
                  <a:cubicBezTo>
                    <a:pt x="30" y="12"/>
                    <a:pt x="28" y="11"/>
                    <a:pt x="27" y="11"/>
                  </a:cubicBezTo>
                  <a:cubicBezTo>
                    <a:pt x="26" y="10"/>
                    <a:pt x="24" y="10"/>
                    <a:pt x="23" y="9"/>
                  </a:cubicBezTo>
                  <a:cubicBezTo>
                    <a:pt x="21" y="8"/>
                    <a:pt x="18" y="7"/>
                    <a:pt x="15" y="6"/>
                  </a:cubicBezTo>
                  <a:cubicBezTo>
                    <a:pt x="12" y="4"/>
                    <a:pt x="10" y="3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1"/>
                    <a:pt x="4" y="1"/>
                    <a:pt x="2" y="0"/>
                  </a:cubicBezTo>
                  <a:cubicBezTo>
                    <a:pt x="2" y="6"/>
                    <a:pt x="1" y="11"/>
                    <a:pt x="0" y="16"/>
                  </a:cubicBezTo>
                  <a:cubicBezTo>
                    <a:pt x="1" y="17"/>
                    <a:pt x="2" y="17"/>
                    <a:pt x="3" y="17"/>
                  </a:cubicBezTo>
                  <a:cubicBezTo>
                    <a:pt x="3" y="17"/>
                    <a:pt x="3" y="17"/>
                    <a:pt x="3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Freeform 20"/>
            <p:cNvSpPr>
              <a:spLocks/>
            </p:cNvSpPr>
            <p:nvPr/>
          </p:nvSpPr>
          <p:spPr bwMode="auto">
            <a:xfrm>
              <a:off x="6872288" y="5983288"/>
              <a:ext cx="258763" cy="508000"/>
            </a:xfrm>
            <a:custGeom>
              <a:avLst/>
              <a:gdLst>
                <a:gd name="T0" fmla="*/ 93 w 102"/>
                <a:gd name="T1" fmla="*/ 161 h 200"/>
                <a:gd name="T2" fmla="*/ 89 w 102"/>
                <a:gd name="T3" fmla="*/ 146 h 200"/>
                <a:gd name="T4" fmla="*/ 87 w 102"/>
                <a:gd name="T5" fmla="*/ 138 h 200"/>
                <a:gd name="T6" fmla="*/ 84 w 102"/>
                <a:gd name="T7" fmla="*/ 131 h 200"/>
                <a:gd name="T8" fmla="*/ 84 w 102"/>
                <a:gd name="T9" fmla="*/ 129 h 200"/>
                <a:gd name="T10" fmla="*/ 71 w 102"/>
                <a:gd name="T11" fmla="*/ 93 h 200"/>
                <a:gd name="T12" fmla="*/ 71 w 102"/>
                <a:gd name="T13" fmla="*/ 93 h 200"/>
                <a:gd name="T14" fmla="*/ 56 w 102"/>
                <a:gd name="T15" fmla="*/ 59 h 200"/>
                <a:gd name="T16" fmla="*/ 41 w 102"/>
                <a:gd name="T17" fmla="*/ 28 h 200"/>
                <a:gd name="T18" fmla="*/ 41 w 102"/>
                <a:gd name="T19" fmla="*/ 27 h 200"/>
                <a:gd name="T20" fmla="*/ 30 w 102"/>
                <a:gd name="T21" fmla="*/ 7 h 200"/>
                <a:gd name="T22" fmla="*/ 26 w 102"/>
                <a:gd name="T23" fmla="*/ 0 h 200"/>
                <a:gd name="T24" fmla="*/ 25 w 102"/>
                <a:gd name="T25" fmla="*/ 0 h 200"/>
                <a:gd name="T26" fmla="*/ 0 w 102"/>
                <a:gd name="T27" fmla="*/ 15 h 200"/>
                <a:gd name="T28" fmla="*/ 4 w 102"/>
                <a:gd name="T29" fmla="*/ 22 h 200"/>
                <a:gd name="T30" fmla="*/ 15 w 102"/>
                <a:gd name="T31" fmla="*/ 42 h 200"/>
                <a:gd name="T32" fmla="*/ 15 w 102"/>
                <a:gd name="T33" fmla="*/ 42 h 200"/>
                <a:gd name="T34" fmla="*/ 30 w 102"/>
                <a:gd name="T35" fmla="*/ 74 h 200"/>
                <a:gd name="T36" fmla="*/ 43 w 102"/>
                <a:gd name="T37" fmla="*/ 104 h 200"/>
                <a:gd name="T38" fmla="*/ 44 w 102"/>
                <a:gd name="T39" fmla="*/ 109 h 200"/>
                <a:gd name="T40" fmla="*/ 55 w 102"/>
                <a:gd name="T41" fmla="*/ 139 h 200"/>
                <a:gd name="T42" fmla="*/ 57 w 102"/>
                <a:gd name="T43" fmla="*/ 147 h 200"/>
                <a:gd name="T44" fmla="*/ 58 w 102"/>
                <a:gd name="T45" fmla="*/ 148 h 200"/>
                <a:gd name="T46" fmla="*/ 60 w 102"/>
                <a:gd name="T47" fmla="*/ 155 h 200"/>
                <a:gd name="T48" fmla="*/ 64 w 102"/>
                <a:gd name="T49" fmla="*/ 170 h 200"/>
                <a:gd name="T50" fmla="*/ 70 w 102"/>
                <a:gd name="T51" fmla="*/ 191 h 200"/>
                <a:gd name="T52" fmla="*/ 73 w 102"/>
                <a:gd name="T53" fmla="*/ 200 h 200"/>
                <a:gd name="T54" fmla="*/ 92 w 102"/>
                <a:gd name="T55" fmla="*/ 195 h 200"/>
                <a:gd name="T56" fmla="*/ 102 w 102"/>
                <a:gd name="T57" fmla="*/ 192 h 200"/>
                <a:gd name="T58" fmla="*/ 97 w 102"/>
                <a:gd name="T59" fmla="*/ 173 h 200"/>
                <a:gd name="T60" fmla="*/ 93 w 102"/>
                <a:gd name="T61" fmla="*/ 16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2" h="200">
                  <a:moveTo>
                    <a:pt x="93" y="161"/>
                  </a:moveTo>
                  <a:cubicBezTo>
                    <a:pt x="92" y="157"/>
                    <a:pt x="91" y="152"/>
                    <a:pt x="89" y="146"/>
                  </a:cubicBezTo>
                  <a:cubicBezTo>
                    <a:pt x="88" y="144"/>
                    <a:pt x="88" y="141"/>
                    <a:pt x="87" y="138"/>
                  </a:cubicBezTo>
                  <a:cubicBezTo>
                    <a:pt x="86" y="136"/>
                    <a:pt x="85" y="133"/>
                    <a:pt x="84" y="131"/>
                  </a:cubicBezTo>
                  <a:cubicBezTo>
                    <a:pt x="84" y="130"/>
                    <a:pt x="84" y="130"/>
                    <a:pt x="84" y="129"/>
                  </a:cubicBezTo>
                  <a:cubicBezTo>
                    <a:pt x="80" y="118"/>
                    <a:pt x="76" y="105"/>
                    <a:pt x="71" y="93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66" y="81"/>
                    <a:pt x="61" y="69"/>
                    <a:pt x="56" y="59"/>
                  </a:cubicBezTo>
                  <a:cubicBezTo>
                    <a:pt x="51" y="47"/>
                    <a:pt x="46" y="37"/>
                    <a:pt x="41" y="28"/>
                  </a:cubicBezTo>
                  <a:cubicBezTo>
                    <a:pt x="41" y="28"/>
                    <a:pt x="41" y="28"/>
                    <a:pt x="41" y="27"/>
                  </a:cubicBezTo>
                  <a:cubicBezTo>
                    <a:pt x="37" y="19"/>
                    <a:pt x="33" y="12"/>
                    <a:pt x="30" y="7"/>
                  </a:cubicBezTo>
                  <a:cubicBezTo>
                    <a:pt x="27" y="2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1" y="17"/>
                    <a:pt x="4" y="22"/>
                  </a:cubicBezTo>
                  <a:cubicBezTo>
                    <a:pt x="7" y="27"/>
                    <a:pt x="10" y="34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9" y="51"/>
                    <a:pt x="25" y="62"/>
                    <a:pt x="30" y="74"/>
                  </a:cubicBezTo>
                  <a:cubicBezTo>
                    <a:pt x="34" y="84"/>
                    <a:pt x="39" y="94"/>
                    <a:pt x="43" y="104"/>
                  </a:cubicBezTo>
                  <a:cubicBezTo>
                    <a:pt x="43" y="106"/>
                    <a:pt x="44" y="107"/>
                    <a:pt x="44" y="109"/>
                  </a:cubicBezTo>
                  <a:cubicBezTo>
                    <a:pt x="48" y="119"/>
                    <a:pt x="52" y="129"/>
                    <a:pt x="55" y="139"/>
                  </a:cubicBezTo>
                  <a:cubicBezTo>
                    <a:pt x="56" y="142"/>
                    <a:pt x="56" y="144"/>
                    <a:pt x="57" y="147"/>
                  </a:cubicBezTo>
                  <a:cubicBezTo>
                    <a:pt x="57" y="147"/>
                    <a:pt x="58" y="148"/>
                    <a:pt x="58" y="148"/>
                  </a:cubicBezTo>
                  <a:cubicBezTo>
                    <a:pt x="58" y="150"/>
                    <a:pt x="59" y="153"/>
                    <a:pt x="60" y="155"/>
                  </a:cubicBezTo>
                  <a:cubicBezTo>
                    <a:pt x="61" y="160"/>
                    <a:pt x="63" y="165"/>
                    <a:pt x="64" y="170"/>
                  </a:cubicBezTo>
                  <a:cubicBezTo>
                    <a:pt x="66" y="179"/>
                    <a:pt x="69" y="186"/>
                    <a:pt x="70" y="191"/>
                  </a:cubicBezTo>
                  <a:cubicBezTo>
                    <a:pt x="72" y="197"/>
                    <a:pt x="73" y="200"/>
                    <a:pt x="73" y="200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102" y="192"/>
                    <a:pt x="102" y="192"/>
                    <a:pt x="102" y="192"/>
                  </a:cubicBezTo>
                  <a:cubicBezTo>
                    <a:pt x="102" y="192"/>
                    <a:pt x="100" y="185"/>
                    <a:pt x="97" y="173"/>
                  </a:cubicBezTo>
                  <a:cubicBezTo>
                    <a:pt x="96" y="170"/>
                    <a:pt x="95" y="166"/>
                    <a:pt x="93" y="16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Freeform 21"/>
            <p:cNvSpPr>
              <a:spLocks/>
            </p:cNvSpPr>
            <p:nvPr/>
          </p:nvSpPr>
          <p:spPr bwMode="auto">
            <a:xfrm>
              <a:off x="6129338" y="5287963"/>
              <a:ext cx="469900" cy="344488"/>
            </a:xfrm>
            <a:custGeom>
              <a:avLst/>
              <a:gdLst>
                <a:gd name="T0" fmla="*/ 176 w 185"/>
                <a:gd name="T1" fmla="*/ 107 h 136"/>
                <a:gd name="T2" fmla="*/ 160 w 185"/>
                <a:gd name="T3" fmla="*/ 94 h 136"/>
                <a:gd name="T4" fmla="*/ 157 w 185"/>
                <a:gd name="T5" fmla="*/ 91 h 136"/>
                <a:gd name="T6" fmla="*/ 138 w 185"/>
                <a:gd name="T7" fmla="*/ 77 h 136"/>
                <a:gd name="T8" fmla="*/ 119 w 185"/>
                <a:gd name="T9" fmla="*/ 63 h 136"/>
                <a:gd name="T10" fmla="*/ 102 w 185"/>
                <a:gd name="T11" fmla="*/ 52 h 136"/>
                <a:gd name="T12" fmla="*/ 99 w 185"/>
                <a:gd name="T13" fmla="*/ 50 h 136"/>
                <a:gd name="T14" fmla="*/ 79 w 185"/>
                <a:gd name="T15" fmla="*/ 37 h 136"/>
                <a:gd name="T16" fmla="*/ 60 w 185"/>
                <a:gd name="T17" fmla="*/ 25 h 136"/>
                <a:gd name="T18" fmla="*/ 41 w 185"/>
                <a:gd name="T19" fmla="*/ 15 h 136"/>
                <a:gd name="T20" fmla="*/ 40 w 185"/>
                <a:gd name="T21" fmla="*/ 14 h 136"/>
                <a:gd name="T22" fmla="*/ 21 w 185"/>
                <a:gd name="T23" fmla="*/ 4 h 136"/>
                <a:gd name="T24" fmla="*/ 20 w 185"/>
                <a:gd name="T25" fmla="*/ 3 h 136"/>
                <a:gd name="T26" fmla="*/ 13 w 185"/>
                <a:gd name="T27" fmla="*/ 0 h 136"/>
                <a:gd name="T28" fmla="*/ 0 w 185"/>
                <a:gd name="T29" fmla="*/ 25 h 136"/>
                <a:gd name="T30" fmla="*/ 8 w 185"/>
                <a:gd name="T31" fmla="*/ 29 h 136"/>
                <a:gd name="T32" fmla="*/ 13 w 185"/>
                <a:gd name="T33" fmla="*/ 31 h 136"/>
                <a:gd name="T34" fmla="*/ 28 w 185"/>
                <a:gd name="T35" fmla="*/ 40 h 136"/>
                <a:gd name="T36" fmla="*/ 33 w 185"/>
                <a:gd name="T37" fmla="*/ 43 h 136"/>
                <a:gd name="T38" fmla="*/ 53 w 185"/>
                <a:gd name="T39" fmla="*/ 54 h 136"/>
                <a:gd name="T40" fmla="*/ 72 w 185"/>
                <a:gd name="T41" fmla="*/ 66 h 136"/>
                <a:gd name="T42" fmla="*/ 87 w 185"/>
                <a:gd name="T43" fmla="*/ 76 h 136"/>
                <a:gd name="T44" fmla="*/ 92 w 185"/>
                <a:gd name="T45" fmla="*/ 79 h 136"/>
                <a:gd name="T46" fmla="*/ 112 w 185"/>
                <a:gd name="T47" fmla="*/ 93 h 136"/>
                <a:gd name="T48" fmla="*/ 131 w 185"/>
                <a:gd name="T49" fmla="*/ 107 h 136"/>
                <a:gd name="T50" fmla="*/ 142 w 185"/>
                <a:gd name="T51" fmla="*/ 116 h 136"/>
                <a:gd name="T52" fmla="*/ 150 w 185"/>
                <a:gd name="T53" fmla="*/ 122 h 136"/>
                <a:gd name="T54" fmla="*/ 160 w 185"/>
                <a:gd name="T55" fmla="*/ 131 h 136"/>
                <a:gd name="T56" fmla="*/ 166 w 185"/>
                <a:gd name="T57" fmla="*/ 136 h 136"/>
                <a:gd name="T58" fmla="*/ 170 w 185"/>
                <a:gd name="T59" fmla="*/ 131 h 136"/>
                <a:gd name="T60" fmla="*/ 185 w 185"/>
                <a:gd name="T61" fmla="*/ 114 h 136"/>
                <a:gd name="T62" fmla="*/ 178 w 185"/>
                <a:gd name="T63" fmla="*/ 109 h 136"/>
                <a:gd name="T64" fmla="*/ 176 w 185"/>
                <a:gd name="T65" fmla="*/ 10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5" h="136">
                  <a:moveTo>
                    <a:pt x="176" y="107"/>
                  </a:moveTo>
                  <a:cubicBezTo>
                    <a:pt x="172" y="103"/>
                    <a:pt x="167" y="99"/>
                    <a:pt x="160" y="94"/>
                  </a:cubicBezTo>
                  <a:cubicBezTo>
                    <a:pt x="159" y="93"/>
                    <a:pt x="158" y="92"/>
                    <a:pt x="157" y="91"/>
                  </a:cubicBezTo>
                  <a:cubicBezTo>
                    <a:pt x="151" y="87"/>
                    <a:pt x="145" y="82"/>
                    <a:pt x="138" y="77"/>
                  </a:cubicBezTo>
                  <a:cubicBezTo>
                    <a:pt x="132" y="72"/>
                    <a:pt x="125" y="67"/>
                    <a:pt x="119" y="63"/>
                  </a:cubicBezTo>
                  <a:cubicBezTo>
                    <a:pt x="113" y="59"/>
                    <a:pt x="108" y="55"/>
                    <a:pt x="102" y="52"/>
                  </a:cubicBezTo>
                  <a:cubicBezTo>
                    <a:pt x="101" y="51"/>
                    <a:pt x="100" y="50"/>
                    <a:pt x="99" y="50"/>
                  </a:cubicBezTo>
                  <a:cubicBezTo>
                    <a:pt x="92" y="45"/>
                    <a:pt x="86" y="41"/>
                    <a:pt x="79" y="37"/>
                  </a:cubicBezTo>
                  <a:cubicBezTo>
                    <a:pt x="73" y="33"/>
                    <a:pt x="66" y="29"/>
                    <a:pt x="60" y="25"/>
                  </a:cubicBezTo>
                  <a:cubicBezTo>
                    <a:pt x="53" y="21"/>
                    <a:pt x="47" y="18"/>
                    <a:pt x="41" y="15"/>
                  </a:cubicBezTo>
                  <a:cubicBezTo>
                    <a:pt x="41" y="15"/>
                    <a:pt x="40" y="14"/>
                    <a:pt x="40" y="14"/>
                  </a:cubicBezTo>
                  <a:cubicBezTo>
                    <a:pt x="32" y="10"/>
                    <a:pt x="25" y="6"/>
                    <a:pt x="21" y="4"/>
                  </a:cubicBezTo>
                  <a:cubicBezTo>
                    <a:pt x="20" y="4"/>
                    <a:pt x="20" y="3"/>
                    <a:pt x="20" y="3"/>
                  </a:cubicBezTo>
                  <a:cubicBezTo>
                    <a:pt x="15" y="1"/>
                    <a:pt x="13" y="0"/>
                    <a:pt x="13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3" y="26"/>
                    <a:pt x="8" y="29"/>
                  </a:cubicBezTo>
                  <a:cubicBezTo>
                    <a:pt x="9" y="29"/>
                    <a:pt x="11" y="30"/>
                    <a:pt x="13" y="31"/>
                  </a:cubicBezTo>
                  <a:cubicBezTo>
                    <a:pt x="17" y="34"/>
                    <a:pt x="22" y="36"/>
                    <a:pt x="28" y="40"/>
                  </a:cubicBezTo>
                  <a:cubicBezTo>
                    <a:pt x="29" y="41"/>
                    <a:pt x="31" y="42"/>
                    <a:pt x="33" y="43"/>
                  </a:cubicBezTo>
                  <a:cubicBezTo>
                    <a:pt x="39" y="46"/>
                    <a:pt x="46" y="50"/>
                    <a:pt x="53" y="54"/>
                  </a:cubicBezTo>
                  <a:cubicBezTo>
                    <a:pt x="59" y="58"/>
                    <a:pt x="66" y="62"/>
                    <a:pt x="72" y="66"/>
                  </a:cubicBezTo>
                  <a:cubicBezTo>
                    <a:pt x="77" y="69"/>
                    <a:pt x="82" y="72"/>
                    <a:pt x="87" y="76"/>
                  </a:cubicBezTo>
                  <a:cubicBezTo>
                    <a:pt x="88" y="77"/>
                    <a:pt x="90" y="78"/>
                    <a:pt x="92" y="79"/>
                  </a:cubicBezTo>
                  <a:cubicBezTo>
                    <a:pt x="99" y="84"/>
                    <a:pt x="105" y="88"/>
                    <a:pt x="112" y="93"/>
                  </a:cubicBezTo>
                  <a:cubicBezTo>
                    <a:pt x="118" y="98"/>
                    <a:pt x="125" y="103"/>
                    <a:pt x="131" y="107"/>
                  </a:cubicBezTo>
                  <a:cubicBezTo>
                    <a:pt x="135" y="110"/>
                    <a:pt x="139" y="113"/>
                    <a:pt x="142" y="116"/>
                  </a:cubicBezTo>
                  <a:cubicBezTo>
                    <a:pt x="145" y="118"/>
                    <a:pt x="147" y="120"/>
                    <a:pt x="150" y="122"/>
                  </a:cubicBezTo>
                  <a:cubicBezTo>
                    <a:pt x="154" y="126"/>
                    <a:pt x="157" y="128"/>
                    <a:pt x="160" y="131"/>
                  </a:cubicBezTo>
                  <a:cubicBezTo>
                    <a:pt x="164" y="134"/>
                    <a:pt x="166" y="136"/>
                    <a:pt x="166" y="136"/>
                  </a:cubicBezTo>
                  <a:cubicBezTo>
                    <a:pt x="170" y="131"/>
                    <a:pt x="170" y="131"/>
                    <a:pt x="170" y="131"/>
                  </a:cubicBezTo>
                  <a:cubicBezTo>
                    <a:pt x="185" y="114"/>
                    <a:pt x="185" y="114"/>
                    <a:pt x="185" y="114"/>
                  </a:cubicBezTo>
                  <a:cubicBezTo>
                    <a:pt x="185" y="114"/>
                    <a:pt x="183" y="112"/>
                    <a:pt x="178" y="109"/>
                  </a:cubicBezTo>
                  <a:cubicBezTo>
                    <a:pt x="178" y="108"/>
                    <a:pt x="177" y="107"/>
                    <a:pt x="176" y="1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Freeform 22"/>
            <p:cNvSpPr>
              <a:spLocks/>
            </p:cNvSpPr>
            <p:nvPr/>
          </p:nvSpPr>
          <p:spPr bwMode="auto">
            <a:xfrm>
              <a:off x="5167313" y="4927600"/>
              <a:ext cx="515938" cy="220663"/>
            </a:xfrm>
            <a:custGeom>
              <a:avLst/>
              <a:gdLst>
                <a:gd name="T0" fmla="*/ 173 w 203"/>
                <a:gd name="T1" fmla="*/ 51 h 87"/>
                <a:gd name="T2" fmla="*/ 172 w 203"/>
                <a:gd name="T3" fmla="*/ 51 h 87"/>
                <a:gd name="T4" fmla="*/ 151 w 203"/>
                <a:gd name="T5" fmla="*/ 44 h 87"/>
                <a:gd name="T6" fmla="*/ 130 w 203"/>
                <a:gd name="T7" fmla="*/ 37 h 87"/>
                <a:gd name="T8" fmla="*/ 109 w 203"/>
                <a:gd name="T9" fmla="*/ 30 h 87"/>
                <a:gd name="T10" fmla="*/ 106 w 203"/>
                <a:gd name="T11" fmla="*/ 29 h 87"/>
                <a:gd name="T12" fmla="*/ 88 w 203"/>
                <a:gd name="T13" fmla="*/ 24 h 87"/>
                <a:gd name="T14" fmla="*/ 70 w 203"/>
                <a:gd name="T15" fmla="*/ 18 h 87"/>
                <a:gd name="T16" fmla="*/ 67 w 203"/>
                <a:gd name="T17" fmla="*/ 17 h 87"/>
                <a:gd name="T18" fmla="*/ 53 w 203"/>
                <a:gd name="T19" fmla="*/ 13 h 87"/>
                <a:gd name="T20" fmla="*/ 45 w 203"/>
                <a:gd name="T21" fmla="*/ 11 h 87"/>
                <a:gd name="T22" fmla="*/ 38 w 203"/>
                <a:gd name="T23" fmla="*/ 9 h 87"/>
                <a:gd name="T24" fmla="*/ 24 w 203"/>
                <a:gd name="T25" fmla="*/ 5 h 87"/>
                <a:gd name="T26" fmla="*/ 8 w 203"/>
                <a:gd name="T27" fmla="*/ 0 h 87"/>
                <a:gd name="T28" fmla="*/ 0 w 203"/>
                <a:gd name="T29" fmla="*/ 25 h 87"/>
                <a:gd name="T30" fmla="*/ 18 w 203"/>
                <a:gd name="T31" fmla="*/ 30 h 87"/>
                <a:gd name="T32" fmla="*/ 31 w 203"/>
                <a:gd name="T33" fmla="*/ 34 h 87"/>
                <a:gd name="T34" fmla="*/ 39 w 203"/>
                <a:gd name="T35" fmla="*/ 37 h 87"/>
                <a:gd name="T36" fmla="*/ 46 w 203"/>
                <a:gd name="T37" fmla="*/ 38 h 87"/>
                <a:gd name="T38" fmla="*/ 60 w 203"/>
                <a:gd name="T39" fmla="*/ 43 h 87"/>
                <a:gd name="T40" fmla="*/ 62 w 203"/>
                <a:gd name="T41" fmla="*/ 43 h 87"/>
                <a:gd name="T42" fmla="*/ 82 w 203"/>
                <a:gd name="T43" fmla="*/ 50 h 87"/>
                <a:gd name="T44" fmla="*/ 98 w 203"/>
                <a:gd name="T45" fmla="*/ 55 h 87"/>
                <a:gd name="T46" fmla="*/ 103 w 203"/>
                <a:gd name="T47" fmla="*/ 56 h 87"/>
                <a:gd name="T48" fmla="*/ 124 w 203"/>
                <a:gd name="T49" fmla="*/ 63 h 87"/>
                <a:gd name="T50" fmla="*/ 145 w 203"/>
                <a:gd name="T51" fmla="*/ 70 h 87"/>
                <a:gd name="T52" fmla="*/ 164 w 203"/>
                <a:gd name="T53" fmla="*/ 76 h 87"/>
                <a:gd name="T54" fmla="*/ 166 w 203"/>
                <a:gd name="T55" fmla="*/ 77 h 87"/>
                <a:gd name="T56" fmla="*/ 187 w 203"/>
                <a:gd name="T57" fmla="*/ 84 h 87"/>
                <a:gd name="T58" fmla="*/ 194 w 203"/>
                <a:gd name="T59" fmla="*/ 87 h 87"/>
                <a:gd name="T60" fmla="*/ 203 w 203"/>
                <a:gd name="T61" fmla="*/ 61 h 87"/>
                <a:gd name="T62" fmla="*/ 193 w 203"/>
                <a:gd name="T63" fmla="*/ 58 h 87"/>
                <a:gd name="T64" fmla="*/ 173 w 203"/>
                <a:gd name="T65" fmla="*/ 5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3" h="87">
                  <a:moveTo>
                    <a:pt x="173" y="51"/>
                  </a:moveTo>
                  <a:cubicBezTo>
                    <a:pt x="172" y="51"/>
                    <a:pt x="172" y="51"/>
                    <a:pt x="172" y="51"/>
                  </a:cubicBezTo>
                  <a:cubicBezTo>
                    <a:pt x="166" y="48"/>
                    <a:pt x="158" y="46"/>
                    <a:pt x="151" y="44"/>
                  </a:cubicBezTo>
                  <a:cubicBezTo>
                    <a:pt x="144" y="41"/>
                    <a:pt x="137" y="39"/>
                    <a:pt x="130" y="37"/>
                  </a:cubicBezTo>
                  <a:cubicBezTo>
                    <a:pt x="123" y="35"/>
                    <a:pt x="116" y="32"/>
                    <a:pt x="109" y="30"/>
                  </a:cubicBezTo>
                  <a:cubicBezTo>
                    <a:pt x="108" y="30"/>
                    <a:pt x="107" y="29"/>
                    <a:pt x="106" y="29"/>
                  </a:cubicBezTo>
                  <a:cubicBezTo>
                    <a:pt x="100" y="27"/>
                    <a:pt x="94" y="25"/>
                    <a:pt x="88" y="24"/>
                  </a:cubicBezTo>
                  <a:cubicBezTo>
                    <a:pt x="82" y="22"/>
                    <a:pt x="76" y="20"/>
                    <a:pt x="70" y="18"/>
                  </a:cubicBezTo>
                  <a:cubicBezTo>
                    <a:pt x="69" y="18"/>
                    <a:pt x="68" y="17"/>
                    <a:pt x="67" y="17"/>
                  </a:cubicBezTo>
                  <a:cubicBezTo>
                    <a:pt x="62" y="16"/>
                    <a:pt x="57" y="14"/>
                    <a:pt x="53" y="13"/>
                  </a:cubicBezTo>
                  <a:cubicBezTo>
                    <a:pt x="50" y="12"/>
                    <a:pt x="48" y="12"/>
                    <a:pt x="45" y="11"/>
                  </a:cubicBezTo>
                  <a:cubicBezTo>
                    <a:pt x="43" y="10"/>
                    <a:pt x="40" y="9"/>
                    <a:pt x="38" y="9"/>
                  </a:cubicBezTo>
                  <a:cubicBezTo>
                    <a:pt x="33" y="7"/>
                    <a:pt x="28" y="6"/>
                    <a:pt x="24" y="5"/>
                  </a:cubicBezTo>
                  <a:cubicBezTo>
                    <a:pt x="14" y="2"/>
                    <a:pt x="8" y="0"/>
                    <a:pt x="8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7" y="27"/>
                    <a:pt x="18" y="30"/>
                  </a:cubicBezTo>
                  <a:cubicBezTo>
                    <a:pt x="22" y="32"/>
                    <a:pt x="26" y="33"/>
                    <a:pt x="31" y="34"/>
                  </a:cubicBezTo>
                  <a:cubicBezTo>
                    <a:pt x="34" y="35"/>
                    <a:pt x="36" y="36"/>
                    <a:pt x="39" y="37"/>
                  </a:cubicBezTo>
                  <a:cubicBezTo>
                    <a:pt x="41" y="37"/>
                    <a:pt x="44" y="38"/>
                    <a:pt x="46" y="38"/>
                  </a:cubicBezTo>
                  <a:cubicBezTo>
                    <a:pt x="50" y="40"/>
                    <a:pt x="55" y="41"/>
                    <a:pt x="60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8" y="45"/>
                    <a:pt x="75" y="47"/>
                    <a:pt x="82" y="50"/>
                  </a:cubicBezTo>
                  <a:cubicBezTo>
                    <a:pt x="87" y="51"/>
                    <a:pt x="92" y="53"/>
                    <a:pt x="98" y="55"/>
                  </a:cubicBezTo>
                  <a:cubicBezTo>
                    <a:pt x="99" y="55"/>
                    <a:pt x="101" y="56"/>
                    <a:pt x="103" y="56"/>
                  </a:cubicBezTo>
                  <a:cubicBezTo>
                    <a:pt x="110" y="58"/>
                    <a:pt x="117" y="61"/>
                    <a:pt x="124" y="63"/>
                  </a:cubicBezTo>
                  <a:cubicBezTo>
                    <a:pt x="131" y="65"/>
                    <a:pt x="138" y="68"/>
                    <a:pt x="145" y="70"/>
                  </a:cubicBezTo>
                  <a:cubicBezTo>
                    <a:pt x="152" y="72"/>
                    <a:pt x="158" y="74"/>
                    <a:pt x="164" y="76"/>
                  </a:cubicBezTo>
                  <a:cubicBezTo>
                    <a:pt x="164" y="77"/>
                    <a:pt x="165" y="77"/>
                    <a:pt x="166" y="77"/>
                  </a:cubicBezTo>
                  <a:cubicBezTo>
                    <a:pt x="174" y="80"/>
                    <a:pt x="182" y="83"/>
                    <a:pt x="187" y="84"/>
                  </a:cubicBezTo>
                  <a:cubicBezTo>
                    <a:pt x="191" y="86"/>
                    <a:pt x="194" y="87"/>
                    <a:pt x="194" y="87"/>
                  </a:cubicBezTo>
                  <a:cubicBezTo>
                    <a:pt x="203" y="61"/>
                    <a:pt x="203" y="61"/>
                    <a:pt x="203" y="61"/>
                  </a:cubicBezTo>
                  <a:cubicBezTo>
                    <a:pt x="203" y="61"/>
                    <a:pt x="199" y="60"/>
                    <a:pt x="193" y="58"/>
                  </a:cubicBezTo>
                  <a:cubicBezTo>
                    <a:pt x="188" y="56"/>
                    <a:pt x="181" y="54"/>
                    <a:pt x="173" y="5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Freeform 23"/>
            <p:cNvSpPr>
              <a:spLocks/>
            </p:cNvSpPr>
            <p:nvPr/>
          </p:nvSpPr>
          <p:spPr bwMode="auto">
            <a:xfrm>
              <a:off x="4157663" y="4740275"/>
              <a:ext cx="520700" cy="136525"/>
            </a:xfrm>
            <a:custGeom>
              <a:avLst/>
              <a:gdLst>
                <a:gd name="T0" fmla="*/ 174 w 205"/>
                <a:gd name="T1" fmla="*/ 24 h 54"/>
                <a:gd name="T2" fmla="*/ 164 w 205"/>
                <a:gd name="T3" fmla="*/ 22 h 54"/>
                <a:gd name="T4" fmla="*/ 142 w 205"/>
                <a:gd name="T5" fmla="*/ 19 h 54"/>
                <a:gd name="T6" fmla="*/ 120 w 205"/>
                <a:gd name="T7" fmla="*/ 16 h 54"/>
                <a:gd name="T8" fmla="*/ 104 w 205"/>
                <a:gd name="T9" fmla="*/ 13 h 54"/>
                <a:gd name="T10" fmla="*/ 98 w 205"/>
                <a:gd name="T11" fmla="*/ 12 h 54"/>
                <a:gd name="T12" fmla="*/ 76 w 205"/>
                <a:gd name="T13" fmla="*/ 9 h 54"/>
                <a:gd name="T14" fmla="*/ 54 w 205"/>
                <a:gd name="T15" fmla="*/ 6 h 54"/>
                <a:gd name="T16" fmla="*/ 35 w 205"/>
                <a:gd name="T17" fmla="*/ 4 h 54"/>
                <a:gd name="T18" fmla="*/ 33 w 205"/>
                <a:gd name="T19" fmla="*/ 4 h 54"/>
                <a:gd name="T20" fmla="*/ 10 w 205"/>
                <a:gd name="T21" fmla="*/ 1 h 54"/>
                <a:gd name="T22" fmla="*/ 3 w 205"/>
                <a:gd name="T23" fmla="*/ 0 h 54"/>
                <a:gd name="T24" fmla="*/ 0 w 205"/>
                <a:gd name="T25" fmla="*/ 24 h 54"/>
                <a:gd name="T26" fmla="*/ 5 w 205"/>
                <a:gd name="T27" fmla="*/ 25 h 54"/>
                <a:gd name="T28" fmla="*/ 27 w 205"/>
                <a:gd name="T29" fmla="*/ 28 h 54"/>
                <a:gd name="T30" fmla="*/ 32 w 205"/>
                <a:gd name="T31" fmla="*/ 28 h 54"/>
                <a:gd name="T32" fmla="*/ 49 w 205"/>
                <a:gd name="T33" fmla="*/ 30 h 54"/>
                <a:gd name="T34" fmla="*/ 71 w 205"/>
                <a:gd name="T35" fmla="*/ 33 h 54"/>
                <a:gd name="T36" fmla="*/ 93 w 205"/>
                <a:gd name="T37" fmla="*/ 37 h 54"/>
                <a:gd name="T38" fmla="*/ 101 w 205"/>
                <a:gd name="T39" fmla="*/ 38 h 54"/>
                <a:gd name="T40" fmla="*/ 115 w 205"/>
                <a:gd name="T41" fmla="*/ 40 h 54"/>
                <a:gd name="T42" fmla="*/ 136 w 205"/>
                <a:gd name="T43" fmla="*/ 43 h 54"/>
                <a:gd name="T44" fmla="*/ 158 w 205"/>
                <a:gd name="T45" fmla="*/ 47 h 54"/>
                <a:gd name="T46" fmla="*/ 170 w 205"/>
                <a:gd name="T47" fmla="*/ 49 h 54"/>
                <a:gd name="T48" fmla="*/ 180 w 205"/>
                <a:gd name="T49" fmla="*/ 51 h 54"/>
                <a:gd name="T50" fmla="*/ 201 w 205"/>
                <a:gd name="T51" fmla="*/ 54 h 54"/>
                <a:gd name="T52" fmla="*/ 205 w 205"/>
                <a:gd name="T53" fmla="*/ 29 h 54"/>
                <a:gd name="T54" fmla="*/ 186 w 205"/>
                <a:gd name="T55" fmla="*/ 26 h 54"/>
                <a:gd name="T56" fmla="*/ 174 w 205"/>
                <a:gd name="T57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5" h="54">
                  <a:moveTo>
                    <a:pt x="174" y="24"/>
                  </a:moveTo>
                  <a:cubicBezTo>
                    <a:pt x="171" y="23"/>
                    <a:pt x="167" y="23"/>
                    <a:pt x="164" y="22"/>
                  </a:cubicBezTo>
                  <a:cubicBezTo>
                    <a:pt x="157" y="21"/>
                    <a:pt x="150" y="20"/>
                    <a:pt x="142" y="19"/>
                  </a:cubicBezTo>
                  <a:cubicBezTo>
                    <a:pt x="135" y="18"/>
                    <a:pt x="128" y="17"/>
                    <a:pt x="120" y="16"/>
                  </a:cubicBezTo>
                  <a:cubicBezTo>
                    <a:pt x="115" y="15"/>
                    <a:pt x="110" y="14"/>
                    <a:pt x="104" y="13"/>
                  </a:cubicBezTo>
                  <a:cubicBezTo>
                    <a:pt x="102" y="13"/>
                    <a:pt x="100" y="13"/>
                    <a:pt x="98" y="12"/>
                  </a:cubicBezTo>
                  <a:cubicBezTo>
                    <a:pt x="91" y="11"/>
                    <a:pt x="84" y="10"/>
                    <a:pt x="76" y="9"/>
                  </a:cubicBezTo>
                  <a:cubicBezTo>
                    <a:pt x="69" y="8"/>
                    <a:pt x="61" y="7"/>
                    <a:pt x="54" y="6"/>
                  </a:cubicBezTo>
                  <a:cubicBezTo>
                    <a:pt x="47" y="6"/>
                    <a:pt x="41" y="5"/>
                    <a:pt x="35" y="4"/>
                  </a:cubicBezTo>
                  <a:cubicBezTo>
                    <a:pt x="34" y="4"/>
                    <a:pt x="33" y="4"/>
                    <a:pt x="33" y="4"/>
                  </a:cubicBezTo>
                  <a:cubicBezTo>
                    <a:pt x="23" y="3"/>
                    <a:pt x="16" y="2"/>
                    <a:pt x="10" y="1"/>
                  </a:cubicBezTo>
                  <a:cubicBezTo>
                    <a:pt x="6" y="0"/>
                    <a:pt x="3" y="0"/>
                    <a:pt x="3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2" y="25"/>
                    <a:pt x="5" y="25"/>
                  </a:cubicBezTo>
                  <a:cubicBezTo>
                    <a:pt x="9" y="25"/>
                    <a:pt x="17" y="26"/>
                    <a:pt x="27" y="28"/>
                  </a:cubicBezTo>
                  <a:cubicBezTo>
                    <a:pt x="28" y="28"/>
                    <a:pt x="30" y="28"/>
                    <a:pt x="32" y="28"/>
                  </a:cubicBezTo>
                  <a:cubicBezTo>
                    <a:pt x="37" y="29"/>
                    <a:pt x="43" y="30"/>
                    <a:pt x="49" y="30"/>
                  </a:cubicBezTo>
                  <a:cubicBezTo>
                    <a:pt x="56" y="31"/>
                    <a:pt x="63" y="32"/>
                    <a:pt x="71" y="33"/>
                  </a:cubicBezTo>
                  <a:cubicBezTo>
                    <a:pt x="78" y="34"/>
                    <a:pt x="85" y="35"/>
                    <a:pt x="93" y="37"/>
                  </a:cubicBezTo>
                  <a:cubicBezTo>
                    <a:pt x="95" y="37"/>
                    <a:pt x="98" y="37"/>
                    <a:pt x="101" y="38"/>
                  </a:cubicBezTo>
                  <a:cubicBezTo>
                    <a:pt x="105" y="38"/>
                    <a:pt x="110" y="39"/>
                    <a:pt x="115" y="40"/>
                  </a:cubicBezTo>
                  <a:cubicBezTo>
                    <a:pt x="122" y="41"/>
                    <a:pt x="129" y="42"/>
                    <a:pt x="136" y="43"/>
                  </a:cubicBezTo>
                  <a:cubicBezTo>
                    <a:pt x="144" y="44"/>
                    <a:pt x="151" y="46"/>
                    <a:pt x="158" y="47"/>
                  </a:cubicBezTo>
                  <a:cubicBezTo>
                    <a:pt x="162" y="47"/>
                    <a:pt x="166" y="48"/>
                    <a:pt x="170" y="49"/>
                  </a:cubicBezTo>
                  <a:cubicBezTo>
                    <a:pt x="173" y="49"/>
                    <a:pt x="177" y="50"/>
                    <a:pt x="180" y="51"/>
                  </a:cubicBezTo>
                  <a:cubicBezTo>
                    <a:pt x="193" y="53"/>
                    <a:pt x="201" y="54"/>
                    <a:pt x="201" y="54"/>
                  </a:cubicBezTo>
                  <a:cubicBezTo>
                    <a:pt x="205" y="29"/>
                    <a:pt x="205" y="29"/>
                    <a:pt x="205" y="29"/>
                  </a:cubicBezTo>
                  <a:cubicBezTo>
                    <a:pt x="205" y="29"/>
                    <a:pt x="198" y="28"/>
                    <a:pt x="186" y="26"/>
                  </a:cubicBezTo>
                  <a:cubicBezTo>
                    <a:pt x="182" y="25"/>
                    <a:pt x="178" y="25"/>
                    <a:pt x="174" y="2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Freeform 24"/>
            <p:cNvSpPr>
              <a:spLocks/>
            </p:cNvSpPr>
            <p:nvPr/>
          </p:nvSpPr>
          <p:spPr bwMode="auto">
            <a:xfrm>
              <a:off x="3127375" y="4656138"/>
              <a:ext cx="520700" cy="93663"/>
            </a:xfrm>
            <a:custGeom>
              <a:avLst/>
              <a:gdLst>
                <a:gd name="T0" fmla="*/ 277 w 328"/>
                <a:gd name="T1" fmla="*/ 19 h 59"/>
                <a:gd name="T2" fmla="*/ 240 w 328"/>
                <a:gd name="T3" fmla="*/ 16 h 59"/>
                <a:gd name="T4" fmla="*/ 205 w 328"/>
                <a:gd name="T5" fmla="*/ 14 h 59"/>
                <a:gd name="T6" fmla="*/ 170 w 328"/>
                <a:gd name="T7" fmla="*/ 11 h 59"/>
                <a:gd name="T8" fmla="*/ 135 w 328"/>
                <a:gd name="T9" fmla="*/ 9 h 59"/>
                <a:gd name="T10" fmla="*/ 98 w 328"/>
                <a:gd name="T11" fmla="*/ 6 h 59"/>
                <a:gd name="T12" fmla="*/ 63 w 328"/>
                <a:gd name="T13" fmla="*/ 5 h 59"/>
                <a:gd name="T14" fmla="*/ 28 w 328"/>
                <a:gd name="T15" fmla="*/ 1 h 59"/>
                <a:gd name="T16" fmla="*/ 4 w 328"/>
                <a:gd name="T17" fmla="*/ 0 h 59"/>
                <a:gd name="T18" fmla="*/ 0 w 328"/>
                <a:gd name="T19" fmla="*/ 37 h 59"/>
                <a:gd name="T20" fmla="*/ 20 w 328"/>
                <a:gd name="T21" fmla="*/ 38 h 59"/>
                <a:gd name="T22" fmla="*/ 55 w 328"/>
                <a:gd name="T23" fmla="*/ 40 h 59"/>
                <a:gd name="T24" fmla="*/ 90 w 328"/>
                <a:gd name="T25" fmla="*/ 43 h 59"/>
                <a:gd name="T26" fmla="*/ 125 w 328"/>
                <a:gd name="T27" fmla="*/ 45 h 59"/>
                <a:gd name="T28" fmla="*/ 162 w 328"/>
                <a:gd name="T29" fmla="*/ 48 h 59"/>
                <a:gd name="T30" fmla="*/ 197 w 328"/>
                <a:gd name="T31" fmla="*/ 51 h 59"/>
                <a:gd name="T32" fmla="*/ 232 w 328"/>
                <a:gd name="T33" fmla="*/ 53 h 59"/>
                <a:gd name="T34" fmla="*/ 267 w 328"/>
                <a:gd name="T35" fmla="*/ 56 h 59"/>
                <a:gd name="T36" fmla="*/ 304 w 328"/>
                <a:gd name="T37" fmla="*/ 57 h 59"/>
                <a:gd name="T38" fmla="*/ 326 w 328"/>
                <a:gd name="T39" fmla="*/ 59 h 59"/>
                <a:gd name="T40" fmla="*/ 328 w 328"/>
                <a:gd name="T41" fmla="*/ 22 h 59"/>
                <a:gd name="T42" fmla="*/ 312 w 328"/>
                <a:gd name="T43" fmla="*/ 21 h 59"/>
                <a:gd name="T44" fmla="*/ 277 w 328"/>
                <a:gd name="T45" fmla="*/ 1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8" h="59">
                  <a:moveTo>
                    <a:pt x="277" y="19"/>
                  </a:moveTo>
                  <a:lnTo>
                    <a:pt x="240" y="16"/>
                  </a:lnTo>
                  <a:lnTo>
                    <a:pt x="205" y="14"/>
                  </a:lnTo>
                  <a:lnTo>
                    <a:pt x="170" y="11"/>
                  </a:lnTo>
                  <a:lnTo>
                    <a:pt x="135" y="9"/>
                  </a:lnTo>
                  <a:lnTo>
                    <a:pt x="98" y="6"/>
                  </a:lnTo>
                  <a:lnTo>
                    <a:pt x="63" y="5"/>
                  </a:lnTo>
                  <a:lnTo>
                    <a:pt x="28" y="1"/>
                  </a:lnTo>
                  <a:lnTo>
                    <a:pt x="4" y="0"/>
                  </a:lnTo>
                  <a:lnTo>
                    <a:pt x="0" y="37"/>
                  </a:lnTo>
                  <a:lnTo>
                    <a:pt x="20" y="38"/>
                  </a:lnTo>
                  <a:lnTo>
                    <a:pt x="55" y="40"/>
                  </a:lnTo>
                  <a:lnTo>
                    <a:pt x="90" y="43"/>
                  </a:lnTo>
                  <a:lnTo>
                    <a:pt x="125" y="45"/>
                  </a:lnTo>
                  <a:lnTo>
                    <a:pt x="162" y="48"/>
                  </a:lnTo>
                  <a:lnTo>
                    <a:pt x="197" y="51"/>
                  </a:lnTo>
                  <a:lnTo>
                    <a:pt x="232" y="53"/>
                  </a:lnTo>
                  <a:lnTo>
                    <a:pt x="267" y="56"/>
                  </a:lnTo>
                  <a:lnTo>
                    <a:pt x="304" y="57"/>
                  </a:lnTo>
                  <a:lnTo>
                    <a:pt x="326" y="59"/>
                  </a:lnTo>
                  <a:lnTo>
                    <a:pt x="328" y="22"/>
                  </a:lnTo>
                  <a:lnTo>
                    <a:pt x="312" y="21"/>
                  </a:lnTo>
                  <a:lnTo>
                    <a:pt x="27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8" name="Freeform 25"/>
            <p:cNvSpPr>
              <a:spLocks/>
            </p:cNvSpPr>
            <p:nvPr/>
          </p:nvSpPr>
          <p:spPr bwMode="auto">
            <a:xfrm>
              <a:off x="2098675" y="4594225"/>
              <a:ext cx="519113" cy="82550"/>
            </a:xfrm>
            <a:custGeom>
              <a:avLst/>
              <a:gdLst>
                <a:gd name="T0" fmla="*/ 196 w 205"/>
                <a:gd name="T1" fmla="*/ 10 h 32"/>
                <a:gd name="T2" fmla="*/ 187 w 205"/>
                <a:gd name="T3" fmla="*/ 10 h 32"/>
                <a:gd name="T4" fmla="*/ 178 w 205"/>
                <a:gd name="T5" fmla="*/ 9 h 32"/>
                <a:gd name="T6" fmla="*/ 169 w 205"/>
                <a:gd name="T7" fmla="*/ 9 h 32"/>
                <a:gd name="T8" fmla="*/ 155 w 205"/>
                <a:gd name="T9" fmla="*/ 8 h 32"/>
                <a:gd name="T10" fmla="*/ 142 w 205"/>
                <a:gd name="T11" fmla="*/ 7 h 32"/>
                <a:gd name="T12" fmla="*/ 133 w 205"/>
                <a:gd name="T13" fmla="*/ 7 h 32"/>
                <a:gd name="T14" fmla="*/ 115 w 205"/>
                <a:gd name="T15" fmla="*/ 6 h 32"/>
                <a:gd name="T16" fmla="*/ 106 w 205"/>
                <a:gd name="T17" fmla="*/ 5 h 32"/>
                <a:gd name="T18" fmla="*/ 98 w 205"/>
                <a:gd name="T19" fmla="*/ 5 h 32"/>
                <a:gd name="T20" fmla="*/ 88 w 205"/>
                <a:gd name="T21" fmla="*/ 5 h 32"/>
                <a:gd name="T22" fmla="*/ 71 w 205"/>
                <a:gd name="T23" fmla="*/ 4 h 32"/>
                <a:gd name="T24" fmla="*/ 62 w 205"/>
                <a:gd name="T25" fmla="*/ 4 h 32"/>
                <a:gd name="T26" fmla="*/ 44 w 205"/>
                <a:gd name="T27" fmla="*/ 3 h 32"/>
                <a:gd name="T28" fmla="*/ 35 w 205"/>
                <a:gd name="T29" fmla="*/ 2 h 32"/>
                <a:gd name="T30" fmla="*/ 26 w 205"/>
                <a:gd name="T31" fmla="*/ 2 h 32"/>
                <a:gd name="T32" fmla="*/ 17 w 205"/>
                <a:gd name="T33" fmla="*/ 1 h 32"/>
                <a:gd name="T34" fmla="*/ 1 w 205"/>
                <a:gd name="T35" fmla="*/ 0 h 32"/>
                <a:gd name="T36" fmla="*/ 3 w 205"/>
                <a:gd name="T37" fmla="*/ 21 h 32"/>
                <a:gd name="T38" fmla="*/ 16 w 205"/>
                <a:gd name="T39" fmla="*/ 22 h 32"/>
                <a:gd name="T40" fmla="*/ 30 w 205"/>
                <a:gd name="T41" fmla="*/ 23 h 32"/>
                <a:gd name="T42" fmla="*/ 38 w 205"/>
                <a:gd name="T43" fmla="*/ 23 h 32"/>
                <a:gd name="T44" fmla="*/ 48 w 205"/>
                <a:gd name="T45" fmla="*/ 24 h 32"/>
                <a:gd name="T46" fmla="*/ 61 w 205"/>
                <a:gd name="T47" fmla="*/ 24 h 32"/>
                <a:gd name="T48" fmla="*/ 75 w 205"/>
                <a:gd name="T49" fmla="*/ 25 h 32"/>
                <a:gd name="T50" fmla="*/ 84 w 205"/>
                <a:gd name="T51" fmla="*/ 26 h 32"/>
                <a:gd name="T52" fmla="*/ 102 w 205"/>
                <a:gd name="T53" fmla="*/ 26 h 32"/>
                <a:gd name="T54" fmla="*/ 106 w 205"/>
                <a:gd name="T55" fmla="*/ 27 h 32"/>
                <a:gd name="T56" fmla="*/ 119 w 205"/>
                <a:gd name="T57" fmla="*/ 27 h 32"/>
                <a:gd name="T58" fmla="*/ 128 w 205"/>
                <a:gd name="T59" fmla="*/ 28 h 32"/>
                <a:gd name="T60" fmla="*/ 146 w 205"/>
                <a:gd name="T61" fmla="*/ 29 h 32"/>
                <a:gd name="T62" fmla="*/ 155 w 205"/>
                <a:gd name="T63" fmla="*/ 29 h 32"/>
                <a:gd name="T64" fmla="*/ 171 w 205"/>
                <a:gd name="T65" fmla="*/ 30 h 32"/>
                <a:gd name="T66" fmla="*/ 173 w 205"/>
                <a:gd name="T67" fmla="*/ 30 h 32"/>
                <a:gd name="T68" fmla="*/ 191 w 205"/>
                <a:gd name="T69" fmla="*/ 31 h 32"/>
                <a:gd name="T70" fmla="*/ 195 w 205"/>
                <a:gd name="T71" fmla="*/ 32 h 32"/>
                <a:gd name="T72" fmla="*/ 203 w 205"/>
                <a:gd name="T73" fmla="*/ 32 h 32"/>
                <a:gd name="T74" fmla="*/ 205 w 205"/>
                <a:gd name="T75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5" h="32">
                  <a:moveTo>
                    <a:pt x="200" y="11"/>
                  </a:moveTo>
                  <a:cubicBezTo>
                    <a:pt x="199" y="11"/>
                    <a:pt x="197" y="10"/>
                    <a:pt x="196" y="10"/>
                  </a:cubicBezTo>
                  <a:cubicBezTo>
                    <a:pt x="196" y="10"/>
                    <a:pt x="196" y="10"/>
                    <a:pt x="196" y="10"/>
                  </a:cubicBezTo>
                  <a:cubicBezTo>
                    <a:pt x="193" y="10"/>
                    <a:pt x="190" y="10"/>
                    <a:pt x="187" y="10"/>
                  </a:cubicBezTo>
                  <a:cubicBezTo>
                    <a:pt x="184" y="10"/>
                    <a:pt x="181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ubicBezTo>
                    <a:pt x="176" y="9"/>
                    <a:pt x="174" y="9"/>
                    <a:pt x="173" y="9"/>
                  </a:cubicBezTo>
                  <a:cubicBezTo>
                    <a:pt x="172" y="9"/>
                    <a:pt x="170" y="9"/>
                    <a:pt x="169" y="9"/>
                  </a:cubicBezTo>
                  <a:cubicBezTo>
                    <a:pt x="166" y="8"/>
                    <a:pt x="163" y="8"/>
                    <a:pt x="160" y="8"/>
                  </a:cubicBezTo>
                  <a:cubicBezTo>
                    <a:pt x="159" y="8"/>
                    <a:pt x="157" y="8"/>
                    <a:pt x="155" y="8"/>
                  </a:cubicBezTo>
                  <a:cubicBezTo>
                    <a:pt x="154" y="8"/>
                    <a:pt x="153" y="8"/>
                    <a:pt x="151" y="8"/>
                  </a:cubicBezTo>
                  <a:cubicBezTo>
                    <a:pt x="148" y="7"/>
                    <a:pt x="145" y="7"/>
                    <a:pt x="142" y="7"/>
                  </a:cubicBezTo>
                  <a:cubicBezTo>
                    <a:pt x="139" y="7"/>
                    <a:pt x="136" y="7"/>
                    <a:pt x="133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0" y="7"/>
                    <a:pt x="127" y="6"/>
                    <a:pt x="124" y="6"/>
                  </a:cubicBezTo>
                  <a:cubicBezTo>
                    <a:pt x="121" y="6"/>
                    <a:pt x="118" y="6"/>
                    <a:pt x="115" y="6"/>
                  </a:cubicBezTo>
                  <a:cubicBezTo>
                    <a:pt x="114" y="6"/>
                    <a:pt x="112" y="6"/>
                    <a:pt x="111" y="6"/>
                  </a:cubicBezTo>
                  <a:cubicBezTo>
                    <a:pt x="109" y="6"/>
                    <a:pt x="108" y="6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1" y="5"/>
                    <a:pt x="99" y="5"/>
                    <a:pt x="98" y="5"/>
                  </a:cubicBezTo>
                  <a:cubicBezTo>
                    <a:pt x="95" y="5"/>
                    <a:pt x="92" y="5"/>
                    <a:pt x="89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5" y="5"/>
                    <a:pt x="82" y="4"/>
                    <a:pt x="80" y="4"/>
                  </a:cubicBezTo>
                  <a:cubicBezTo>
                    <a:pt x="77" y="4"/>
                    <a:pt x="74" y="4"/>
                    <a:pt x="71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9" y="3"/>
                    <a:pt x="56" y="3"/>
                    <a:pt x="53" y="3"/>
                  </a:cubicBezTo>
                  <a:cubicBezTo>
                    <a:pt x="50" y="3"/>
                    <a:pt x="47" y="3"/>
                    <a:pt x="44" y="3"/>
                  </a:cubicBezTo>
                  <a:cubicBezTo>
                    <a:pt x="44" y="3"/>
                    <a:pt x="43" y="3"/>
                    <a:pt x="43" y="3"/>
                  </a:cubicBezTo>
                  <a:cubicBezTo>
                    <a:pt x="40" y="3"/>
                    <a:pt x="38" y="2"/>
                    <a:pt x="35" y="2"/>
                  </a:cubicBezTo>
                  <a:cubicBezTo>
                    <a:pt x="34" y="2"/>
                    <a:pt x="33" y="2"/>
                    <a:pt x="33" y="2"/>
                  </a:cubicBezTo>
                  <a:cubicBezTo>
                    <a:pt x="30" y="2"/>
                    <a:pt x="28" y="2"/>
                    <a:pt x="26" y="2"/>
                  </a:cubicBezTo>
                  <a:cubicBezTo>
                    <a:pt x="24" y="2"/>
                    <a:pt x="23" y="2"/>
                    <a:pt x="21" y="2"/>
                  </a:cubicBezTo>
                  <a:cubicBezTo>
                    <a:pt x="20" y="1"/>
                    <a:pt x="18" y="1"/>
                    <a:pt x="17" y="1"/>
                  </a:cubicBezTo>
                  <a:cubicBezTo>
                    <a:pt x="14" y="1"/>
                    <a:pt x="11" y="1"/>
                    <a:pt x="8" y="1"/>
                  </a:cubicBezTo>
                  <a:cubicBezTo>
                    <a:pt x="4" y="1"/>
                    <a:pt x="1" y="0"/>
                    <a:pt x="1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1" y="21"/>
                    <a:pt x="3" y="21"/>
                  </a:cubicBezTo>
                  <a:cubicBezTo>
                    <a:pt x="6" y="21"/>
                    <a:pt x="9" y="22"/>
                    <a:pt x="12" y="22"/>
                  </a:cubicBezTo>
                  <a:cubicBezTo>
                    <a:pt x="13" y="22"/>
                    <a:pt x="15" y="22"/>
                    <a:pt x="16" y="22"/>
                  </a:cubicBezTo>
                  <a:cubicBezTo>
                    <a:pt x="18" y="22"/>
                    <a:pt x="19" y="22"/>
                    <a:pt x="21" y="22"/>
                  </a:cubicBezTo>
                  <a:cubicBezTo>
                    <a:pt x="24" y="22"/>
                    <a:pt x="27" y="23"/>
                    <a:pt x="30" y="23"/>
                  </a:cubicBezTo>
                  <a:cubicBezTo>
                    <a:pt x="31" y="23"/>
                    <a:pt x="31" y="23"/>
                    <a:pt x="32" y="23"/>
                  </a:cubicBezTo>
                  <a:cubicBezTo>
                    <a:pt x="34" y="23"/>
                    <a:pt x="36" y="23"/>
                    <a:pt x="38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2" y="23"/>
                    <a:pt x="45" y="24"/>
                    <a:pt x="48" y="24"/>
                  </a:cubicBezTo>
                  <a:cubicBezTo>
                    <a:pt x="51" y="24"/>
                    <a:pt x="54" y="24"/>
                    <a:pt x="57" y="24"/>
                  </a:cubicBezTo>
                  <a:cubicBezTo>
                    <a:pt x="58" y="24"/>
                    <a:pt x="60" y="24"/>
                    <a:pt x="61" y="24"/>
                  </a:cubicBezTo>
                  <a:cubicBezTo>
                    <a:pt x="62" y="25"/>
                    <a:pt x="64" y="25"/>
                    <a:pt x="66" y="25"/>
                  </a:cubicBezTo>
                  <a:cubicBezTo>
                    <a:pt x="69" y="25"/>
                    <a:pt x="72" y="25"/>
                    <a:pt x="75" y="25"/>
                  </a:cubicBezTo>
                  <a:cubicBezTo>
                    <a:pt x="78" y="25"/>
                    <a:pt x="80" y="25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7" y="26"/>
                    <a:pt x="90" y="26"/>
                    <a:pt x="93" y="26"/>
                  </a:cubicBezTo>
                  <a:cubicBezTo>
                    <a:pt x="96" y="26"/>
                    <a:pt x="99" y="26"/>
                    <a:pt x="102" y="26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3" y="26"/>
                    <a:pt x="104" y="26"/>
                    <a:pt x="106" y="27"/>
                  </a:cubicBezTo>
                  <a:cubicBezTo>
                    <a:pt x="107" y="27"/>
                    <a:pt x="109" y="27"/>
                    <a:pt x="111" y="27"/>
                  </a:cubicBezTo>
                  <a:cubicBezTo>
                    <a:pt x="113" y="27"/>
                    <a:pt x="116" y="27"/>
                    <a:pt x="119" y="27"/>
                  </a:cubicBezTo>
                  <a:cubicBezTo>
                    <a:pt x="122" y="27"/>
                    <a:pt x="125" y="27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31" y="28"/>
                    <a:pt x="134" y="28"/>
                    <a:pt x="137" y="28"/>
                  </a:cubicBezTo>
                  <a:cubicBezTo>
                    <a:pt x="140" y="28"/>
                    <a:pt x="143" y="28"/>
                    <a:pt x="146" y="29"/>
                  </a:cubicBezTo>
                  <a:cubicBezTo>
                    <a:pt x="148" y="29"/>
                    <a:pt x="149" y="29"/>
                    <a:pt x="150" y="29"/>
                  </a:cubicBezTo>
                  <a:cubicBezTo>
                    <a:pt x="152" y="29"/>
                    <a:pt x="154" y="29"/>
                    <a:pt x="155" y="29"/>
                  </a:cubicBezTo>
                  <a:cubicBezTo>
                    <a:pt x="158" y="29"/>
                    <a:pt x="161" y="29"/>
                    <a:pt x="164" y="30"/>
                  </a:cubicBezTo>
                  <a:cubicBezTo>
                    <a:pt x="167" y="30"/>
                    <a:pt x="169" y="30"/>
                    <a:pt x="171" y="30"/>
                  </a:cubicBezTo>
                  <a:cubicBezTo>
                    <a:pt x="172" y="30"/>
                    <a:pt x="172" y="30"/>
                    <a:pt x="173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30"/>
                    <a:pt x="179" y="31"/>
                    <a:pt x="182" y="31"/>
                  </a:cubicBezTo>
                  <a:cubicBezTo>
                    <a:pt x="185" y="31"/>
                    <a:pt x="188" y="31"/>
                    <a:pt x="191" y="31"/>
                  </a:cubicBezTo>
                  <a:cubicBezTo>
                    <a:pt x="192" y="32"/>
                    <a:pt x="193" y="32"/>
                    <a:pt x="194" y="32"/>
                  </a:cubicBezTo>
                  <a:cubicBezTo>
                    <a:pt x="194" y="32"/>
                    <a:pt x="195" y="32"/>
                    <a:pt x="195" y="32"/>
                  </a:cubicBezTo>
                  <a:cubicBezTo>
                    <a:pt x="197" y="32"/>
                    <a:pt x="198" y="32"/>
                    <a:pt x="200" y="32"/>
                  </a:cubicBezTo>
                  <a:cubicBezTo>
                    <a:pt x="202" y="32"/>
                    <a:pt x="203" y="32"/>
                    <a:pt x="203" y="32"/>
                  </a:cubicBezTo>
                  <a:cubicBezTo>
                    <a:pt x="205" y="11"/>
                    <a:pt x="205" y="11"/>
                    <a:pt x="205" y="11"/>
                  </a:cubicBezTo>
                  <a:cubicBezTo>
                    <a:pt x="205" y="11"/>
                    <a:pt x="205" y="11"/>
                    <a:pt x="205" y="11"/>
                  </a:cubicBezTo>
                  <a:cubicBezTo>
                    <a:pt x="205" y="11"/>
                    <a:pt x="203" y="11"/>
                    <a:pt x="200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9" name="Freeform 26"/>
            <p:cNvSpPr>
              <a:spLocks/>
            </p:cNvSpPr>
            <p:nvPr/>
          </p:nvSpPr>
          <p:spPr bwMode="auto">
            <a:xfrm>
              <a:off x="84138" y="1643063"/>
              <a:ext cx="165100" cy="34925"/>
            </a:xfrm>
            <a:custGeom>
              <a:avLst/>
              <a:gdLst>
                <a:gd name="T0" fmla="*/ 65 w 65"/>
                <a:gd name="T1" fmla="*/ 2 h 14"/>
                <a:gd name="T2" fmla="*/ 56 w 65"/>
                <a:gd name="T3" fmla="*/ 2 h 14"/>
                <a:gd name="T4" fmla="*/ 48 w 65"/>
                <a:gd name="T5" fmla="*/ 2 h 14"/>
                <a:gd name="T6" fmla="*/ 47 w 65"/>
                <a:gd name="T7" fmla="*/ 1 h 14"/>
                <a:gd name="T8" fmla="*/ 38 w 65"/>
                <a:gd name="T9" fmla="*/ 1 h 14"/>
                <a:gd name="T10" fmla="*/ 29 w 65"/>
                <a:gd name="T11" fmla="*/ 1 h 14"/>
                <a:gd name="T12" fmla="*/ 26 w 65"/>
                <a:gd name="T13" fmla="*/ 1 h 14"/>
                <a:gd name="T14" fmla="*/ 20 w 65"/>
                <a:gd name="T15" fmla="*/ 1 h 14"/>
                <a:gd name="T16" fmla="*/ 11 w 65"/>
                <a:gd name="T17" fmla="*/ 1 h 14"/>
                <a:gd name="T18" fmla="*/ 3 w 65"/>
                <a:gd name="T19" fmla="*/ 1 h 14"/>
                <a:gd name="T20" fmla="*/ 2 w 65"/>
                <a:gd name="T21" fmla="*/ 0 h 14"/>
                <a:gd name="T22" fmla="*/ 0 w 65"/>
                <a:gd name="T23" fmla="*/ 0 h 14"/>
                <a:gd name="T24" fmla="*/ 1 w 65"/>
                <a:gd name="T25" fmla="*/ 4 h 14"/>
                <a:gd name="T26" fmla="*/ 1 w 65"/>
                <a:gd name="T27" fmla="*/ 9 h 14"/>
                <a:gd name="T28" fmla="*/ 2 w 65"/>
                <a:gd name="T29" fmla="*/ 12 h 14"/>
                <a:gd name="T30" fmla="*/ 8 w 65"/>
                <a:gd name="T31" fmla="*/ 12 h 14"/>
                <a:gd name="T32" fmla="*/ 17 w 65"/>
                <a:gd name="T33" fmla="*/ 13 h 14"/>
                <a:gd name="T34" fmla="*/ 23 w 65"/>
                <a:gd name="T35" fmla="*/ 13 h 14"/>
                <a:gd name="T36" fmla="*/ 26 w 65"/>
                <a:gd name="T37" fmla="*/ 13 h 14"/>
                <a:gd name="T38" fmla="*/ 35 w 65"/>
                <a:gd name="T39" fmla="*/ 13 h 14"/>
                <a:gd name="T40" fmla="*/ 44 w 65"/>
                <a:gd name="T41" fmla="*/ 13 h 14"/>
                <a:gd name="T42" fmla="*/ 46 w 65"/>
                <a:gd name="T43" fmla="*/ 13 h 14"/>
                <a:gd name="T44" fmla="*/ 53 w 65"/>
                <a:gd name="T45" fmla="*/ 13 h 14"/>
                <a:gd name="T46" fmla="*/ 62 w 65"/>
                <a:gd name="T47" fmla="*/ 14 h 14"/>
                <a:gd name="T48" fmla="*/ 65 w 65"/>
                <a:gd name="T49" fmla="*/ 14 h 14"/>
                <a:gd name="T50" fmla="*/ 65 w 65"/>
                <a:gd name="T51" fmla="*/ 2 h 14"/>
                <a:gd name="T52" fmla="*/ 65 w 65"/>
                <a:gd name="T5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14">
                  <a:moveTo>
                    <a:pt x="65" y="2"/>
                  </a:moveTo>
                  <a:cubicBezTo>
                    <a:pt x="62" y="2"/>
                    <a:pt x="59" y="2"/>
                    <a:pt x="56" y="2"/>
                  </a:cubicBezTo>
                  <a:cubicBezTo>
                    <a:pt x="53" y="2"/>
                    <a:pt x="51" y="2"/>
                    <a:pt x="48" y="2"/>
                  </a:cubicBezTo>
                  <a:cubicBezTo>
                    <a:pt x="48" y="1"/>
                    <a:pt x="47" y="1"/>
                    <a:pt x="47" y="1"/>
                  </a:cubicBezTo>
                  <a:cubicBezTo>
                    <a:pt x="44" y="1"/>
                    <a:pt x="41" y="1"/>
                    <a:pt x="38" y="1"/>
                  </a:cubicBezTo>
                  <a:cubicBezTo>
                    <a:pt x="35" y="1"/>
                    <a:pt x="32" y="1"/>
                    <a:pt x="29" y="1"/>
                  </a:cubicBezTo>
                  <a:cubicBezTo>
                    <a:pt x="28" y="1"/>
                    <a:pt x="27" y="1"/>
                    <a:pt x="26" y="1"/>
                  </a:cubicBezTo>
                  <a:cubicBezTo>
                    <a:pt x="24" y="1"/>
                    <a:pt x="22" y="1"/>
                    <a:pt x="20" y="1"/>
                  </a:cubicBezTo>
                  <a:cubicBezTo>
                    <a:pt x="17" y="1"/>
                    <a:pt x="14" y="1"/>
                    <a:pt x="11" y="1"/>
                  </a:cubicBezTo>
                  <a:cubicBezTo>
                    <a:pt x="8" y="1"/>
                    <a:pt x="6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6"/>
                    <a:pt x="1" y="7"/>
                    <a:pt x="1" y="9"/>
                  </a:cubicBezTo>
                  <a:cubicBezTo>
                    <a:pt x="1" y="10"/>
                    <a:pt x="1" y="11"/>
                    <a:pt x="2" y="12"/>
                  </a:cubicBezTo>
                  <a:cubicBezTo>
                    <a:pt x="4" y="12"/>
                    <a:pt x="6" y="12"/>
                    <a:pt x="8" y="12"/>
                  </a:cubicBezTo>
                  <a:cubicBezTo>
                    <a:pt x="11" y="12"/>
                    <a:pt x="14" y="12"/>
                    <a:pt x="17" y="13"/>
                  </a:cubicBezTo>
                  <a:cubicBezTo>
                    <a:pt x="19" y="13"/>
                    <a:pt x="21" y="13"/>
                    <a:pt x="23" y="13"/>
                  </a:cubicBezTo>
                  <a:cubicBezTo>
                    <a:pt x="24" y="13"/>
                    <a:pt x="25" y="13"/>
                    <a:pt x="26" y="13"/>
                  </a:cubicBezTo>
                  <a:cubicBezTo>
                    <a:pt x="29" y="13"/>
                    <a:pt x="32" y="13"/>
                    <a:pt x="35" y="13"/>
                  </a:cubicBezTo>
                  <a:cubicBezTo>
                    <a:pt x="38" y="13"/>
                    <a:pt x="41" y="13"/>
                    <a:pt x="44" y="13"/>
                  </a:cubicBezTo>
                  <a:cubicBezTo>
                    <a:pt x="44" y="13"/>
                    <a:pt x="45" y="13"/>
                    <a:pt x="46" y="13"/>
                  </a:cubicBezTo>
                  <a:cubicBezTo>
                    <a:pt x="48" y="13"/>
                    <a:pt x="50" y="13"/>
                    <a:pt x="53" y="13"/>
                  </a:cubicBezTo>
                  <a:cubicBezTo>
                    <a:pt x="56" y="14"/>
                    <a:pt x="59" y="14"/>
                    <a:pt x="62" y="14"/>
                  </a:cubicBezTo>
                  <a:cubicBezTo>
                    <a:pt x="63" y="14"/>
                    <a:pt x="64" y="14"/>
                    <a:pt x="65" y="14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10" name="Freeform 27"/>
            <p:cNvSpPr>
              <a:spLocks/>
            </p:cNvSpPr>
            <p:nvPr/>
          </p:nvSpPr>
          <p:spPr bwMode="auto">
            <a:xfrm>
              <a:off x="3673475" y="2201863"/>
              <a:ext cx="109538" cy="204788"/>
            </a:xfrm>
            <a:custGeom>
              <a:avLst/>
              <a:gdLst>
                <a:gd name="T0" fmla="*/ 43 w 43"/>
                <a:gd name="T1" fmla="*/ 81 h 81"/>
                <a:gd name="T2" fmla="*/ 24 w 43"/>
                <a:gd name="T3" fmla="*/ 31 h 81"/>
                <a:gd name="T4" fmla="*/ 0 w 43"/>
                <a:gd name="T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81">
                  <a:moveTo>
                    <a:pt x="43" y="81"/>
                  </a:moveTo>
                  <a:cubicBezTo>
                    <a:pt x="39" y="63"/>
                    <a:pt x="32" y="47"/>
                    <a:pt x="24" y="31"/>
                  </a:cubicBezTo>
                  <a:cubicBezTo>
                    <a:pt x="18" y="20"/>
                    <a:pt x="8" y="1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3656355" y="1212037"/>
            <a:ext cx="1268332" cy="1648535"/>
            <a:chOff x="5808789" y="2272281"/>
            <a:chExt cx="1993536" cy="2858355"/>
          </a:xfrm>
        </p:grpSpPr>
        <p:sp>
          <p:nvSpPr>
            <p:cNvPr id="114" name="Rectangle 113"/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15" name="Group 114"/>
            <p:cNvGrpSpPr/>
            <p:nvPr/>
          </p:nvGrpSpPr>
          <p:grpSpPr>
            <a:xfrm>
              <a:off x="5808789" y="2272281"/>
              <a:ext cx="1993536" cy="1989348"/>
              <a:chOff x="8140701" y="1890712"/>
              <a:chExt cx="1511300" cy="1508125"/>
            </a:xfrm>
          </p:grpSpPr>
          <p:sp>
            <p:nvSpPr>
              <p:cNvPr id="116" name="Freeform 25"/>
              <p:cNvSpPr>
                <a:spLocks/>
              </p:cNvSpPr>
              <p:nvPr/>
            </p:nvSpPr>
            <p:spPr bwMode="auto">
              <a:xfrm>
                <a:off x="8140701" y="1890712"/>
                <a:ext cx="1511300" cy="1508125"/>
              </a:xfrm>
              <a:custGeom>
                <a:avLst/>
                <a:gdLst>
                  <a:gd name="T0" fmla="*/ 385 w 402"/>
                  <a:gd name="T1" fmla="*/ 171 h 401"/>
                  <a:gd name="T2" fmla="*/ 385 w 402"/>
                  <a:gd name="T3" fmla="*/ 231 h 401"/>
                  <a:gd name="T4" fmla="*/ 231 w 402"/>
                  <a:gd name="T5" fmla="*/ 385 h 401"/>
                  <a:gd name="T6" fmla="*/ 171 w 402"/>
                  <a:gd name="T7" fmla="*/ 385 h 401"/>
                  <a:gd name="T8" fmla="*/ 17 w 402"/>
                  <a:gd name="T9" fmla="*/ 231 h 401"/>
                  <a:gd name="T10" fmla="*/ 17 w 402"/>
                  <a:gd name="T11" fmla="*/ 171 h 401"/>
                  <a:gd name="T12" fmla="*/ 171 w 402"/>
                  <a:gd name="T13" fmla="*/ 17 h 401"/>
                  <a:gd name="T14" fmla="*/ 231 w 402"/>
                  <a:gd name="T15" fmla="*/ 17 h 401"/>
                  <a:gd name="T16" fmla="*/ 385 w 402"/>
                  <a:gd name="T17" fmla="*/ 17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" h="401">
                    <a:moveTo>
                      <a:pt x="385" y="171"/>
                    </a:moveTo>
                    <a:cubicBezTo>
                      <a:pt x="402" y="187"/>
                      <a:pt x="402" y="214"/>
                      <a:pt x="385" y="231"/>
                    </a:cubicBezTo>
                    <a:cubicBezTo>
                      <a:pt x="231" y="385"/>
                      <a:pt x="231" y="385"/>
                      <a:pt x="231" y="385"/>
                    </a:cubicBezTo>
                    <a:cubicBezTo>
                      <a:pt x="214" y="401"/>
                      <a:pt x="187" y="401"/>
                      <a:pt x="171" y="385"/>
                    </a:cubicBezTo>
                    <a:cubicBezTo>
                      <a:pt x="17" y="231"/>
                      <a:pt x="17" y="231"/>
                      <a:pt x="17" y="231"/>
                    </a:cubicBezTo>
                    <a:cubicBezTo>
                      <a:pt x="0" y="214"/>
                      <a:pt x="0" y="187"/>
                      <a:pt x="17" y="171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87" y="0"/>
                      <a:pt x="214" y="0"/>
                      <a:pt x="231" y="17"/>
                    </a:cubicBezTo>
                    <a:lnTo>
                      <a:pt x="385" y="171"/>
                    </a:lnTo>
                    <a:close/>
                  </a:path>
                </a:pathLst>
              </a:custGeom>
              <a:solidFill>
                <a:srgbClr val="F1C96C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7" name="Freeform 26"/>
              <p:cNvSpPr>
                <a:spLocks noEditPoints="1"/>
              </p:cNvSpPr>
              <p:nvPr/>
            </p:nvSpPr>
            <p:spPr bwMode="auto">
              <a:xfrm>
                <a:off x="8283576" y="2033588"/>
                <a:ext cx="1225550" cy="1227138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19" name="Group 118"/>
          <p:cNvGrpSpPr/>
          <p:nvPr userDrawn="1"/>
        </p:nvGrpSpPr>
        <p:grpSpPr>
          <a:xfrm>
            <a:off x="7888202" y="4048159"/>
            <a:ext cx="1856965" cy="2413621"/>
            <a:chOff x="5808789" y="2272281"/>
            <a:chExt cx="1993536" cy="2858355"/>
          </a:xfrm>
        </p:grpSpPr>
        <p:sp>
          <p:nvSpPr>
            <p:cNvPr id="121" name="Rectangle 120"/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22" name="Group 121"/>
            <p:cNvGrpSpPr/>
            <p:nvPr/>
          </p:nvGrpSpPr>
          <p:grpSpPr>
            <a:xfrm>
              <a:off x="5808789" y="2272281"/>
              <a:ext cx="1993536" cy="1989348"/>
              <a:chOff x="8140701" y="1890712"/>
              <a:chExt cx="1511300" cy="1508125"/>
            </a:xfrm>
          </p:grpSpPr>
          <p:sp>
            <p:nvSpPr>
              <p:cNvPr id="123" name="Freeform 25"/>
              <p:cNvSpPr>
                <a:spLocks/>
              </p:cNvSpPr>
              <p:nvPr/>
            </p:nvSpPr>
            <p:spPr bwMode="auto">
              <a:xfrm>
                <a:off x="8140701" y="1890712"/>
                <a:ext cx="1511300" cy="1508125"/>
              </a:xfrm>
              <a:custGeom>
                <a:avLst/>
                <a:gdLst>
                  <a:gd name="T0" fmla="*/ 385 w 402"/>
                  <a:gd name="T1" fmla="*/ 171 h 401"/>
                  <a:gd name="T2" fmla="*/ 385 w 402"/>
                  <a:gd name="T3" fmla="*/ 231 h 401"/>
                  <a:gd name="T4" fmla="*/ 231 w 402"/>
                  <a:gd name="T5" fmla="*/ 385 h 401"/>
                  <a:gd name="T6" fmla="*/ 171 w 402"/>
                  <a:gd name="T7" fmla="*/ 385 h 401"/>
                  <a:gd name="T8" fmla="*/ 17 w 402"/>
                  <a:gd name="T9" fmla="*/ 231 h 401"/>
                  <a:gd name="T10" fmla="*/ 17 w 402"/>
                  <a:gd name="T11" fmla="*/ 171 h 401"/>
                  <a:gd name="T12" fmla="*/ 171 w 402"/>
                  <a:gd name="T13" fmla="*/ 17 h 401"/>
                  <a:gd name="T14" fmla="*/ 231 w 402"/>
                  <a:gd name="T15" fmla="*/ 17 h 401"/>
                  <a:gd name="T16" fmla="*/ 385 w 402"/>
                  <a:gd name="T17" fmla="*/ 17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" h="401">
                    <a:moveTo>
                      <a:pt x="385" y="171"/>
                    </a:moveTo>
                    <a:cubicBezTo>
                      <a:pt x="402" y="187"/>
                      <a:pt x="402" y="214"/>
                      <a:pt x="385" y="231"/>
                    </a:cubicBezTo>
                    <a:cubicBezTo>
                      <a:pt x="231" y="385"/>
                      <a:pt x="231" y="385"/>
                      <a:pt x="231" y="385"/>
                    </a:cubicBezTo>
                    <a:cubicBezTo>
                      <a:pt x="214" y="401"/>
                      <a:pt x="187" y="401"/>
                      <a:pt x="171" y="385"/>
                    </a:cubicBezTo>
                    <a:cubicBezTo>
                      <a:pt x="17" y="231"/>
                      <a:pt x="17" y="231"/>
                      <a:pt x="17" y="231"/>
                    </a:cubicBezTo>
                    <a:cubicBezTo>
                      <a:pt x="0" y="214"/>
                      <a:pt x="0" y="187"/>
                      <a:pt x="17" y="171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87" y="0"/>
                      <a:pt x="214" y="0"/>
                      <a:pt x="231" y="17"/>
                    </a:cubicBezTo>
                    <a:lnTo>
                      <a:pt x="385" y="171"/>
                    </a:lnTo>
                    <a:close/>
                  </a:path>
                </a:pathLst>
              </a:custGeom>
              <a:solidFill>
                <a:srgbClr val="F1C96C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4" name="Freeform 26"/>
              <p:cNvSpPr>
                <a:spLocks noEditPoints="1"/>
              </p:cNvSpPr>
              <p:nvPr/>
            </p:nvSpPr>
            <p:spPr bwMode="auto">
              <a:xfrm>
                <a:off x="8283576" y="2033588"/>
                <a:ext cx="1225550" cy="1227138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5008858" y="2629902"/>
            <a:ext cx="1395165" cy="1813388"/>
            <a:chOff x="5808789" y="2272281"/>
            <a:chExt cx="1993536" cy="2858355"/>
          </a:xfrm>
        </p:grpSpPr>
        <p:sp>
          <p:nvSpPr>
            <p:cNvPr id="128" name="Rectangle 127"/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5808789" y="2272281"/>
              <a:ext cx="1993536" cy="1989348"/>
              <a:chOff x="8140701" y="1890712"/>
              <a:chExt cx="1511300" cy="1508125"/>
            </a:xfrm>
          </p:grpSpPr>
          <p:sp>
            <p:nvSpPr>
              <p:cNvPr id="132" name="Freeform 25"/>
              <p:cNvSpPr>
                <a:spLocks/>
              </p:cNvSpPr>
              <p:nvPr/>
            </p:nvSpPr>
            <p:spPr bwMode="auto">
              <a:xfrm>
                <a:off x="8140701" y="1890712"/>
                <a:ext cx="1511300" cy="1508125"/>
              </a:xfrm>
              <a:custGeom>
                <a:avLst/>
                <a:gdLst>
                  <a:gd name="T0" fmla="*/ 385 w 402"/>
                  <a:gd name="T1" fmla="*/ 171 h 401"/>
                  <a:gd name="T2" fmla="*/ 385 w 402"/>
                  <a:gd name="T3" fmla="*/ 231 h 401"/>
                  <a:gd name="T4" fmla="*/ 231 w 402"/>
                  <a:gd name="T5" fmla="*/ 385 h 401"/>
                  <a:gd name="T6" fmla="*/ 171 w 402"/>
                  <a:gd name="T7" fmla="*/ 385 h 401"/>
                  <a:gd name="T8" fmla="*/ 17 w 402"/>
                  <a:gd name="T9" fmla="*/ 231 h 401"/>
                  <a:gd name="T10" fmla="*/ 17 w 402"/>
                  <a:gd name="T11" fmla="*/ 171 h 401"/>
                  <a:gd name="T12" fmla="*/ 171 w 402"/>
                  <a:gd name="T13" fmla="*/ 17 h 401"/>
                  <a:gd name="T14" fmla="*/ 231 w 402"/>
                  <a:gd name="T15" fmla="*/ 17 h 401"/>
                  <a:gd name="T16" fmla="*/ 385 w 402"/>
                  <a:gd name="T17" fmla="*/ 17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" h="401">
                    <a:moveTo>
                      <a:pt x="385" y="171"/>
                    </a:moveTo>
                    <a:cubicBezTo>
                      <a:pt x="402" y="187"/>
                      <a:pt x="402" y="214"/>
                      <a:pt x="385" y="231"/>
                    </a:cubicBezTo>
                    <a:cubicBezTo>
                      <a:pt x="231" y="385"/>
                      <a:pt x="231" y="385"/>
                      <a:pt x="231" y="385"/>
                    </a:cubicBezTo>
                    <a:cubicBezTo>
                      <a:pt x="214" y="401"/>
                      <a:pt x="187" y="401"/>
                      <a:pt x="171" y="385"/>
                    </a:cubicBezTo>
                    <a:cubicBezTo>
                      <a:pt x="17" y="231"/>
                      <a:pt x="17" y="231"/>
                      <a:pt x="17" y="231"/>
                    </a:cubicBezTo>
                    <a:cubicBezTo>
                      <a:pt x="0" y="214"/>
                      <a:pt x="0" y="187"/>
                      <a:pt x="17" y="171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87" y="0"/>
                      <a:pt x="214" y="0"/>
                      <a:pt x="231" y="17"/>
                    </a:cubicBezTo>
                    <a:lnTo>
                      <a:pt x="385" y="171"/>
                    </a:lnTo>
                    <a:close/>
                  </a:path>
                </a:pathLst>
              </a:custGeom>
              <a:solidFill>
                <a:srgbClr val="F1C96C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3" name="Freeform 26"/>
              <p:cNvSpPr>
                <a:spLocks noEditPoints="1"/>
              </p:cNvSpPr>
              <p:nvPr/>
            </p:nvSpPr>
            <p:spPr bwMode="auto">
              <a:xfrm>
                <a:off x="8283576" y="2033588"/>
                <a:ext cx="1225550" cy="1227138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35" name="Group 134"/>
          <p:cNvGrpSpPr/>
          <p:nvPr/>
        </p:nvGrpSpPr>
        <p:grpSpPr>
          <a:xfrm>
            <a:off x="2029541" y="3411081"/>
            <a:ext cx="1688151" cy="2194201"/>
            <a:chOff x="5808789" y="2272281"/>
            <a:chExt cx="1993536" cy="2858355"/>
          </a:xfrm>
        </p:grpSpPr>
        <p:sp>
          <p:nvSpPr>
            <p:cNvPr id="137" name="Rectangle 136"/>
            <p:cNvSpPr/>
            <p:nvPr/>
          </p:nvSpPr>
          <p:spPr>
            <a:xfrm>
              <a:off x="6718887" y="4188899"/>
              <a:ext cx="191914" cy="941737"/>
            </a:xfrm>
            <a:prstGeom prst="rect">
              <a:avLst/>
            </a:prstGeom>
            <a:gradFill>
              <a:gsLst>
                <a:gs pos="0">
                  <a:sysClr val="windowText" lastClr="000000">
                    <a:lumMod val="75000"/>
                    <a:lumOff val="25000"/>
                    <a:shade val="30000"/>
                    <a:satMod val="115000"/>
                  </a:sysClr>
                </a:gs>
                <a:gs pos="5000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  <a:shade val="100000"/>
                    <a:satMod val="115000"/>
                  </a:sys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38" name="Group 137"/>
            <p:cNvGrpSpPr/>
            <p:nvPr/>
          </p:nvGrpSpPr>
          <p:grpSpPr>
            <a:xfrm>
              <a:off x="5808789" y="2272281"/>
              <a:ext cx="1993536" cy="1989348"/>
              <a:chOff x="8140701" y="1890712"/>
              <a:chExt cx="1511300" cy="1508125"/>
            </a:xfrm>
          </p:grpSpPr>
          <p:sp>
            <p:nvSpPr>
              <p:cNvPr id="139" name="Freeform 25"/>
              <p:cNvSpPr>
                <a:spLocks/>
              </p:cNvSpPr>
              <p:nvPr/>
            </p:nvSpPr>
            <p:spPr bwMode="auto">
              <a:xfrm>
                <a:off x="8140701" y="1890712"/>
                <a:ext cx="1511300" cy="1508125"/>
              </a:xfrm>
              <a:custGeom>
                <a:avLst/>
                <a:gdLst>
                  <a:gd name="T0" fmla="*/ 385 w 402"/>
                  <a:gd name="T1" fmla="*/ 171 h 401"/>
                  <a:gd name="T2" fmla="*/ 385 w 402"/>
                  <a:gd name="T3" fmla="*/ 231 h 401"/>
                  <a:gd name="T4" fmla="*/ 231 w 402"/>
                  <a:gd name="T5" fmla="*/ 385 h 401"/>
                  <a:gd name="T6" fmla="*/ 171 w 402"/>
                  <a:gd name="T7" fmla="*/ 385 h 401"/>
                  <a:gd name="T8" fmla="*/ 17 w 402"/>
                  <a:gd name="T9" fmla="*/ 231 h 401"/>
                  <a:gd name="T10" fmla="*/ 17 w 402"/>
                  <a:gd name="T11" fmla="*/ 171 h 401"/>
                  <a:gd name="T12" fmla="*/ 171 w 402"/>
                  <a:gd name="T13" fmla="*/ 17 h 401"/>
                  <a:gd name="T14" fmla="*/ 231 w 402"/>
                  <a:gd name="T15" fmla="*/ 17 h 401"/>
                  <a:gd name="T16" fmla="*/ 385 w 402"/>
                  <a:gd name="T17" fmla="*/ 171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" h="401">
                    <a:moveTo>
                      <a:pt x="385" y="171"/>
                    </a:moveTo>
                    <a:cubicBezTo>
                      <a:pt x="402" y="187"/>
                      <a:pt x="402" y="214"/>
                      <a:pt x="385" y="231"/>
                    </a:cubicBezTo>
                    <a:cubicBezTo>
                      <a:pt x="231" y="385"/>
                      <a:pt x="231" y="385"/>
                      <a:pt x="231" y="385"/>
                    </a:cubicBezTo>
                    <a:cubicBezTo>
                      <a:pt x="214" y="401"/>
                      <a:pt x="187" y="401"/>
                      <a:pt x="171" y="385"/>
                    </a:cubicBezTo>
                    <a:cubicBezTo>
                      <a:pt x="17" y="231"/>
                      <a:pt x="17" y="231"/>
                      <a:pt x="17" y="231"/>
                    </a:cubicBezTo>
                    <a:cubicBezTo>
                      <a:pt x="0" y="214"/>
                      <a:pt x="0" y="187"/>
                      <a:pt x="17" y="171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87" y="0"/>
                      <a:pt x="214" y="0"/>
                      <a:pt x="231" y="17"/>
                    </a:cubicBezTo>
                    <a:lnTo>
                      <a:pt x="385" y="171"/>
                    </a:lnTo>
                    <a:close/>
                  </a:path>
                </a:pathLst>
              </a:custGeom>
              <a:solidFill>
                <a:srgbClr val="F1C96C">
                  <a:lumMod val="75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0" name="Freeform 26"/>
              <p:cNvSpPr>
                <a:spLocks noEditPoints="1"/>
              </p:cNvSpPr>
              <p:nvPr/>
            </p:nvSpPr>
            <p:spPr bwMode="auto">
              <a:xfrm>
                <a:off x="8283576" y="2033588"/>
                <a:ext cx="1225550" cy="1227138"/>
              </a:xfrm>
              <a:custGeom>
                <a:avLst/>
                <a:gdLst>
                  <a:gd name="T0" fmla="*/ 323 w 326"/>
                  <a:gd name="T1" fmla="*/ 157 h 326"/>
                  <a:gd name="T2" fmla="*/ 169 w 326"/>
                  <a:gd name="T3" fmla="*/ 2 h 326"/>
                  <a:gd name="T4" fmla="*/ 163 w 326"/>
                  <a:gd name="T5" fmla="*/ 0 h 326"/>
                  <a:gd name="T6" fmla="*/ 157 w 326"/>
                  <a:gd name="T7" fmla="*/ 2 h 326"/>
                  <a:gd name="T8" fmla="*/ 3 w 326"/>
                  <a:gd name="T9" fmla="*/ 157 h 326"/>
                  <a:gd name="T10" fmla="*/ 0 w 326"/>
                  <a:gd name="T11" fmla="*/ 163 h 326"/>
                  <a:gd name="T12" fmla="*/ 3 w 326"/>
                  <a:gd name="T13" fmla="*/ 169 h 326"/>
                  <a:gd name="T14" fmla="*/ 157 w 326"/>
                  <a:gd name="T15" fmla="*/ 323 h 326"/>
                  <a:gd name="T16" fmla="*/ 163 w 326"/>
                  <a:gd name="T17" fmla="*/ 326 h 326"/>
                  <a:gd name="T18" fmla="*/ 169 w 326"/>
                  <a:gd name="T19" fmla="*/ 323 h 326"/>
                  <a:gd name="T20" fmla="*/ 323 w 326"/>
                  <a:gd name="T21" fmla="*/ 169 h 326"/>
                  <a:gd name="T22" fmla="*/ 326 w 326"/>
                  <a:gd name="T23" fmla="*/ 163 h 326"/>
                  <a:gd name="T24" fmla="*/ 323 w 326"/>
                  <a:gd name="T25" fmla="*/ 157 h 326"/>
                  <a:gd name="T26" fmla="*/ 306 w 326"/>
                  <a:gd name="T27" fmla="*/ 168 h 326"/>
                  <a:gd name="T28" fmla="*/ 168 w 326"/>
                  <a:gd name="T29" fmla="*/ 306 h 326"/>
                  <a:gd name="T30" fmla="*/ 163 w 326"/>
                  <a:gd name="T31" fmla="*/ 308 h 326"/>
                  <a:gd name="T32" fmla="*/ 157 w 326"/>
                  <a:gd name="T33" fmla="*/ 306 h 326"/>
                  <a:gd name="T34" fmla="*/ 20 w 326"/>
                  <a:gd name="T35" fmla="*/ 168 h 326"/>
                  <a:gd name="T36" fmla="*/ 17 w 326"/>
                  <a:gd name="T37" fmla="*/ 163 h 326"/>
                  <a:gd name="T38" fmla="*/ 20 w 326"/>
                  <a:gd name="T39" fmla="*/ 157 h 326"/>
                  <a:gd name="T40" fmla="*/ 157 w 326"/>
                  <a:gd name="T41" fmla="*/ 19 h 326"/>
                  <a:gd name="T42" fmla="*/ 163 w 326"/>
                  <a:gd name="T43" fmla="*/ 17 h 326"/>
                  <a:gd name="T44" fmla="*/ 168 w 326"/>
                  <a:gd name="T45" fmla="*/ 19 h 326"/>
                  <a:gd name="T46" fmla="*/ 306 w 326"/>
                  <a:gd name="T47" fmla="*/ 157 h 326"/>
                  <a:gd name="T48" fmla="*/ 309 w 326"/>
                  <a:gd name="T49" fmla="*/ 163 h 326"/>
                  <a:gd name="T50" fmla="*/ 306 w 326"/>
                  <a:gd name="T51" fmla="*/ 168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6" h="326">
                    <a:moveTo>
                      <a:pt x="323" y="157"/>
                    </a:moveTo>
                    <a:cubicBezTo>
                      <a:pt x="169" y="2"/>
                      <a:pt x="169" y="2"/>
                      <a:pt x="169" y="2"/>
                    </a:cubicBezTo>
                    <a:cubicBezTo>
                      <a:pt x="167" y="0"/>
                      <a:pt x="164" y="0"/>
                      <a:pt x="163" y="0"/>
                    </a:cubicBezTo>
                    <a:cubicBezTo>
                      <a:pt x="162" y="0"/>
                      <a:pt x="159" y="0"/>
                      <a:pt x="157" y="2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1" y="158"/>
                      <a:pt x="0" y="160"/>
                      <a:pt x="0" y="163"/>
                    </a:cubicBezTo>
                    <a:cubicBezTo>
                      <a:pt x="0" y="165"/>
                      <a:pt x="1" y="167"/>
                      <a:pt x="3" y="169"/>
                    </a:cubicBezTo>
                    <a:cubicBezTo>
                      <a:pt x="157" y="323"/>
                      <a:pt x="157" y="323"/>
                      <a:pt x="157" y="323"/>
                    </a:cubicBezTo>
                    <a:cubicBezTo>
                      <a:pt x="159" y="325"/>
                      <a:pt x="162" y="326"/>
                      <a:pt x="163" y="326"/>
                    </a:cubicBezTo>
                    <a:cubicBezTo>
                      <a:pt x="164" y="326"/>
                      <a:pt x="167" y="325"/>
                      <a:pt x="169" y="323"/>
                    </a:cubicBezTo>
                    <a:cubicBezTo>
                      <a:pt x="323" y="169"/>
                      <a:pt x="323" y="169"/>
                      <a:pt x="323" y="169"/>
                    </a:cubicBezTo>
                    <a:cubicBezTo>
                      <a:pt x="325" y="167"/>
                      <a:pt x="326" y="164"/>
                      <a:pt x="326" y="163"/>
                    </a:cubicBezTo>
                    <a:cubicBezTo>
                      <a:pt x="326" y="161"/>
                      <a:pt x="325" y="159"/>
                      <a:pt x="323" y="157"/>
                    </a:cubicBezTo>
                    <a:close/>
                    <a:moveTo>
                      <a:pt x="306" y="168"/>
                    </a:moveTo>
                    <a:cubicBezTo>
                      <a:pt x="168" y="306"/>
                      <a:pt x="168" y="306"/>
                      <a:pt x="168" y="306"/>
                    </a:cubicBezTo>
                    <a:cubicBezTo>
                      <a:pt x="167" y="308"/>
                      <a:pt x="164" y="308"/>
                      <a:pt x="163" y="308"/>
                    </a:cubicBezTo>
                    <a:cubicBezTo>
                      <a:pt x="162" y="308"/>
                      <a:pt x="159" y="308"/>
                      <a:pt x="157" y="306"/>
                    </a:cubicBezTo>
                    <a:cubicBezTo>
                      <a:pt x="20" y="168"/>
                      <a:pt x="20" y="168"/>
                      <a:pt x="20" y="168"/>
                    </a:cubicBezTo>
                    <a:cubicBezTo>
                      <a:pt x="18" y="167"/>
                      <a:pt x="17" y="165"/>
                      <a:pt x="17" y="163"/>
                    </a:cubicBezTo>
                    <a:cubicBezTo>
                      <a:pt x="17" y="161"/>
                      <a:pt x="18" y="159"/>
                      <a:pt x="20" y="157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9" y="17"/>
                      <a:pt x="162" y="17"/>
                      <a:pt x="163" y="17"/>
                    </a:cubicBezTo>
                    <a:cubicBezTo>
                      <a:pt x="164" y="17"/>
                      <a:pt x="167" y="17"/>
                      <a:pt x="168" y="19"/>
                    </a:cubicBezTo>
                    <a:cubicBezTo>
                      <a:pt x="306" y="157"/>
                      <a:pt x="306" y="157"/>
                      <a:pt x="306" y="157"/>
                    </a:cubicBezTo>
                    <a:cubicBezTo>
                      <a:pt x="308" y="159"/>
                      <a:pt x="309" y="161"/>
                      <a:pt x="309" y="163"/>
                    </a:cubicBezTo>
                    <a:cubicBezTo>
                      <a:pt x="309" y="164"/>
                      <a:pt x="308" y="166"/>
                      <a:pt x="306" y="168"/>
                    </a:cubicBezTo>
                    <a:close/>
                  </a:path>
                </a:pathLst>
              </a:custGeom>
              <a:solidFill>
                <a:sysClr val="windowText" lastClr="000000">
                  <a:lumMod val="85000"/>
                  <a:lumOff val="1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US" sz="2400" kern="0" dirty="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916567" y="1278674"/>
            <a:ext cx="2563284" cy="473141"/>
          </a:xfrm>
        </p:spPr>
        <p:txBody>
          <a:bodyPr anchor="ctr">
            <a:normAutofit/>
          </a:bodyPr>
          <a:lstStyle>
            <a:lvl1pPr marL="0" indent="0">
              <a:buNone/>
              <a:defRPr sz="1867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65" name="Text Placehold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919612" y="1776186"/>
            <a:ext cx="3913657" cy="73559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his is sample text.</a:t>
            </a:r>
          </a:p>
          <a:p>
            <a:pPr lvl="0"/>
            <a:r>
              <a:rPr lang="en-US" dirty="0"/>
              <a:t>Can be edited</a:t>
            </a:r>
            <a:endParaRPr lang="en-IN" dirty="0"/>
          </a:p>
        </p:txBody>
      </p:sp>
      <p:sp>
        <p:nvSpPr>
          <p:cNvPr id="66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447457" y="2698012"/>
            <a:ext cx="2563284" cy="473141"/>
          </a:xfrm>
        </p:spPr>
        <p:txBody>
          <a:bodyPr anchor="ctr">
            <a:normAutofit/>
          </a:bodyPr>
          <a:lstStyle>
            <a:lvl1pPr marL="0" indent="0">
              <a:buNone/>
              <a:defRPr sz="1867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1</a:t>
            </a:r>
            <a:endParaRPr lang="en-IN" dirty="0"/>
          </a:p>
        </p:txBody>
      </p:sp>
      <p:sp>
        <p:nvSpPr>
          <p:cNvPr id="67" name="Text Placeholder 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50501" y="3195525"/>
            <a:ext cx="3913657" cy="73559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his is sample text.</a:t>
            </a:r>
          </a:p>
          <a:p>
            <a:pPr lvl="0"/>
            <a:r>
              <a:rPr lang="en-US" dirty="0"/>
              <a:t>Can be edited</a:t>
            </a:r>
            <a:endParaRPr lang="en-IN" dirty="0"/>
          </a:p>
        </p:txBody>
      </p:sp>
      <p:sp>
        <p:nvSpPr>
          <p:cNvPr id="68" name="Text Placeholder 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9720571" y="4717420"/>
            <a:ext cx="1591597" cy="473141"/>
          </a:xfrm>
        </p:spPr>
        <p:txBody>
          <a:bodyPr anchor="ctr">
            <a:normAutofit/>
          </a:bodyPr>
          <a:lstStyle>
            <a:lvl1pPr marL="0" indent="0">
              <a:buNone/>
              <a:defRPr sz="1867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3</a:t>
            </a:r>
            <a:endParaRPr lang="en-IN" dirty="0"/>
          </a:p>
        </p:txBody>
      </p:sp>
      <p:sp>
        <p:nvSpPr>
          <p:cNvPr id="69" name="Text Placeholder 3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26177" y="5218034"/>
            <a:ext cx="2430073" cy="735591"/>
          </a:xfrm>
        </p:spPr>
        <p:txBody>
          <a:bodyPr anchor="ctr">
            <a:normAutofit/>
          </a:bodyPr>
          <a:lstStyle>
            <a:lvl1pPr marL="0" indent="0">
              <a:buNone/>
              <a:defRPr sz="1867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his is sample text.</a:t>
            </a:r>
          </a:p>
          <a:p>
            <a:pPr lvl="0"/>
            <a:r>
              <a:rPr lang="en-US" dirty="0"/>
              <a:t>Can be edited</a:t>
            </a:r>
            <a:endParaRPr lang="en-IN" dirty="0"/>
          </a:p>
        </p:txBody>
      </p:sp>
      <p:sp>
        <p:nvSpPr>
          <p:cNvPr id="79" name="Text Placeholder 3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08617" y="5258767"/>
            <a:ext cx="2563284" cy="473141"/>
          </a:xfrm>
        </p:spPr>
        <p:txBody>
          <a:bodyPr anchor="ctr">
            <a:normAutofit/>
          </a:bodyPr>
          <a:lstStyle>
            <a:lvl1pPr marL="0" indent="0" algn="r">
              <a:buNone/>
              <a:defRPr sz="1867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2</a:t>
            </a:r>
            <a:endParaRPr lang="en-IN" dirty="0"/>
          </a:p>
        </p:txBody>
      </p:sp>
      <p:sp>
        <p:nvSpPr>
          <p:cNvPr id="80" name="Text Placeholder 3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11661" y="5756279"/>
            <a:ext cx="3913657" cy="735591"/>
          </a:xfrm>
        </p:spPr>
        <p:txBody>
          <a:bodyPr anchor="ctr">
            <a:normAutofit/>
          </a:bodyPr>
          <a:lstStyle>
            <a:lvl1pPr marL="0" indent="0" algn="r">
              <a:buNone/>
              <a:defRPr sz="1867" baseline="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his is sample text.</a:t>
            </a:r>
          </a:p>
          <a:p>
            <a:pPr lvl="0"/>
            <a:r>
              <a:rPr lang="en-US" dirty="0"/>
              <a:t>Can be edited</a:t>
            </a:r>
            <a:endParaRPr lang="en-IN" dirty="0"/>
          </a:p>
        </p:txBody>
      </p:sp>
      <p:sp>
        <p:nvSpPr>
          <p:cNvPr id="81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888321" y="1587739"/>
            <a:ext cx="793239" cy="473141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333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318715" y="3843599"/>
            <a:ext cx="1055800" cy="629752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6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279688" y="2961577"/>
            <a:ext cx="872563" cy="629752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6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00726" y="4507071"/>
            <a:ext cx="1277519" cy="7620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867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045688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cing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584201" y="287511"/>
            <a:ext cx="9356969" cy="662517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graphicFrame>
        <p:nvGraphicFramePr>
          <p:cNvPr id="63" name="Table 62"/>
          <p:cNvGraphicFramePr>
            <a:graphicFrameLocks noGrp="1"/>
          </p:cNvGraphicFramePr>
          <p:nvPr userDrawn="1"/>
        </p:nvGraphicFramePr>
        <p:xfrm>
          <a:off x="584200" y="1364037"/>
          <a:ext cx="10679749" cy="2610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5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0344">
                <a:tc>
                  <a:txBody>
                    <a:bodyPr/>
                    <a:lstStyle/>
                    <a:p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 anchor="ctr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 anchor="ctr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 anchor="ctr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 anchor="ctr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 anchor="ctr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algn="l"/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64" name="Table 63"/>
          <p:cNvGraphicFramePr>
            <a:graphicFrameLocks noGrp="1"/>
          </p:cNvGraphicFramePr>
          <p:nvPr userDrawn="1"/>
        </p:nvGraphicFramePr>
        <p:xfrm>
          <a:off x="584200" y="4252584"/>
          <a:ext cx="10679749" cy="216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5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28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0984">
                <a:tc>
                  <a:txBody>
                    <a:bodyPr/>
                    <a:lstStyle/>
                    <a:p>
                      <a:pPr algn="l"/>
                      <a:endParaRPr lang="en-IN" sz="21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984">
                <a:tc>
                  <a:txBody>
                    <a:bodyPr/>
                    <a:lstStyle/>
                    <a:p>
                      <a:pPr marL="0" marR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2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Open Sans" pitchFamily="34" charset="0"/>
                        <a:cs typeface="Segoe UI" panose="020B05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344"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IN" sz="1900" b="0" dirty="0">
                        <a:solidFill>
                          <a:schemeClr val="bg1"/>
                        </a:solidFill>
                        <a:latin typeface="Segoe UI Semibold" panose="020B0702040204020203" pitchFamily="34" charset="0"/>
                        <a:ea typeface="Open Sans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115865" marR="115865" marT="57932" marB="57932">
                    <a:lnL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9801" y="1382318"/>
            <a:ext cx="1477651" cy="365607"/>
          </a:xfrm>
        </p:spPr>
        <p:txBody>
          <a:bodyPr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72921" y="1382318"/>
            <a:ext cx="1477651" cy="365607"/>
          </a:xfrm>
        </p:spPr>
        <p:txBody>
          <a:bodyPr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22632" y="1382318"/>
            <a:ext cx="1477651" cy="365607"/>
          </a:xfrm>
        </p:spPr>
        <p:txBody>
          <a:bodyPr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786299" y="1382318"/>
            <a:ext cx="1477651" cy="365607"/>
          </a:xfrm>
        </p:spPr>
        <p:txBody>
          <a:bodyPr anchor="ctr"/>
          <a:lstStyle>
            <a:lvl1pPr marL="0" indent="0" algn="r">
              <a:buNone/>
              <a:defRPr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296396" y="1382318"/>
            <a:ext cx="1477651" cy="365607"/>
          </a:xfrm>
        </p:spPr>
        <p:txBody>
          <a:bodyPr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2020</a:t>
            </a:r>
            <a:endParaRPr lang="en-IN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895271" y="1808513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371255" y="181074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20445" y="1812982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8309828" y="1815219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785813" y="180405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09801" y="225257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5385785" y="2254806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6834976" y="2257043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8324359" y="225928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9800344" y="2248118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3896936" y="266982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5372920" y="2672059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6822110" y="267429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8311493" y="267653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9787479" y="266537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3896901" y="3100478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372885" y="3102710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6822076" y="310494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8311459" y="3107185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9787444" y="3096022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3895236" y="3533658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5371220" y="3535890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6820411" y="353812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8309793" y="3540365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70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9785779" y="3529202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71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88522" y="1804055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584201" y="2262966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588522" y="2689931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584199" y="3122815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584198" y="3536383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3894773" y="4304462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5370757" y="430669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6819948" y="430893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8309331" y="4311169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0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9785316" y="4300006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1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3909304" y="4748523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5385288" y="4750755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6834478" y="4752993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323861" y="4755230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70" hasCustomPrompt="1"/>
          </p:nvPr>
        </p:nvSpPr>
        <p:spPr>
          <a:xfrm>
            <a:off x="9799847" y="474406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896439" y="516577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5372423" y="5168009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73" hasCustomPrompt="1"/>
          </p:nvPr>
        </p:nvSpPr>
        <p:spPr>
          <a:xfrm>
            <a:off x="6821613" y="5170246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310996" y="5172483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9786981" y="516132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3896404" y="559642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5372388" y="5598659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6821579" y="5600897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8310961" y="560313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9786947" y="559197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588025" y="4300005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97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583703" y="4758915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98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588025" y="5185881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99" name="Text Placeholder 3"/>
          <p:cNvSpPr>
            <a:spLocks noGrp="1"/>
          </p:cNvSpPr>
          <p:nvPr>
            <p:ph type="body" sz="quarter" idx="84" hasCustomPrompt="1"/>
          </p:nvPr>
        </p:nvSpPr>
        <p:spPr>
          <a:xfrm>
            <a:off x="583702" y="5618765"/>
            <a:ext cx="3295015" cy="365607"/>
          </a:xfrm>
        </p:spPr>
        <p:txBody>
          <a:bodyPr anchor="ctr">
            <a:noAutofit/>
          </a:bodyPr>
          <a:lstStyle>
            <a:lvl1pPr marL="0" indent="0" algn="l">
              <a:buNone/>
              <a:defRPr sz="1867" baseline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101" name="Text Placeholder 3"/>
          <p:cNvSpPr>
            <a:spLocks noGrp="1"/>
          </p:cNvSpPr>
          <p:nvPr>
            <p:ph type="body" sz="quarter" idx="85" hasCustomPrompt="1"/>
          </p:nvPr>
        </p:nvSpPr>
        <p:spPr>
          <a:xfrm>
            <a:off x="583701" y="6030177"/>
            <a:ext cx="3295015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Sample text</a:t>
            </a:r>
            <a:endParaRPr lang="en-IN" dirty="0"/>
          </a:p>
        </p:txBody>
      </p:sp>
      <p:sp>
        <p:nvSpPr>
          <p:cNvPr id="102" name="Text Placeholder 3"/>
          <p:cNvSpPr>
            <a:spLocks noGrp="1"/>
          </p:cNvSpPr>
          <p:nvPr>
            <p:ph type="body" sz="quarter" idx="86" hasCustomPrompt="1"/>
          </p:nvPr>
        </p:nvSpPr>
        <p:spPr>
          <a:xfrm>
            <a:off x="3909801" y="6027085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103" name="Text Placeholder 3"/>
          <p:cNvSpPr>
            <a:spLocks noGrp="1"/>
          </p:cNvSpPr>
          <p:nvPr>
            <p:ph type="body" sz="quarter" idx="87" hasCustomPrompt="1"/>
          </p:nvPr>
        </p:nvSpPr>
        <p:spPr>
          <a:xfrm>
            <a:off x="5372387" y="6015921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104" name="Text Placeholder 3"/>
          <p:cNvSpPr>
            <a:spLocks noGrp="1"/>
          </p:cNvSpPr>
          <p:nvPr>
            <p:ph type="body" sz="quarter" idx="88" hasCustomPrompt="1"/>
          </p:nvPr>
        </p:nvSpPr>
        <p:spPr>
          <a:xfrm>
            <a:off x="6834976" y="6031554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105" name="Text Placeholder 3"/>
          <p:cNvSpPr>
            <a:spLocks noGrp="1"/>
          </p:cNvSpPr>
          <p:nvPr>
            <p:ph type="body" sz="quarter" idx="89" hasCustomPrompt="1"/>
          </p:nvPr>
        </p:nvSpPr>
        <p:spPr>
          <a:xfrm>
            <a:off x="8310967" y="6033790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  <p:sp>
        <p:nvSpPr>
          <p:cNvPr id="106" name="Text Placeholder 3"/>
          <p:cNvSpPr>
            <a:spLocks noGrp="1"/>
          </p:cNvSpPr>
          <p:nvPr>
            <p:ph type="body" sz="quarter" idx="90" hasCustomPrompt="1"/>
          </p:nvPr>
        </p:nvSpPr>
        <p:spPr>
          <a:xfrm>
            <a:off x="9800355" y="6022625"/>
            <a:ext cx="1477651" cy="365607"/>
          </a:xfrm>
        </p:spPr>
        <p:txBody>
          <a:bodyPr anchor="ctr">
            <a:noAutofit/>
          </a:bodyPr>
          <a:lstStyle>
            <a:lvl1pPr marL="0" indent="0" algn="r">
              <a:buNone/>
              <a:defRPr sz="1867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tex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15458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12" y="795"/>
            <a:ext cx="12190587" cy="6857205"/>
          </a:xfrm>
          <a:prstGeom prst="rect">
            <a:avLst/>
          </a:prstGeom>
          <a:noFill/>
        </p:spPr>
      </p:pic>
      <p:sp>
        <p:nvSpPr>
          <p:cNvPr id="16" name="Freeform 9"/>
          <p:cNvSpPr>
            <a:spLocks/>
          </p:cNvSpPr>
          <p:nvPr userDrawn="1"/>
        </p:nvSpPr>
        <p:spPr bwMode="auto">
          <a:xfrm>
            <a:off x="11163301" y="4930776"/>
            <a:ext cx="1028700" cy="1927225"/>
          </a:xfrm>
          <a:custGeom>
            <a:avLst/>
            <a:gdLst/>
            <a:ahLst/>
            <a:cxnLst>
              <a:cxn ang="0">
                <a:pos x="608" y="0"/>
              </a:cxn>
              <a:cxn ang="0">
                <a:pos x="0" y="1214"/>
              </a:cxn>
              <a:cxn ang="0">
                <a:pos x="608" y="1214"/>
              </a:cxn>
              <a:cxn ang="0">
                <a:pos x="608" y="0"/>
              </a:cxn>
            </a:cxnLst>
            <a:rect l="0" t="0" r="r" b="b"/>
            <a:pathLst>
              <a:path w="608" h="1214">
                <a:moveTo>
                  <a:pt x="608" y="0"/>
                </a:moveTo>
                <a:lnTo>
                  <a:pt x="0" y="1214"/>
                </a:lnTo>
                <a:lnTo>
                  <a:pt x="608" y="1214"/>
                </a:lnTo>
                <a:lnTo>
                  <a:pt x="608" y="0"/>
                </a:lnTo>
                <a:close/>
              </a:path>
            </a:pathLst>
          </a:custGeom>
          <a:solidFill>
            <a:srgbClr val="D92728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9" name="Title 1">
            <a:hlinkClick r:id="rId3"/>
          </p:cNvPr>
          <p:cNvSpPr txBox="1">
            <a:spLocks/>
          </p:cNvSpPr>
          <p:nvPr userDrawn="1"/>
        </p:nvSpPr>
        <p:spPr>
          <a:xfrm>
            <a:off x="7890838" y="6139518"/>
            <a:ext cx="2428585" cy="39924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defTabSz="914377">
              <a:lnSpc>
                <a:spcPct val="120000"/>
              </a:lnSpc>
              <a:spcBef>
                <a:spcPct val="0"/>
              </a:spcBef>
              <a:defRPr/>
            </a:pPr>
            <a:r>
              <a:rPr lang="en-US" sz="1400" b="0" u="sng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onwardgroup.com</a:t>
            </a:r>
            <a:endParaRPr lang="en-US" sz="1600" b="0" u="sng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0" name="Picture 7" descr="G:\Gauri\Other-Project\Onword-PPT\Final\linkedin.png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0390317" y="6076363"/>
            <a:ext cx="368300" cy="3683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410" y="520273"/>
            <a:ext cx="3979148" cy="1091235"/>
          </a:xfrm>
          <a:prstGeom prst="rect">
            <a:avLst/>
          </a:prstGeom>
        </p:spPr>
      </p:pic>
      <p:sp>
        <p:nvSpPr>
          <p:cNvPr id="8" name="Title 4"/>
          <p:cNvSpPr>
            <a:spLocks noGrp="1"/>
          </p:cNvSpPr>
          <p:nvPr>
            <p:ph type="ctrTitle" idx="4294967295"/>
          </p:nvPr>
        </p:nvSpPr>
        <p:spPr>
          <a:xfrm>
            <a:off x="469289" y="2203001"/>
            <a:ext cx="8152191" cy="14700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spcAft>
                <a:spcPts val="1600"/>
              </a:spcAft>
              <a:defRPr baseline="0"/>
            </a:lvl1pPr>
          </a:lstStyle>
          <a:p>
            <a:pPr>
              <a:spcAft>
                <a:spcPts val="1200"/>
              </a:spcAft>
            </a:pPr>
            <a:endParaRPr lang="en-US" sz="2133" dirty="0">
              <a:solidFill>
                <a:schemeClr val="bg1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815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22834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110226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4091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728600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721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BF70E0-84C3-4568-AEC4-0D5776CAE833}" type="datetimeFigureOut">
              <a:rPr lang="en-IN" smtClean="0"/>
              <a:t>18-05-2022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339B8-EB7A-472B-9DB7-D7C4B29271A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16206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2" r:id="rId12"/>
    <p:sldLayoutId id="2147483787" r:id="rId13"/>
    <p:sldLayoutId id="2147483768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3" r:id="rId25"/>
    <p:sldLayoutId id="2147483784" r:id="rId26"/>
    <p:sldLayoutId id="2147483785" r:id="rId27"/>
    <p:sldLayoutId id="2147483786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75766"/>
            <a:ext cx="10972800" cy="51741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6721477"/>
            <a:ext cx="12192000" cy="136524"/>
          </a:xfrm>
          <a:prstGeom prst="rect">
            <a:avLst/>
          </a:prstGeom>
          <a:solidFill>
            <a:srgbClr val="0094B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55535" y="187949"/>
            <a:ext cx="1889091" cy="51877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584200" y="950028"/>
            <a:ext cx="11607800" cy="1"/>
          </a:xfrm>
          <a:prstGeom prst="line">
            <a:avLst/>
          </a:prstGeom>
          <a:ln>
            <a:solidFill>
              <a:srgbClr val="A6A7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65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2400" b="1" kern="1200">
          <a:solidFill>
            <a:srgbClr val="2E67B2"/>
          </a:solidFill>
          <a:latin typeface="Arial"/>
          <a:ea typeface="+mj-ea"/>
          <a:cs typeface="Arial"/>
        </a:defRPr>
      </a:lvl1pPr>
    </p:titleStyle>
    <p:bodyStyle>
      <a:lvl1pPr marL="237061" indent="-237061" algn="l" defTabSz="609585" rtl="0" eaLnBrk="1" latinLnBrk="0" hangingPunct="1">
        <a:lnSpc>
          <a:spcPct val="100000"/>
        </a:lnSpc>
        <a:spcBef>
          <a:spcPct val="20000"/>
        </a:spcBef>
        <a:buClr>
          <a:srgbClr val="2E67B2"/>
        </a:buClr>
        <a:buFont typeface="Arial"/>
        <a:buChar char="•"/>
        <a:defRPr sz="2133" kern="1200">
          <a:solidFill>
            <a:srgbClr val="63636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594769" indent="-357708" algn="l" defTabSz="609585" rtl="0" eaLnBrk="1" latinLnBrk="0" hangingPunct="1">
        <a:lnSpc>
          <a:spcPct val="100000"/>
        </a:lnSpc>
        <a:spcBef>
          <a:spcPct val="20000"/>
        </a:spcBef>
        <a:buClr>
          <a:srgbClr val="2E67B2"/>
        </a:buClr>
        <a:buFont typeface="Arial"/>
        <a:buChar char="–"/>
        <a:defRPr sz="2133" kern="1200">
          <a:solidFill>
            <a:srgbClr val="63636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831830" indent="-237061" algn="l" defTabSz="609585" rtl="0" eaLnBrk="1" latinLnBrk="0" hangingPunct="1">
        <a:lnSpc>
          <a:spcPct val="100000"/>
        </a:lnSpc>
        <a:spcBef>
          <a:spcPct val="20000"/>
        </a:spcBef>
        <a:buClr>
          <a:srgbClr val="2E67B2"/>
        </a:buClr>
        <a:buFont typeface="Arial"/>
        <a:buChar char="•"/>
        <a:defRPr sz="1867" kern="1200">
          <a:solidFill>
            <a:srgbClr val="63636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200121" indent="-368291" algn="l" defTabSz="609585" rtl="0" eaLnBrk="1" latinLnBrk="0" hangingPunct="1">
        <a:lnSpc>
          <a:spcPct val="100000"/>
        </a:lnSpc>
        <a:spcBef>
          <a:spcPct val="20000"/>
        </a:spcBef>
        <a:buClr>
          <a:srgbClr val="2E67B2"/>
        </a:buClr>
        <a:buFont typeface="Arial"/>
        <a:buChar char="–"/>
        <a:defRPr sz="1867" kern="1200">
          <a:solidFill>
            <a:srgbClr val="63636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549361" indent="-349242" algn="l" defTabSz="609585" rtl="0" eaLnBrk="1" latinLnBrk="0" hangingPunct="1">
        <a:lnSpc>
          <a:spcPct val="100000"/>
        </a:lnSpc>
        <a:spcBef>
          <a:spcPct val="20000"/>
        </a:spcBef>
        <a:buClr>
          <a:srgbClr val="2E67B2"/>
        </a:buClr>
        <a:buFont typeface="Arial"/>
        <a:buChar char="»"/>
        <a:defRPr sz="1867" kern="1200">
          <a:solidFill>
            <a:srgbClr val="63636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2447715-D4E9-2486-36F7-82FAB883A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Segoe UI Semibold"/>
                <a:cs typeface="Segoe UI Semibold"/>
              </a:rPr>
              <a:t>App Deployment on </a:t>
            </a:r>
            <a:endParaRPr lang="en-US"/>
          </a:p>
          <a:p>
            <a:r>
              <a:rPr lang="en-US" b="1" dirty="0">
                <a:latin typeface="Segoe UI Semibold"/>
                <a:cs typeface="Segoe UI Semibold"/>
              </a:rPr>
              <a:t>Kubernetes cluster</a:t>
            </a:r>
            <a:endParaRPr lang="en-US" dirty="0">
              <a:cs typeface="Segoe UI Semibold"/>
            </a:endParaRPr>
          </a:p>
          <a:p>
            <a:endParaRPr lang="en-US" dirty="0">
              <a:latin typeface="+mn-lt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7653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18DDA3B-5B3E-4EEE-AC87-4B56554919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8149" y="157926"/>
            <a:ext cx="2028825" cy="762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C725B14-FC59-B66D-3796-9682233CD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132" y="769235"/>
            <a:ext cx="11628118" cy="469826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Segoe UI Semibold"/>
                <a:cs typeface="Segoe UI Semibold"/>
              </a:rPr>
              <a:t>scenario</a:t>
            </a:r>
            <a:endParaRPr lang="en-US" dirty="0" err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1BAE1E-336B-D80A-3F30-CF3E9E7A8AAD}"/>
              </a:ext>
            </a:extLst>
          </p:cNvPr>
          <p:cNvSpPr txBox="1"/>
          <p:nvPr/>
        </p:nvSpPr>
        <p:spPr>
          <a:xfrm>
            <a:off x="836960" y="1508384"/>
            <a:ext cx="5433058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latin typeface="Wingdings"/>
              </a:rPr>
              <a:t>§ </a:t>
            </a:r>
            <a:r>
              <a:rPr lang="en-US" sz="2000" dirty="0">
                <a:cs typeface="Calibri"/>
              </a:rPr>
              <a:t>Multi-Tier Web Application Stacks </a:t>
            </a:r>
          </a:p>
          <a:p>
            <a:r>
              <a:rPr lang="en-US" sz="2000" dirty="0">
                <a:latin typeface="Wingdings"/>
              </a:rPr>
              <a:t>§ </a:t>
            </a:r>
            <a:r>
              <a:rPr lang="en-US" sz="2000" dirty="0">
                <a:cs typeface="Calibri"/>
              </a:rPr>
              <a:t>Containerized </a:t>
            </a:r>
          </a:p>
          <a:p>
            <a:r>
              <a:rPr lang="en-US" sz="2000" dirty="0">
                <a:latin typeface="Wingdings"/>
              </a:rPr>
              <a:t>§ </a:t>
            </a:r>
            <a:r>
              <a:rPr lang="en-US" sz="2000" dirty="0">
                <a:cs typeface="Calibri"/>
              </a:rPr>
              <a:t>Tested it </a:t>
            </a:r>
          </a:p>
          <a:p>
            <a:r>
              <a:rPr lang="en-US" sz="2000" dirty="0">
                <a:latin typeface="Wingdings"/>
              </a:rPr>
              <a:t>§ </a:t>
            </a:r>
            <a:r>
              <a:rPr lang="en-US" sz="2000" dirty="0">
                <a:cs typeface="Calibri"/>
              </a:rPr>
              <a:t>Want to host for Production</a:t>
            </a:r>
          </a:p>
        </p:txBody>
      </p:sp>
    </p:spTree>
    <p:extLst>
      <p:ext uri="{BB962C8B-B14F-4D97-AF65-F5344CB8AC3E}">
        <p14:creationId xmlns:p14="http://schemas.microsoft.com/office/powerpoint/2010/main" val="15971149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18DDA3B-5B3E-4EEE-AC87-4B56554919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1646" y="392272"/>
            <a:ext cx="2028825" cy="762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C725B14-FC59-B66D-3796-9682233CD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132" y="936503"/>
            <a:ext cx="11628118" cy="30255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Segoe UI Semibold"/>
                <a:cs typeface="Segoe UI Semibold"/>
              </a:rPr>
              <a:t>Requirement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1BAE1E-336B-D80A-3F30-CF3E9E7A8AAD}"/>
              </a:ext>
            </a:extLst>
          </p:cNvPr>
          <p:cNvSpPr txBox="1"/>
          <p:nvPr/>
        </p:nvSpPr>
        <p:spPr>
          <a:xfrm>
            <a:off x="660399" y="1536262"/>
            <a:ext cx="3435132" cy="21082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§"/>
            </a:pPr>
            <a:endParaRPr lang="en-US" sz="1550" dirty="0">
              <a:cs typeface="Calibri"/>
            </a:endParaRPr>
          </a:p>
          <a:p>
            <a:pPr marL="285750" indent="-285750">
              <a:buFont typeface="Wingdings"/>
              <a:buChar char="§"/>
            </a:pPr>
            <a:r>
              <a:rPr lang="en-US" sz="2000" dirty="0">
                <a:ea typeface="+mn-lt"/>
                <a:cs typeface="+mn-lt"/>
              </a:rPr>
              <a:t>High Availability </a:t>
            </a:r>
            <a:endParaRPr lang="en-US" sz="2000">
              <a:cs typeface="Calibri" panose="020F0502020204030204"/>
            </a:endParaRPr>
          </a:p>
          <a:p>
            <a:pPr marL="285750" indent="-285750">
              <a:buFont typeface="Wingdings"/>
              <a:buChar char="§"/>
            </a:pPr>
            <a:r>
              <a:rPr lang="en-US" sz="2000" dirty="0">
                <a:ea typeface="+mn-lt"/>
                <a:cs typeface="+mn-lt"/>
              </a:rPr>
              <a:t> Fault Tolerance </a:t>
            </a:r>
            <a:endParaRPr lang="en-US" sz="2000">
              <a:cs typeface="Calibri" panose="020F0502020204030204"/>
            </a:endParaRPr>
          </a:p>
          <a:p>
            <a:pPr marL="285750" indent="-285750">
              <a:buFont typeface="Wingdings"/>
              <a:buChar char="§"/>
            </a:pPr>
            <a:r>
              <a:rPr lang="en-US" sz="2000" dirty="0">
                <a:ea typeface="+mn-lt"/>
                <a:cs typeface="+mn-lt"/>
              </a:rPr>
              <a:t> Easily Scalable </a:t>
            </a:r>
            <a:endParaRPr lang="en-US" sz="2000">
              <a:cs typeface="Calibri" panose="020F0502020204030204"/>
            </a:endParaRPr>
          </a:p>
          <a:p>
            <a:pPr marL="285750" indent="-285750">
              <a:buFont typeface="Wingdings"/>
              <a:buChar char="§"/>
            </a:pPr>
            <a:r>
              <a:rPr lang="en-US" sz="2000" dirty="0">
                <a:ea typeface="+mn-lt"/>
                <a:cs typeface="+mn-lt"/>
              </a:rPr>
              <a:t> Platform Independent </a:t>
            </a:r>
            <a:endParaRPr lang="en-US" sz="2000">
              <a:cs typeface="Calibri" panose="020F0502020204030204"/>
            </a:endParaRPr>
          </a:p>
          <a:p>
            <a:pPr marL="285750" indent="-285750">
              <a:buFont typeface="Wingdings"/>
              <a:buChar char="§"/>
            </a:pPr>
            <a:r>
              <a:rPr lang="en-US" sz="2000" dirty="0">
                <a:ea typeface="+mn-lt"/>
                <a:cs typeface="+mn-lt"/>
              </a:rPr>
              <a:t> Portable &amp; Flexible</a:t>
            </a:r>
            <a:endParaRPr lang="en-US" sz="2000">
              <a:cs typeface="Calibri" panose="020F0502020204030204"/>
            </a:endParaRPr>
          </a:p>
          <a:p>
            <a:pPr marL="285750" indent="-285750">
              <a:buFont typeface="Wingdings"/>
              <a:buChar char="§"/>
            </a:pPr>
            <a:endParaRPr lang="en-US" sz="155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8233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9C904-7E01-3A52-E956-609322998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Segoe UI Semibold"/>
                <a:cs typeface="Segoe UI Semibold"/>
              </a:rPr>
              <a:t>Advantages</a:t>
            </a:r>
            <a:endParaRPr lang="en-US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6956A1-72FC-B1C0-2051-938B91CD19E8}"/>
              </a:ext>
            </a:extLst>
          </p:cNvPr>
          <p:cNvSpPr txBox="1"/>
          <p:nvPr/>
        </p:nvSpPr>
        <p:spPr>
          <a:xfrm>
            <a:off x="905107" y="2196790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A78E80-74FF-CCAE-B793-E60D797DD975}"/>
              </a:ext>
            </a:extLst>
          </p:cNvPr>
          <p:cNvSpPr txBox="1"/>
          <p:nvPr/>
        </p:nvSpPr>
        <p:spPr>
          <a:xfrm>
            <a:off x="1044497" y="2336180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8B7306-36EA-3757-BBF7-903C2E1126FF}"/>
              </a:ext>
            </a:extLst>
          </p:cNvPr>
          <p:cNvSpPr txBox="1"/>
          <p:nvPr/>
        </p:nvSpPr>
        <p:spPr>
          <a:xfrm>
            <a:off x="1183887" y="2475570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0FAC49-C55D-A888-428C-B70317D38150}"/>
              </a:ext>
            </a:extLst>
          </p:cNvPr>
          <p:cNvSpPr txBox="1"/>
          <p:nvPr/>
        </p:nvSpPr>
        <p:spPr>
          <a:xfrm>
            <a:off x="1323277" y="2614960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C61798-E18A-C92E-396D-5EDCFE740531}"/>
              </a:ext>
            </a:extLst>
          </p:cNvPr>
          <p:cNvSpPr txBox="1"/>
          <p:nvPr/>
        </p:nvSpPr>
        <p:spPr>
          <a:xfrm>
            <a:off x="1462668" y="2754350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E2D2CC-E9DE-0A53-6A29-BE60E32D34CC}"/>
              </a:ext>
            </a:extLst>
          </p:cNvPr>
          <p:cNvSpPr txBox="1"/>
          <p:nvPr/>
        </p:nvSpPr>
        <p:spPr>
          <a:xfrm>
            <a:off x="1602058" y="2893741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AD31C4-CD92-D1E3-F908-663E7C9A42AA}"/>
              </a:ext>
            </a:extLst>
          </p:cNvPr>
          <p:cNvSpPr txBox="1"/>
          <p:nvPr/>
        </p:nvSpPr>
        <p:spPr>
          <a:xfrm>
            <a:off x="1741448" y="3033131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A72D81-CE09-9260-8B25-5173A6006374}"/>
              </a:ext>
            </a:extLst>
          </p:cNvPr>
          <p:cNvSpPr txBox="1"/>
          <p:nvPr/>
        </p:nvSpPr>
        <p:spPr>
          <a:xfrm>
            <a:off x="1880838" y="3172521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B1D05A-DE3E-7869-CB87-D93CD94EE098}"/>
              </a:ext>
            </a:extLst>
          </p:cNvPr>
          <p:cNvSpPr txBox="1"/>
          <p:nvPr/>
        </p:nvSpPr>
        <p:spPr>
          <a:xfrm>
            <a:off x="2020228" y="3311911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B7D3FE-693C-949B-F9BE-5701A37E83ED}"/>
              </a:ext>
            </a:extLst>
          </p:cNvPr>
          <p:cNvSpPr txBox="1"/>
          <p:nvPr/>
        </p:nvSpPr>
        <p:spPr>
          <a:xfrm>
            <a:off x="2159619" y="3451302"/>
            <a:ext cx="10186638" cy="852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DB33D4-9C11-2113-E5C4-AEFC2289EF54}"/>
              </a:ext>
            </a:extLst>
          </p:cNvPr>
          <p:cNvSpPr txBox="1"/>
          <p:nvPr/>
        </p:nvSpPr>
        <p:spPr>
          <a:xfrm>
            <a:off x="830765" y="1899423"/>
            <a:ext cx="11273881" cy="25545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Wingdings"/>
              <a:buChar char="§"/>
            </a:pPr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 Flexible Access – Employees can work from anywhere with internet access. 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/>
                <a:ea typeface="Wingdings"/>
                <a:cs typeface="Wingdings"/>
              </a:rPr>
              <a:t>§ </a:t>
            </a:r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lient Secure Login – Impress clients with a modern web portal and improve </a:t>
            </a:r>
          </a:p>
          <a:p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      customer service with automated processes. 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/>
                <a:ea typeface="Wingdings"/>
                <a:cs typeface="Wingdings"/>
              </a:rPr>
              <a:t>§ </a:t>
            </a:r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Easy Setup – It takes a couple of minutes to setup a new user; provide a URL, </a:t>
            </a:r>
          </a:p>
          <a:p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      username and password and they’re away. </a:t>
            </a:r>
          </a:p>
          <a:p>
            <a:pPr marL="342900" indent="-342900">
              <a:buFont typeface="Wingdings"/>
              <a:buChar char="§"/>
            </a:pPr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  Always Up To Date – As everyone is accessing the same version of the web app via a </a:t>
            </a:r>
          </a:p>
          <a:p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     URL, they will always be accessing the most up-to-date version of the software. </a:t>
            </a:r>
          </a:p>
          <a:p>
            <a:r>
              <a:rPr lang="en-US" sz="2000" dirty="0">
                <a:solidFill>
                  <a:srgbClr val="000000"/>
                </a:solidFill>
                <a:latin typeface="Wingdings"/>
                <a:ea typeface="Wingdings"/>
                <a:cs typeface="Wingdings"/>
              </a:rPr>
              <a:t>§ </a:t>
            </a:r>
            <a:r>
              <a:rPr lang="en-US" sz="20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Storage Increase – With the availability of the cloud, storage space is virtually infinite.</a:t>
            </a:r>
            <a:endParaRPr lang="en-US" sz="2000" dirty="0">
              <a:cs typeface="Calibri"/>
            </a:endParaRPr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1F2C2DBC-3B75-F919-FCF5-ED57000836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1646" y="392272"/>
            <a:ext cx="2028825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756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89FB80A-6043-1A7C-F26F-0FD5AA5A7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181" y="1371290"/>
            <a:ext cx="9232806" cy="5193453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B3832F46-23C3-C9FA-71D9-5AFC0138A1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1646" y="392272"/>
            <a:ext cx="2028825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889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11478" y="2565961"/>
            <a:ext cx="6555619" cy="1325033"/>
          </a:xfrm>
        </p:spPr>
        <p:txBody>
          <a:bodyPr lIns="91440" tIns="45720" rIns="91440" bIns="45720" anchor="ctr"/>
          <a:lstStyle/>
          <a:p>
            <a:r>
              <a:rPr lang="en-US" sz="4800" dirty="0">
                <a:latin typeface="+mn-lt"/>
                <a:cs typeface="Segoe UI Semibold"/>
              </a:rPr>
              <a:t>Thank you.</a:t>
            </a:r>
            <a:endParaRPr lang="en-IN" sz="4800"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7467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z7UJrEcEKHYgN4BeTf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79hVUAEWx4vk86XEBj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T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nward-MEG_20171108" id="{A0DF9BC5-C5CF-4784-A038-A25E7E655832}" vid="{DDCEE177-58FE-4A69-B9A3-DDC12B91532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83</TotalTime>
  <Words>59</Words>
  <Application>Microsoft Office PowerPoint</Application>
  <PresentationFormat>Widescreen</PresentationFormat>
  <Paragraphs>7</Paragraphs>
  <Slides>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Office Theme</vt:lpstr>
      <vt:lpstr>1_OTL</vt:lpstr>
      <vt:lpstr>App Deployment on  Kubernetes cluster </vt:lpstr>
      <vt:lpstr>scenario</vt:lpstr>
      <vt:lpstr>Requirement </vt:lpstr>
      <vt:lpstr>Advantages</vt:lpstr>
      <vt:lpstr>PowerPoint Presentation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eep_Mahajan</dc:creator>
  <cp:lastModifiedBy>Sudhindra Surpur</cp:lastModifiedBy>
  <cp:revision>368</cp:revision>
  <dcterms:created xsi:type="dcterms:W3CDTF">2020-10-14T04:53:42Z</dcterms:created>
  <dcterms:modified xsi:type="dcterms:W3CDTF">2022-05-18T13:04:06Z</dcterms:modified>
</cp:coreProperties>
</file>